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1.xml" ContentType="application/vnd.openxmlformats-officedocument.presentationml.tags+xml"/>
  <Override PartName="/ppt/notesSlides/notesSlide16.xml" ContentType="application/vnd.openxmlformats-officedocument.presentationml.notesSlide+xml"/>
  <Override PartName="/ppt/tags/tag12.xml" ContentType="application/vnd.openxmlformats-officedocument.presentationml.tags+xml"/>
  <Override PartName="/ppt/notesSlides/notesSlide17.xml" ContentType="application/vnd.openxmlformats-officedocument.presentationml.notesSlide+xml"/>
  <Override PartName="/ppt/tags/tag13.xml" ContentType="application/vnd.openxmlformats-officedocument.presentationml.tags+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tags/tag15.xml" ContentType="application/vnd.openxmlformats-officedocument.presentationml.tags+xml"/>
  <Override PartName="/ppt/notesSlides/notesSlide20.xml" ContentType="application/vnd.openxmlformats-officedocument.presentationml.notesSlide+xml"/>
  <Override PartName="/ppt/tags/tag1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7.xml" ContentType="application/vnd.openxmlformats-officedocument.presentationml.tags+xml"/>
  <Override PartName="/ppt/notesSlides/notesSlide23.xml" ContentType="application/vnd.openxmlformats-officedocument.presentationml.notesSlide+xml"/>
  <Override PartName="/ppt/tags/tag18.xml" ContentType="application/vnd.openxmlformats-officedocument.presentationml.tags+xml"/>
  <Override PartName="/ppt/notesSlides/notesSlide24.xml" ContentType="application/vnd.openxmlformats-officedocument.presentationml.notesSlide+xml"/>
  <Override PartName="/ppt/tags/tag19.xml" ContentType="application/vnd.openxmlformats-officedocument.presentationml.tags+xml"/>
  <Override PartName="/ppt/notesSlides/notesSlide25.xml" ContentType="application/vnd.openxmlformats-officedocument.presentationml.notesSlide+xml"/>
  <Override PartName="/ppt/tags/tag20.xml" ContentType="application/vnd.openxmlformats-officedocument.presentationml.tags+xml"/>
  <Override PartName="/ppt/notesSlides/notesSlide26.xml" ContentType="application/vnd.openxmlformats-officedocument.presentationml.notesSlide+xml"/>
  <Override PartName="/ppt/tags/tag21.xml" ContentType="application/vnd.openxmlformats-officedocument.presentationml.tags+xml"/>
  <Override PartName="/ppt/notesSlides/notesSlide27.xml" ContentType="application/vnd.openxmlformats-officedocument.presentationml.notesSlide+xml"/>
  <Override PartName="/ppt/tags/tag22.xml" ContentType="application/vnd.openxmlformats-officedocument.presentationml.tags+xml"/>
  <Override PartName="/ppt/notesSlides/notesSlide28.xml" ContentType="application/vnd.openxmlformats-officedocument.presentationml.notesSlide+xml"/>
  <Override PartName="/ppt/tags/tag23.xml" ContentType="application/vnd.openxmlformats-officedocument.presentationml.tags+xml"/>
  <Override PartName="/ppt/notesSlides/notesSlide29.xml" ContentType="application/vnd.openxmlformats-officedocument.presentationml.notesSlide+xml"/>
  <Override PartName="/ppt/tags/tag24.xml" ContentType="application/vnd.openxmlformats-officedocument.presentationml.tags+xml"/>
  <Override PartName="/ppt/notesSlides/notesSlide30.xml" ContentType="application/vnd.openxmlformats-officedocument.presentationml.notesSlide+xml"/>
  <Override PartName="/ppt/tags/tag25.xml" ContentType="application/vnd.openxmlformats-officedocument.presentationml.tags+xml"/>
  <Override PartName="/ppt/notesSlides/notesSlide31.xml" ContentType="application/vnd.openxmlformats-officedocument.presentationml.notesSlide+xml"/>
  <Override PartName="/ppt/tags/tag26.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7.xml" ContentType="application/vnd.openxmlformats-officedocument.presentationml.tags+xml"/>
  <Override PartName="/ppt/notesSlides/notesSlide34.xml" ContentType="application/vnd.openxmlformats-officedocument.presentationml.notesSlide+xml"/>
  <Override PartName="/ppt/tags/tag28.xml" ContentType="application/vnd.openxmlformats-officedocument.presentationml.tags+xml"/>
  <Override PartName="/ppt/notesSlides/notesSlide35.xml" ContentType="application/vnd.openxmlformats-officedocument.presentationml.notesSlide+xml"/>
  <Override PartName="/ppt/tags/tag29.xml" ContentType="application/vnd.openxmlformats-officedocument.presentationml.tags+xml"/>
  <Override PartName="/ppt/notesSlides/notesSlide36.xml" ContentType="application/vnd.openxmlformats-officedocument.presentationml.notesSlide+xml"/>
  <Override PartName="/ppt/tags/tag30.xml" ContentType="application/vnd.openxmlformats-officedocument.presentationml.tags+xml"/>
  <Override PartName="/ppt/notesSlides/notesSlide37.xml" ContentType="application/vnd.openxmlformats-officedocument.presentationml.notesSlide+xml"/>
  <Override PartName="/ppt/tags/tag31.xml" ContentType="application/vnd.openxmlformats-officedocument.presentationml.tags+xml"/>
  <Override PartName="/ppt/notesSlides/notesSlide38.xml" ContentType="application/vnd.openxmlformats-officedocument.presentationml.notesSlide+xml"/>
  <Override PartName="/ppt/tags/tag32.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4"/>
  </p:notesMasterIdLst>
  <p:sldIdLst>
    <p:sldId id="317" r:id="rId2"/>
    <p:sldId id="4612" r:id="rId3"/>
    <p:sldId id="4321" r:id="rId4"/>
    <p:sldId id="4517" r:id="rId5"/>
    <p:sldId id="4521" r:id="rId6"/>
    <p:sldId id="4522" r:id="rId7"/>
    <p:sldId id="4488" r:id="rId8"/>
    <p:sldId id="4507" r:id="rId9"/>
    <p:sldId id="4506" r:id="rId10"/>
    <p:sldId id="4491" r:id="rId11"/>
    <p:sldId id="4489" r:id="rId12"/>
    <p:sldId id="4490" r:id="rId13"/>
    <p:sldId id="4608" r:id="rId14"/>
    <p:sldId id="4613" r:id="rId15"/>
    <p:sldId id="4492" r:id="rId16"/>
    <p:sldId id="4609" r:id="rId17"/>
    <p:sldId id="4606" r:id="rId18"/>
    <p:sldId id="4505" r:id="rId19"/>
    <p:sldId id="4515" r:id="rId20"/>
    <p:sldId id="4518" r:id="rId21"/>
    <p:sldId id="4519" r:id="rId22"/>
    <p:sldId id="4520" r:id="rId23"/>
    <p:sldId id="4523" r:id="rId24"/>
    <p:sldId id="4326" r:id="rId25"/>
    <p:sldId id="4602" r:id="rId26"/>
    <p:sldId id="4603" r:id="rId27"/>
    <p:sldId id="4604" r:id="rId28"/>
    <p:sldId id="4550" r:id="rId29"/>
    <p:sldId id="4595" r:id="rId30"/>
    <p:sldId id="4598" r:id="rId31"/>
    <p:sldId id="4601" r:id="rId32"/>
    <p:sldId id="4599" r:id="rId33"/>
    <p:sldId id="4596" r:id="rId34"/>
    <p:sldId id="4597" r:id="rId35"/>
    <p:sldId id="4327" r:id="rId36"/>
    <p:sldId id="4578" r:id="rId37"/>
    <p:sldId id="4544" r:id="rId38"/>
    <p:sldId id="4524" r:id="rId39"/>
    <p:sldId id="4527" r:id="rId40"/>
    <p:sldId id="4525" r:id="rId41"/>
    <p:sldId id="4526" r:id="rId42"/>
    <p:sldId id="4278" r:id="rId43"/>
  </p:sldIdLst>
  <p:sldSz cx="12192000" cy="6858000"/>
  <p:notesSz cx="9929813" cy="679767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5473"/>
    <a:srgbClr val="F95C2C"/>
    <a:srgbClr val="C01F75"/>
    <a:srgbClr val="DDE3A0"/>
    <a:srgbClr val="E64D92"/>
    <a:srgbClr val="E532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726" autoAdjust="0"/>
    <p:restoredTop sz="94689"/>
  </p:normalViewPr>
  <p:slideViewPr>
    <p:cSldViewPr snapToGrid="0" snapToObjects="1">
      <p:cViewPr>
        <p:scale>
          <a:sx n="66" d="100"/>
          <a:sy n="66" d="100"/>
        </p:scale>
        <p:origin x="-870" y="100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2919" cy="341064"/>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5624596" y="1"/>
            <a:ext cx="4302919" cy="341064"/>
          </a:xfrm>
          <a:prstGeom prst="rect">
            <a:avLst/>
          </a:prstGeom>
        </p:spPr>
        <p:txBody>
          <a:bodyPr vert="horz" lIns="91440" tIns="45720" rIns="91440" bIns="45720" rtlCol="0"/>
          <a:lstStyle>
            <a:lvl1pPr algn="r">
              <a:defRPr sz="1200"/>
            </a:lvl1pPr>
          </a:lstStyle>
          <a:p>
            <a:fld id="{F7A5D488-EE37-CC46-A31F-D42BB591ED34}" type="datetimeFigureOut">
              <a:rPr lang="x-none" smtClean="0"/>
              <a:t>21/04/2022</a:t>
            </a:fld>
            <a:endParaRPr lang="x-none"/>
          </a:p>
        </p:txBody>
      </p:sp>
      <p:sp>
        <p:nvSpPr>
          <p:cNvPr id="4" name="Slide Image Placeholder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992982" y="3271381"/>
            <a:ext cx="7943850" cy="2676585"/>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6" name="Footer Placeholder 5"/>
          <p:cNvSpPr>
            <a:spLocks noGrp="1"/>
          </p:cNvSpPr>
          <p:nvPr>
            <p:ph type="ftr" sz="quarter" idx="4"/>
          </p:nvPr>
        </p:nvSpPr>
        <p:spPr>
          <a:xfrm>
            <a:off x="0" y="6456612"/>
            <a:ext cx="4302919" cy="341063"/>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5624596" y="6456612"/>
            <a:ext cx="4302919" cy="341063"/>
          </a:xfrm>
          <a:prstGeom prst="rect">
            <a:avLst/>
          </a:prstGeom>
        </p:spPr>
        <p:txBody>
          <a:bodyPr vert="horz" lIns="91440" tIns="45720" rIns="91440" bIns="45720" rtlCol="0" anchor="b"/>
          <a:lstStyle>
            <a:lvl1pPr algn="r">
              <a:defRPr sz="1200"/>
            </a:lvl1pPr>
          </a:lstStyle>
          <a:p>
            <a:fld id="{F1E38DE7-A09D-934A-B951-FC1196F25BFE}" type="slidenum">
              <a:rPr lang="x-none" smtClean="0"/>
              <a:t>‹#›</a:t>
            </a:fld>
            <a:endParaRPr lang="x-none"/>
          </a:p>
        </p:txBody>
      </p:sp>
    </p:spTree>
    <p:extLst>
      <p:ext uri="{BB962C8B-B14F-4D97-AF65-F5344CB8AC3E}">
        <p14:creationId xmlns:p14="http://schemas.microsoft.com/office/powerpoint/2010/main" val="1604681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656413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28287431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11221721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27474102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17258958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30599964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27767124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409017146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22290788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6041513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4453695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2</a:t>
            </a:fld>
            <a:endParaRPr lang="en-GB" dirty="0"/>
          </a:p>
        </p:txBody>
      </p:sp>
    </p:spTree>
    <p:extLst>
      <p:ext uri="{BB962C8B-B14F-4D97-AF65-F5344CB8AC3E}">
        <p14:creationId xmlns:p14="http://schemas.microsoft.com/office/powerpoint/2010/main" val="287220583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35960465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4</a:t>
            </a:fld>
            <a:endParaRPr lang="en-GB" dirty="0"/>
          </a:p>
        </p:txBody>
      </p:sp>
    </p:spTree>
    <p:extLst>
      <p:ext uri="{BB962C8B-B14F-4D97-AF65-F5344CB8AC3E}">
        <p14:creationId xmlns:p14="http://schemas.microsoft.com/office/powerpoint/2010/main" val="31502142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5</a:t>
            </a:fld>
            <a:endParaRPr lang="en-GB" dirty="0"/>
          </a:p>
        </p:txBody>
      </p:sp>
    </p:spTree>
    <p:extLst>
      <p:ext uri="{BB962C8B-B14F-4D97-AF65-F5344CB8AC3E}">
        <p14:creationId xmlns:p14="http://schemas.microsoft.com/office/powerpoint/2010/main" val="2936019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6</a:t>
            </a:fld>
            <a:endParaRPr lang="en-GB" dirty="0"/>
          </a:p>
        </p:txBody>
      </p:sp>
    </p:spTree>
    <p:extLst>
      <p:ext uri="{BB962C8B-B14F-4D97-AF65-F5344CB8AC3E}">
        <p14:creationId xmlns:p14="http://schemas.microsoft.com/office/powerpoint/2010/main" val="311500494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7</a:t>
            </a:fld>
            <a:endParaRPr lang="en-GB" dirty="0"/>
          </a:p>
        </p:txBody>
      </p:sp>
    </p:spTree>
    <p:extLst>
      <p:ext uri="{BB962C8B-B14F-4D97-AF65-F5344CB8AC3E}">
        <p14:creationId xmlns:p14="http://schemas.microsoft.com/office/powerpoint/2010/main" val="2305614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8</a:t>
            </a:fld>
            <a:endParaRPr lang="en-GB" dirty="0"/>
          </a:p>
        </p:txBody>
      </p:sp>
    </p:spTree>
    <p:extLst>
      <p:ext uri="{BB962C8B-B14F-4D97-AF65-F5344CB8AC3E}">
        <p14:creationId xmlns:p14="http://schemas.microsoft.com/office/powerpoint/2010/main" val="36888625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13201240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20046378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12419258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18753779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38025858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37746433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12683037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234667822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12948259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25148977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24240465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9</a:t>
            </a:fld>
            <a:endParaRPr lang="en-GB" dirty="0"/>
          </a:p>
        </p:txBody>
      </p:sp>
    </p:spTree>
    <p:extLst>
      <p:ext uri="{BB962C8B-B14F-4D97-AF65-F5344CB8AC3E}">
        <p14:creationId xmlns:p14="http://schemas.microsoft.com/office/powerpoint/2010/main" val="57959847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0</a:t>
            </a:fld>
            <a:endParaRPr lang="en-GB" dirty="0"/>
          </a:p>
        </p:txBody>
      </p:sp>
    </p:spTree>
    <p:extLst>
      <p:ext uri="{BB962C8B-B14F-4D97-AF65-F5344CB8AC3E}">
        <p14:creationId xmlns:p14="http://schemas.microsoft.com/office/powerpoint/2010/main" val="22225767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1</a:t>
            </a:fld>
            <a:endParaRPr lang="en-GB" dirty="0"/>
          </a:p>
        </p:txBody>
      </p:sp>
    </p:spTree>
    <p:extLst>
      <p:ext uri="{BB962C8B-B14F-4D97-AF65-F5344CB8AC3E}">
        <p14:creationId xmlns:p14="http://schemas.microsoft.com/office/powerpoint/2010/main" val="20450211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5624289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2</a:t>
            </a:fld>
            <a:endParaRPr lang="en-GB" dirty="0"/>
          </a:p>
        </p:txBody>
      </p:sp>
    </p:spTree>
    <p:extLst>
      <p:ext uri="{BB962C8B-B14F-4D97-AF65-F5344CB8AC3E}">
        <p14:creationId xmlns:p14="http://schemas.microsoft.com/office/powerpoint/2010/main" val="948107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13199343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3725515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791579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2971156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23873131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DFC340-CFC0-6A4C-8739-7D4FA9DA005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D613CCAE-13AB-6842-B47D-76BE65EB51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2945ADC5-98F3-A642-A230-0718603F2124}"/>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72675CD4-30E5-CF49-8842-60F4A2315B83}"/>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86FCA30-F267-7349-9909-8F3428830F5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1198126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ACF8004-C643-3A40-A8B1-C6D441F12D94}"/>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E01DB86-4DCD-3743-A4B8-28D6A99965B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7AB98A4-B84D-9549-8075-546BC844B5E5}"/>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8CBAEBA6-D608-2F44-A1B9-691DDF8949B6}"/>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03E2669C-E0CE-464D-875E-B81DA2EC9DC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50290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362D6791-6A1F-F44C-98EE-F93493AD35A2}"/>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0667828-FC2D-B748-A402-E746C654347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A59B886-00D1-6646-99D8-673550CF469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0D97CF24-47D4-6442-87A5-30A49C0EFB0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A038CB8-F6E8-924B-BDE1-6DFEB84876C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933186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18565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a:extLst>
                <a:ext uri="{28A0092B-C50C-407E-A947-70E740481C1C}">
                  <a14:useLocalDpi xmlns:a14="http://schemas.microsoft.com/office/drawing/2010/main" val="0"/>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a:extLst>
              <a:ext uri="{28A0092B-C50C-407E-A947-70E740481C1C}">
                <a14:useLocalDpi xmlns:a14="http://schemas.microsoft.com/office/drawing/2010/main" val="0"/>
              </a:ext>
            </a:extLst>
          </a:blip>
          <a:srcRect b="32961"/>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a:extLst>
              <a:ext uri="{28A0092B-C50C-407E-A947-70E740481C1C}">
                <a14:useLocalDpi xmlns:a14="http://schemas.microsoft.com/office/drawing/2010/main" val="0"/>
              </a:ext>
            </a:extLst>
          </a:blip>
          <a:srcRect l="31220" t="21060"/>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cxnSp>
        <p:nvCxnSpPr>
          <p:cNvPr id="19" name="Straight Connector 18"/>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spTree>
    <p:extLst>
      <p:ext uri="{BB962C8B-B14F-4D97-AF65-F5344CB8AC3E}">
        <p14:creationId xmlns:p14="http://schemas.microsoft.com/office/powerpoint/2010/main" val="22958043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19030621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4814932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7CB813-EC21-CC46-9578-1B2717E47199}"/>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6CF911C0-7EE8-B549-BE1E-140FD4CC0C4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04B3C92-F189-B64E-AF52-05C203FD5866}"/>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6BD741C-3A0D-A94F-96EA-B994E7F19D80}"/>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210EFD-0771-B942-93F2-3F6FD8A8F1E8}"/>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9919526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3E6101-8CDB-1E44-BCE5-139DFA9B83F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7379D324-F97E-F04F-8BCE-2C3BEE45C2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DCBE6176-868D-A64F-B6A0-5AFA337B28A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65049F25-091C-1040-B4DB-DF7F2B1093F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657932-5FDE-8F4B-8640-B8259841517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0106150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BA5763-D411-1145-83E7-118049EC73A5}"/>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BC15A9DB-984B-944F-9C8E-0BF708D040D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ADE6CBE0-5135-9F44-B9A4-9CA7133CE8F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C74CC2FB-80EB-0E4D-84DC-81673FFD6828}"/>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CD584732-EEC8-9045-AD29-507893496DC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1F44045B-7DFA-C04A-87DF-48873AEFC44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8354884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2CE88D-FD8E-6A43-95C5-FEEDDAD4CFC0}"/>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EC270107-D714-984A-B78D-6D5D8E92608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1BA035E1-930E-4242-8453-44C7EF1C771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819B6A00-DCF0-F548-AED6-00858E3715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BA6B56B6-C64B-C841-8A86-0EA87AB6B4C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D4B7F4EA-A8AA-9641-A0AC-C8108331480B}"/>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8" name="Footer Placeholder 7">
            <a:extLst>
              <a:ext uri="{FF2B5EF4-FFF2-40B4-BE49-F238E27FC236}">
                <a16:creationId xmlns:a16="http://schemas.microsoft.com/office/drawing/2014/main" xmlns="" id="{489B1396-BEB8-5F44-B4B7-95B03C91CA25}"/>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95E22D31-4E0D-4544-BFB1-B9457C13E1D1}"/>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701576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3FE544-4C80-7B44-96E9-4ADB9BE10C3B}"/>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9B7D2C4E-7D50-B34A-9033-7A898ABB4763}"/>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4" name="Footer Placeholder 3">
            <a:extLst>
              <a:ext uri="{FF2B5EF4-FFF2-40B4-BE49-F238E27FC236}">
                <a16:creationId xmlns:a16="http://schemas.microsoft.com/office/drawing/2014/main" xmlns="" id="{BC377F53-16B2-CE48-A39D-79B117A7BB72}"/>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6165EC0B-266D-C84C-9EFA-E1E36EE0A06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41295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EDF764B-30BD-084A-89C4-3B43AFA7F530}"/>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3" name="Footer Placeholder 2">
            <a:extLst>
              <a:ext uri="{FF2B5EF4-FFF2-40B4-BE49-F238E27FC236}">
                <a16:creationId xmlns:a16="http://schemas.microsoft.com/office/drawing/2014/main" xmlns="" id="{D5DA6DF6-0191-7842-A418-E47CF59A33B9}"/>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3B0CF6D1-242D-D24F-88DD-B2CB24605E0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988269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47D433-00C0-794C-829D-4BF1BCEB4E7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8A553621-5B3A-334E-9717-BAED571A3C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D1C969BB-7551-0E4D-8A9B-70A9D8D8D0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6A6CD111-CA57-7F4C-AB0B-2297A99C542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BAC3393A-EAA3-E44E-9344-0E66A475ED0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B389B510-D5C0-C843-9BD0-3580990891B0}"/>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506752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BBD99B-AFF8-A147-AD02-7F9DC677F04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0E7204DC-031B-C745-B04F-3A21C014F6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A037012B-CA4D-1445-8A99-71C4D5D4E6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41AF228C-2122-DA47-9A74-6C165B879241}"/>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8CE4A2CC-5263-6344-9807-0D85DC2A57B3}"/>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0FF4292E-7269-CD47-A7A3-FC88A776F949}"/>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81051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86BFC35E-78B8-9C46-80E3-F47CA7B2B7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8684BE66-7EA5-9048-997D-AC374C945A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9E5B078-C760-144B-90CC-21CAE57DD1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535C08C-A10F-2E43-BC19-CD16158AD1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1D527526-E52E-774F-AB2C-ED0128825D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05E084-90C3-BD4F-804B-4590A0A4DA41}" type="slidenum">
              <a:rPr lang="x-none" smtClean="0"/>
              <a:t>‹#›</a:t>
            </a:fld>
            <a:endParaRPr lang="x-none"/>
          </a:p>
        </p:txBody>
      </p:sp>
    </p:spTree>
    <p:extLst>
      <p:ext uri="{BB962C8B-B14F-4D97-AF65-F5344CB8AC3E}">
        <p14:creationId xmlns:p14="http://schemas.microsoft.com/office/powerpoint/2010/main" val="25278147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3" r:id="rId13"/>
    <p:sldLayoutId id="2147483664" r:id="rId14"/>
    <p:sldLayoutId id="214748366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15.xml"/><Relationship Id="rId1" Type="http://schemas.openxmlformats.org/officeDocument/2006/relationships/video" Target="https://www.youtube.com/embed/Cxf_SRCcaGo?feature=oembed" TargetMode="External"/><Relationship Id="rId4" Type="http://schemas.openxmlformats.org/officeDocument/2006/relationships/hyperlink" Target="https://youtu.be/Cxf_SRCcaGo"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hyperlink" Target="https://www.msn.com/en-us/money/careersandeducation/12-business-leaders-share-how-they-lead-their-teams-through-a-crisis/ar-BB1ewEhz?ocid=BingNewsSearch" TargetMode="External"/><Relationship Id="rId2" Type="http://schemas.openxmlformats.org/officeDocument/2006/relationships/hyperlink" Target="https://www.fastcompany.com/90497257/7-tricks-for-making-good-decisions-in-times-of-crisis?position=9&amp;campaign_date=12102020" TargetMode="External"/><Relationship Id="rId1" Type="http://schemas.openxmlformats.org/officeDocument/2006/relationships/slideLayout" Target="../slideLayouts/slideLayout15.xml"/><Relationship Id="rId6" Type="http://schemas.openxmlformats.org/officeDocument/2006/relationships/hyperlink" Target="https://www.psychologytoday.com/us/blog/pressure-proof/202004/the-art-making-tough-decisions-in-crisis" TargetMode="External"/><Relationship Id="rId5" Type="http://schemas.openxmlformats.org/officeDocument/2006/relationships/hyperlink" Target="https://www.mckinsey.com/business-functions/organization/our-insights/decision-making-in-uncertain-times" TargetMode="External"/><Relationship Id="rId4" Type="http://schemas.openxmlformats.org/officeDocument/2006/relationships/hyperlink" Target="https://www.themandarin.com.au/151128-reflecting-on-the-lessons-from-crisis-management-and-rapid-recovery/" TargetMode="Externa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8" Type="http://schemas.openxmlformats.org/officeDocument/2006/relationships/hyperlink" Target="https://www.youtube.com/watch?v=heRCxqQmrGQ" TargetMode="External"/><Relationship Id="rId3" Type="http://schemas.openxmlformats.org/officeDocument/2006/relationships/video" Target="https://www.youtube.com/embed/heRCxqQmrGQ?feature=oembed" TargetMode="External"/><Relationship Id="rId7" Type="http://schemas.openxmlformats.org/officeDocument/2006/relationships/image" Target="../media/image6.emf"/><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7.xml"/><Relationship Id="rId10" Type="http://schemas.openxmlformats.org/officeDocument/2006/relationships/image" Target="../media/image10.jpeg"/><Relationship Id="rId4" Type="http://schemas.openxmlformats.org/officeDocument/2006/relationships/slideLayout" Target="../slideLayouts/slideLayout15.xml"/><Relationship Id="rId9" Type="http://schemas.openxmlformats.org/officeDocument/2006/relationships/image" Target="../media/image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notesSlide" Target="../notesSlides/notesSlide18.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notesSlide" Target="../notesSlides/notesSlide19.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notesSlide" Target="../notesSlides/notesSlide20.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6.emf"/><Relationship Id="rId5" Type="http://schemas.openxmlformats.org/officeDocument/2006/relationships/oleObject" Target="../embeddings/oleObject16.bin"/><Relationship Id="rId4" Type="http://schemas.openxmlformats.org/officeDocument/2006/relationships/notesSlide" Target="../notesSlides/notesSlide2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oleObject" Target="../embeddings/oleObject17.bin"/><Relationship Id="rId4" Type="http://schemas.openxmlformats.org/officeDocument/2006/relationships/notesSlide" Target="../notesSlides/notesSlide23.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notesSlide" Target="../notesSlides/notesSlide24.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19.bin"/><Relationship Id="rId4" Type="http://schemas.openxmlformats.org/officeDocument/2006/relationships/notesSlide" Target="../notesSlides/notesSlide25.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notesSlide" Target="../notesSlides/notesSlide26.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notesSlide" Target="../notesSlides/notesSlide2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notesSlide" Target="../notesSlides/notesSlide28.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notesSlide" Target="../notesSlides/notesSlide29.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24.bin"/><Relationship Id="rId4" Type="http://schemas.openxmlformats.org/officeDocument/2006/relationships/notesSlide" Target="../notesSlides/notesSlide30.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6.emf"/><Relationship Id="rId5" Type="http://schemas.openxmlformats.org/officeDocument/2006/relationships/oleObject" Target="../embeddings/oleObject25.bin"/><Relationship Id="rId4" Type="http://schemas.openxmlformats.org/officeDocument/2006/relationships/notesSlide" Target="../notesSlides/notesSlide31.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notesSlide" Target="../notesSlides/notesSlide3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oleObject" Target="../embeddings/oleObject27.bin"/><Relationship Id="rId4" Type="http://schemas.openxmlformats.org/officeDocument/2006/relationships/notesSlide" Target="../notesSlides/notesSlide34.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6.emf"/><Relationship Id="rId5" Type="http://schemas.openxmlformats.org/officeDocument/2006/relationships/oleObject" Target="../embeddings/oleObject28.bin"/><Relationship Id="rId4" Type="http://schemas.openxmlformats.org/officeDocument/2006/relationships/notesSlide" Target="../notesSlides/notesSlide35.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6.emf"/><Relationship Id="rId5" Type="http://schemas.openxmlformats.org/officeDocument/2006/relationships/oleObject" Target="../embeddings/oleObject29.bin"/><Relationship Id="rId4" Type="http://schemas.openxmlformats.org/officeDocument/2006/relationships/notesSlide" Target="../notesSlides/notesSlide36.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6.emf"/><Relationship Id="rId5" Type="http://schemas.openxmlformats.org/officeDocument/2006/relationships/oleObject" Target="../embeddings/oleObject30.bin"/><Relationship Id="rId4" Type="http://schemas.openxmlformats.org/officeDocument/2006/relationships/notesSlide" Target="../notesSlides/notesSlide37.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6.emf"/><Relationship Id="rId5" Type="http://schemas.openxmlformats.org/officeDocument/2006/relationships/oleObject" Target="../embeddings/oleObject31.bin"/><Relationship Id="rId4" Type="http://schemas.openxmlformats.org/officeDocument/2006/relationships/notesSlide" Target="../notesSlides/notesSlide38.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6.emf"/><Relationship Id="rId5" Type="http://schemas.openxmlformats.org/officeDocument/2006/relationships/oleObject" Target="../embeddings/oleObject32.bin"/><Relationship Id="rId4" Type="http://schemas.openxmlformats.org/officeDocument/2006/relationships/notesSlide" Target="../notesSlides/notesSlide39.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hyperlink" Target="https://www.youtube.com/watch?v=SEfgCqnMl5E&amp;t=198s" TargetMode="External"/><Relationship Id="rId3" Type="http://schemas.openxmlformats.org/officeDocument/2006/relationships/video" Target="https://www.youtube.com/embed/SEfgCqnMl5E?feature=oembed" TargetMode="External"/><Relationship Id="rId7" Type="http://schemas.openxmlformats.org/officeDocument/2006/relationships/image" Target="../media/image6.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8.xml"/><Relationship Id="rId10" Type="http://schemas.openxmlformats.org/officeDocument/2006/relationships/image" Target="../media/image8.jpeg"/><Relationship Id="rId4" Type="http://schemas.openxmlformats.org/officeDocument/2006/relationships/slideLayout" Target="../slideLayouts/slideLayout15.xml"/><Relationship Id="rId9"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6.emf"/><Relationship Id="rId5" Type="http://schemas.openxmlformats.org/officeDocument/2006/relationships/oleObject" Target="../embeddings/oleObject6.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xmlns="" id="{5A5763AB-2313-1B44-A17A-FDC337682D63}"/>
              </a:ext>
            </a:extLst>
          </p:cNvPr>
          <p:cNvSpPr>
            <a:spLocks noGrp="1"/>
          </p:cNvSpPr>
          <p:nvPr>
            <p:ph type="body" sz="quarter" idx="15"/>
          </p:nvPr>
        </p:nvSpPr>
        <p:spPr>
          <a:xfrm>
            <a:off x="767011" y="4930199"/>
            <a:ext cx="6885645" cy="697353"/>
          </a:xfrm>
        </p:spPr>
        <p:txBody>
          <a:bodyPr/>
          <a:lstStyle/>
          <a:p>
            <a:r>
              <a:rPr lang="en-GB" sz="4800" dirty="0"/>
              <a:t>Leadership In Crisis</a:t>
            </a:r>
          </a:p>
        </p:txBody>
      </p:sp>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826409" y="4280907"/>
            <a:ext cx="7795077" cy="697353"/>
          </a:xfrm>
        </p:spPr>
        <p:txBody>
          <a:bodyPr>
            <a:normAutofit/>
          </a:bodyPr>
          <a:lstStyle/>
          <a:p>
            <a:r>
              <a:rPr lang="en-GB" dirty="0"/>
              <a:t>MODULE 6</a:t>
            </a:r>
          </a:p>
        </p:txBody>
      </p:sp>
      <p:sp>
        <p:nvSpPr>
          <p:cNvPr id="5" name="TextBox 4">
            <a:extLst>
              <a:ext uri="{FF2B5EF4-FFF2-40B4-BE49-F238E27FC236}">
                <a16:creationId xmlns:a16="http://schemas.microsoft.com/office/drawing/2014/main" xmlns="" id="{93C5FA55-81F0-4CA0-B9E5-2A53A523B18F}"/>
              </a:ext>
            </a:extLst>
          </p:cNvPr>
          <p:cNvSpPr txBox="1"/>
          <p:nvPr/>
        </p:nvSpPr>
        <p:spPr>
          <a:xfrm>
            <a:off x="658585" y="5950608"/>
            <a:ext cx="10510157" cy="1477328"/>
          </a:xfrm>
          <a:prstGeom prst="rect">
            <a:avLst/>
          </a:prstGeom>
          <a:noFill/>
        </p:spPr>
        <p:txBody>
          <a:bodyPr wrap="square">
            <a:spAutoFit/>
          </a:bodyPr>
          <a:lstStyle/>
          <a:p>
            <a:r>
              <a:rPr lang="en-GB"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p>
          <a:p>
            <a:r>
              <a:rPr lang="en-GB"/>
              <a:t> </a:t>
            </a:r>
          </a:p>
          <a:p>
            <a:endParaRPr lang="en-IE" sz="1800" dirty="0">
              <a:solidFill>
                <a:schemeClr val="bg1"/>
              </a:solidFill>
            </a:endParaRPr>
          </a:p>
        </p:txBody>
      </p:sp>
    </p:spTree>
    <p:extLst>
      <p:ext uri="{BB962C8B-B14F-4D97-AF65-F5344CB8AC3E}">
        <p14:creationId xmlns:p14="http://schemas.microsoft.com/office/powerpoint/2010/main" val="578721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68896" y="585584"/>
            <a:ext cx="8852375" cy="697353"/>
          </a:xfrm>
        </p:spPr>
        <p:txBody>
          <a:bodyPr>
            <a:normAutofit/>
          </a:bodyPr>
          <a:lstStyle/>
          <a:p>
            <a:r>
              <a:rPr lang="en-GB" dirty="0"/>
              <a:t>Leadership competence in crise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88691" y="2066291"/>
            <a:ext cx="2810071" cy="339866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Crisis management requires sovereign and quick decisions. This is because the usual standard behaviour patterns and strategies are usually not sufficient to overcome a crisis.</a:t>
            </a:r>
          </a:p>
          <a:p>
            <a:pPr algn="l">
              <a:lnSpc>
                <a:spcPts val="1500"/>
              </a:lnSpc>
              <a:spcBef>
                <a:spcPts val="600"/>
              </a:spcBef>
            </a:pPr>
            <a:endParaRPr lang="en-GB" sz="1400" dirty="0">
              <a:latin typeface="+mj-lt"/>
              <a:sym typeface="Wingdings" panose="05000000000000000000" pitchFamily="2" charset="2"/>
            </a:endParaRPr>
          </a:p>
        </p:txBody>
      </p:sp>
      <p:sp>
        <p:nvSpPr>
          <p:cNvPr id="5" name="Shape 3160">
            <a:extLst>
              <a:ext uri="{FF2B5EF4-FFF2-40B4-BE49-F238E27FC236}">
                <a16:creationId xmlns:a16="http://schemas.microsoft.com/office/drawing/2014/main" xmlns="" id="{39478F7F-7DB6-4B09-ABCC-9AE41094D595}"/>
              </a:ext>
            </a:extLst>
          </p:cNvPr>
          <p:cNvSpPr/>
          <p:nvPr/>
        </p:nvSpPr>
        <p:spPr>
          <a:xfrm>
            <a:off x="8170983" y="2144477"/>
            <a:ext cx="3132743" cy="1867689"/>
          </a:xfrm>
          <a:custGeom>
            <a:avLst/>
            <a:gdLst/>
            <a:ahLst/>
            <a:cxnLst/>
            <a:rect l="0" t="0" r="0" b="0"/>
            <a:pathLst>
              <a:path w="120000" h="120000" extrusionOk="0">
                <a:moveTo>
                  <a:pt x="114578" y="71489"/>
                </a:moveTo>
                <a:cubicBezTo>
                  <a:pt x="119999" y="65106"/>
                  <a:pt x="119999" y="54893"/>
                  <a:pt x="114578" y="48510"/>
                </a:cubicBezTo>
                <a:cubicBezTo>
                  <a:pt x="78795" y="6382"/>
                  <a:pt x="78795" y="6382"/>
                  <a:pt x="78795" y="6382"/>
                </a:cubicBezTo>
                <a:cubicBezTo>
                  <a:pt x="73373" y="0"/>
                  <a:pt x="69036" y="2127"/>
                  <a:pt x="69036" y="11063"/>
                </a:cubicBezTo>
                <a:cubicBezTo>
                  <a:pt x="69036" y="11063"/>
                  <a:pt x="69036" y="11063"/>
                  <a:pt x="69036" y="11063"/>
                </a:cubicBezTo>
                <a:cubicBezTo>
                  <a:pt x="69036" y="20000"/>
                  <a:pt x="62891" y="27659"/>
                  <a:pt x="55301" y="27659"/>
                </a:cubicBezTo>
                <a:cubicBezTo>
                  <a:pt x="13734" y="27659"/>
                  <a:pt x="13734" y="27659"/>
                  <a:pt x="13734" y="27659"/>
                </a:cubicBezTo>
                <a:cubicBezTo>
                  <a:pt x="6144" y="27659"/>
                  <a:pt x="0" y="34893"/>
                  <a:pt x="0" y="43829"/>
                </a:cubicBezTo>
                <a:cubicBezTo>
                  <a:pt x="0" y="76170"/>
                  <a:pt x="0" y="76170"/>
                  <a:pt x="0" y="76170"/>
                </a:cubicBezTo>
                <a:cubicBezTo>
                  <a:pt x="0" y="85106"/>
                  <a:pt x="6144" y="92765"/>
                  <a:pt x="13734" y="92765"/>
                </a:cubicBezTo>
                <a:cubicBezTo>
                  <a:pt x="55301" y="92765"/>
                  <a:pt x="55301" y="92765"/>
                  <a:pt x="55301" y="92765"/>
                </a:cubicBezTo>
                <a:cubicBezTo>
                  <a:pt x="62891" y="92765"/>
                  <a:pt x="69036" y="100000"/>
                  <a:pt x="69036" y="108936"/>
                </a:cubicBezTo>
                <a:cubicBezTo>
                  <a:pt x="69036" y="108936"/>
                  <a:pt x="69036" y="108936"/>
                  <a:pt x="69036" y="108936"/>
                </a:cubicBezTo>
                <a:cubicBezTo>
                  <a:pt x="69036" y="117872"/>
                  <a:pt x="73373" y="120000"/>
                  <a:pt x="78795" y="113617"/>
                </a:cubicBezTo>
                <a:lnTo>
                  <a:pt x="114578" y="71489"/>
                </a:lnTo>
                <a:close/>
              </a:path>
            </a:pathLst>
          </a:custGeom>
          <a:solidFill>
            <a:schemeClr val="accent3"/>
          </a:solidFill>
          <a:ln/>
          <a:effectLst/>
        </p:spPr>
        <p:style>
          <a:lnRef idx="0">
            <a:schemeClr val="accent3"/>
          </a:lnRef>
          <a:fillRef idx="3">
            <a:schemeClr val="accent3"/>
          </a:fillRef>
          <a:effectRef idx="3">
            <a:schemeClr val="accent3"/>
          </a:effectRef>
          <a:fontRef idx="minor">
            <a:schemeClr val="lt1"/>
          </a:fontRef>
        </p:style>
        <p:txBody>
          <a:bodyPr lIns="45706" tIns="22846" rIns="45706" bIns="22846" anchor="t" anchorCtr="0">
            <a:noAutofit/>
          </a:bodyPr>
          <a:lstStyle/>
          <a:p>
            <a:pPr algn="just">
              <a:buClr>
                <a:srgbClr val="000000"/>
              </a:buClr>
            </a:pPr>
            <a:endParaRPr lang="en-GB" sz="900" dirty="0">
              <a:solidFill>
                <a:schemeClr val="dk1"/>
              </a:solidFill>
              <a:latin typeface="Lato Light" panose="020F0502020204030203" pitchFamily="34" charset="0"/>
              <a:ea typeface="Lato Light" panose="020F0502020204030203" pitchFamily="34" charset="0"/>
              <a:cs typeface="Lato Light" panose="020F0502020204030203" pitchFamily="34" charset="0"/>
              <a:sym typeface="Arial"/>
            </a:endParaRPr>
          </a:p>
        </p:txBody>
      </p:sp>
      <p:sp>
        <p:nvSpPr>
          <p:cNvPr id="6" name="Shape 3164">
            <a:extLst>
              <a:ext uri="{FF2B5EF4-FFF2-40B4-BE49-F238E27FC236}">
                <a16:creationId xmlns:a16="http://schemas.microsoft.com/office/drawing/2014/main" xmlns="" id="{D3D999FD-48DD-445D-9AE4-6E2D63BA03C3}"/>
              </a:ext>
            </a:extLst>
          </p:cNvPr>
          <p:cNvSpPr/>
          <p:nvPr/>
        </p:nvSpPr>
        <p:spPr>
          <a:xfrm>
            <a:off x="5999755" y="2146998"/>
            <a:ext cx="3132743" cy="1867687"/>
          </a:xfrm>
          <a:custGeom>
            <a:avLst/>
            <a:gdLst/>
            <a:ahLst/>
            <a:cxnLst/>
            <a:rect l="0" t="0" r="0" b="0"/>
            <a:pathLst>
              <a:path w="120000" h="120000" extrusionOk="0">
                <a:moveTo>
                  <a:pt x="114939" y="71489"/>
                </a:moveTo>
                <a:cubicBezTo>
                  <a:pt x="119999" y="65106"/>
                  <a:pt x="119999" y="54893"/>
                  <a:pt x="114939" y="48510"/>
                </a:cubicBezTo>
                <a:cubicBezTo>
                  <a:pt x="79156" y="6382"/>
                  <a:pt x="79156" y="6382"/>
                  <a:pt x="79156" y="6382"/>
                </a:cubicBezTo>
                <a:cubicBezTo>
                  <a:pt x="73734" y="0"/>
                  <a:pt x="69397" y="2127"/>
                  <a:pt x="69397" y="11063"/>
                </a:cubicBezTo>
                <a:cubicBezTo>
                  <a:pt x="69397" y="11063"/>
                  <a:pt x="69397" y="11063"/>
                  <a:pt x="69397" y="11063"/>
                </a:cubicBezTo>
                <a:cubicBezTo>
                  <a:pt x="69397" y="20000"/>
                  <a:pt x="62891" y="27659"/>
                  <a:pt x="55301" y="27659"/>
                </a:cubicBezTo>
                <a:cubicBezTo>
                  <a:pt x="14096" y="27659"/>
                  <a:pt x="14096" y="27659"/>
                  <a:pt x="14096" y="27659"/>
                </a:cubicBezTo>
                <a:cubicBezTo>
                  <a:pt x="6506" y="27659"/>
                  <a:pt x="0" y="34893"/>
                  <a:pt x="0" y="43829"/>
                </a:cubicBezTo>
                <a:cubicBezTo>
                  <a:pt x="0" y="76170"/>
                  <a:pt x="0" y="76170"/>
                  <a:pt x="0" y="76170"/>
                </a:cubicBezTo>
                <a:cubicBezTo>
                  <a:pt x="0" y="85106"/>
                  <a:pt x="6506" y="92765"/>
                  <a:pt x="14096" y="92765"/>
                </a:cubicBezTo>
                <a:cubicBezTo>
                  <a:pt x="55301" y="92765"/>
                  <a:pt x="55301" y="92765"/>
                  <a:pt x="55301" y="92765"/>
                </a:cubicBezTo>
                <a:cubicBezTo>
                  <a:pt x="62891" y="92765"/>
                  <a:pt x="69397" y="100000"/>
                  <a:pt x="69397" y="108936"/>
                </a:cubicBezTo>
                <a:cubicBezTo>
                  <a:pt x="69397" y="108936"/>
                  <a:pt x="69397" y="108936"/>
                  <a:pt x="69397" y="108936"/>
                </a:cubicBezTo>
                <a:cubicBezTo>
                  <a:pt x="69397" y="117872"/>
                  <a:pt x="73734" y="120000"/>
                  <a:pt x="79156" y="113617"/>
                </a:cubicBezTo>
                <a:lnTo>
                  <a:pt x="114939" y="71489"/>
                </a:lnTo>
                <a:close/>
              </a:path>
            </a:pathLst>
          </a:custGeom>
          <a:solidFill>
            <a:schemeClr val="accent2"/>
          </a:solidFill>
          <a:ln/>
          <a:effectLst/>
        </p:spPr>
        <p:style>
          <a:lnRef idx="0">
            <a:schemeClr val="accent2"/>
          </a:lnRef>
          <a:fillRef idx="3">
            <a:schemeClr val="accent2"/>
          </a:fillRef>
          <a:effectRef idx="3">
            <a:schemeClr val="accent2"/>
          </a:effectRef>
          <a:fontRef idx="minor">
            <a:schemeClr val="lt1"/>
          </a:fontRef>
        </p:style>
        <p:txBody>
          <a:bodyPr lIns="45706" tIns="22846" rIns="45706" bIns="22846" anchor="t" anchorCtr="0">
            <a:noAutofit/>
          </a:bodyPr>
          <a:lstStyle/>
          <a:p>
            <a:pPr algn="just">
              <a:buClr>
                <a:srgbClr val="000000"/>
              </a:buClr>
            </a:pPr>
            <a:endParaRPr lang="en-GB" sz="900" dirty="0">
              <a:solidFill>
                <a:schemeClr val="dk1"/>
              </a:solidFill>
              <a:latin typeface="Lato Light" panose="020F0502020204030203" pitchFamily="34" charset="0"/>
              <a:ea typeface="Lato Light" panose="020F0502020204030203" pitchFamily="34" charset="0"/>
              <a:cs typeface="Lato Light" panose="020F0502020204030203" pitchFamily="34" charset="0"/>
              <a:sym typeface="Arial"/>
            </a:endParaRPr>
          </a:p>
        </p:txBody>
      </p:sp>
      <p:sp>
        <p:nvSpPr>
          <p:cNvPr id="7" name="Shape 3167">
            <a:extLst>
              <a:ext uri="{FF2B5EF4-FFF2-40B4-BE49-F238E27FC236}">
                <a16:creationId xmlns:a16="http://schemas.microsoft.com/office/drawing/2014/main" xmlns="" id="{21F33F06-EBE1-4072-9812-8B673AFCF7FF}"/>
              </a:ext>
            </a:extLst>
          </p:cNvPr>
          <p:cNvSpPr>
            <a:spLocks noChangeAspect="1"/>
          </p:cNvSpPr>
          <p:nvPr/>
        </p:nvSpPr>
        <p:spPr>
          <a:xfrm>
            <a:off x="4101737" y="2144476"/>
            <a:ext cx="2869946" cy="1867660"/>
          </a:xfrm>
          <a:custGeom>
            <a:avLst/>
            <a:gdLst/>
            <a:ahLst/>
            <a:cxnLst/>
            <a:rect l="0" t="0" r="0" b="0"/>
            <a:pathLst>
              <a:path w="120000" h="120000" extrusionOk="0">
                <a:moveTo>
                  <a:pt x="68202" y="5"/>
                </a:moveTo>
                <a:cubicBezTo>
                  <a:pt x="69981" y="99"/>
                  <a:pt x="72131" y="1352"/>
                  <a:pt x="74454" y="3859"/>
                </a:cubicBezTo>
                <a:cubicBezTo>
                  <a:pt x="74454" y="3859"/>
                  <a:pt x="74454" y="3859"/>
                  <a:pt x="115352" y="47969"/>
                </a:cubicBezTo>
                <a:cubicBezTo>
                  <a:pt x="121549" y="54653"/>
                  <a:pt x="121549" y="65346"/>
                  <a:pt x="115352" y="72030"/>
                </a:cubicBezTo>
                <a:lnTo>
                  <a:pt x="74454" y="116140"/>
                </a:lnTo>
                <a:cubicBezTo>
                  <a:pt x="68258" y="122824"/>
                  <a:pt x="63300" y="120596"/>
                  <a:pt x="63300" y="111239"/>
                </a:cubicBezTo>
                <a:cubicBezTo>
                  <a:pt x="63300" y="101882"/>
                  <a:pt x="56278" y="94308"/>
                  <a:pt x="47602" y="94308"/>
                </a:cubicBezTo>
                <a:cubicBezTo>
                  <a:pt x="47602" y="94308"/>
                  <a:pt x="47602" y="94308"/>
                  <a:pt x="95" y="94308"/>
                </a:cubicBezTo>
                <a:lnTo>
                  <a:pt x="0" y="94297"/>
                </a:lnTo>
                <a:lnTo>
                  <a:pt x="411" y="94297"/>
                </a:lnTo>
                <a:cubicBezTo>
                  <a:pt x="3199" y="94297"/>
                  <a:pt x="3199" y="94297"/>
                  <a:pt x="3199" y="94297"/>
                </a:cubicBezTo>
                <a:cubicBezTo>
                  <a:pt x="23442" y="72013"/>
                  <a:pt x="23442" y="72013"/>
                  <a:pt x="23442" y="72013"/>
                </a:cubicBezTo>
                <a:cubicBezTo>
                  <a:pt x="29639" y="65328"/>
                  <a:pt x="29639" y="54632"/>
                  <a:pt x="23442" y="47947"/>
                </a:cubicBezTo>
                <a:cubicBezTo>
                  <a:pt x="5730" y="28838"/>
                  <a:pt x="3515" y="26450"/>
                  <a:pt x="3239" y="26151"/>
                </a:cubicBezTo>
                <a:lnTo>
                  <a:pt x="3225" y="26137"/>
                </a:lnTo>
                <a:lnTo>
                  <a:pt x="4073" y="26137"/>
                </a:lnTo>
                <a:cubicBezTo>
                  <a:pt x="9188" y="26137"/>
                  <a:pt x="20879" y="26137"/>
                  <a:pt x="47602" y="26137"/>
                </a:cubicBezTo>
                <a:cubicBezTo>
                  <a:pt x="56278" y="26137"/>
                  <a:pt x="63300" y="18117"/>
                  <a:pt x="63300" y="8760"/>
                </a:cubicBezTo>
                <a:cubicBezTo>
                  <a:pt x="63300" y="2912"/>
                  <a:pt x="65237" y="-150"/>
                  <a:pt x="68202" y="5"/>
                </a:cubicBezTo>
                <a:close/>
              </a:path>
            </a:pathLst>
          </a:custGeom>
          <a:solidFill>
            <a:schemeClr val="accent1"/>
          </a:solidFill>
          <a:ln/>
          <a:effectLst/>
        </p:spPr>
        <p:style>
          <a:lnRef idx="0">
            <a:schemeClr val="accent1"/>
          </a:lnRef>
          <a:fillRef idx="3">
            <a:schemeClr val="accent1"/>
          </a:fillRef>
          <a:effectRef idx="3">
            <a:schemeClr val="accent1"/>
          </a:effectRef>
          <a:fontRef idx="minor">
            <a:schemeClr val="lt1"/>
          </a:fontRef>
        </p:style>
        <p:txBody>
          <a:bodyPr lIns="45706" tIns="22846" rIns="45706" bIns="22846" anchor="t" anchorCtr="0">
            <a:noAutofit/>
          </a:bodyPr>
          <a:lstStyle/>
          <a:p>
            <a:pPr algn="just">
              <a:buClr>
                <a:srgbClr val="000000"/>
              </a:buClr>
            </a:pPr>
            <a:endParaRPr lang="en-GB" sz="900" dirty="0">
              <a:solidFill>
                <a:schemeClr val="dk1"/>
              </a:solidFill>
              <a:latin typeface="Lato Light" panose="020F0502020204030203" pitchFamily="34" charset="0"/>
              <a:ea typeface="Lato Light" panose="020F0502020204030203" pitchFamily="34" charset="0"/>
              <a:cs typeface="Lato Light" panose="020F0502020204030203" pitchFamily="34" charset="0"/>
              <a:sym typeface="Arial"/>
            </a:endParaRPr>
          </a:p>
        </p:txBody>
      </p:sp>
      <p:sp>
        <p:nvSpPr>
          <p:cNvPr id="11" name="TextBox 37">
            <a:extLst>
              <a:ext uri="{FF2B5EF4-FFF2-40B4-BE49-F238E27FC236}">
                <a16:creationId xmlns:a16="http://schemas.microsoft.com/office/drawing/2014/main" xmlns="" id="{30D77FA7-A2B5-4ACA-93DC-EB01008601AD}"/>
              </a:ext>
            </a:extLst>
          </p:cNvPr>
          <p:cNvSpPr txBox="1"/>
          <p:nvPr/>
        </p:nvSpPr>
        <p:spPr>
          <a:xfrm>
            <a:off x="4881937" y="2743275"/>
            <a:ext cx="1464824" cy="707886"/>
          </a:xfrm>
          <a:prstGeom prst="rect">
            <a:avLst/>
          </a:prstGeom>
          <a:noFill/>
        </p:spPr>
        <p:txBody>
          <a:bodyPr wrap="none" rtlCol="0" anchor="ctr" anchorCtr="0">
            <a:spAutoFit/>
          </a:bodyPr>
          <a:lstStyle/>
          <a:p>
            <a:pPr algn="ctr"/>
            <a:r>
              <a:rPr lang="en-GB" sz="2000" b="1" spc="113" dirty="0">
                <a:solidFill>
                  <a:schemeClr val="bg1"/>
                </a:solidFill>
                <a:latin typeface="+mj-lt"/>
                <a:ea typeface="League Spartan" charset="0"/>
                <a:cs typeface="Poppins" pitchFamily="2" charset="77"/>
              </a:rPr>
              <a:t>Before the </a:t>
            </a:r>
          </a:p>
          <a:p>
            <a:pPr algn="ctr"/>
            <a:r>
              <a:rPr lang="en-GB" sz="2000" b="1" spc="113" dirty="0">
                <a:solidFill>
                  <a:schemeClr val="bg1"/>
                </a:solidFill>
                <a:latin typeface="+mj-lt"/>
                <a:ea typeface="League Spartan" charset="0"/>
                <a:cs typeface="Poppins" pitchFamily="2" charset="77"/>
              </a:rPr>
              <a:t>Crisis</a:t>
            </a:r>
          </a:p>
        </p:txBody>
      </p:sp>
      <p:sp>
        <p:nvSpPr>
          <p:cNvPr id="12" name="TextBox 38">
            <a:extLst>
              <a:ext uri="{FF2B5EF4-FFF2-40B4-BE49-F238E27FC236}">
                <a16:creationId xmlns:a16="http://schemas.microsoft.com/office/drawing/2014/main" xmlns="" id="{EF4FBA2D-458D-4376-B42A-0AF9B25D8286}"/>
              </a:ext>
            </a:extLst>
          </p:cNvPr>
          <p:cNvSpPr txBox="1"/>
          <p:nvPr/>
        </p:nvSpPr>
        <p:spPr>
          <a:xfrm>
            <a:off x="7005413" y="2897163"/>
            <a:ext cx="1636217" cy="400110"/>
          </a:xfrm>
          <a:prstGeom prst="rect">
            <a:avLst/>
          </a:prstGeom>
          <a:noFill/>
        </p:spPr>
        <p:txBody>
          <a:bodyPr wrap="none" rtlCol="0" anchor="ctr" anchorCtr="0">
            <a:spAutoFit/>
          </a:bodyPr>
          <a:lstStyle/>
          <a:p>
            <a:pPr algn="ctr"/>
            <a:r>
              <a:rPr lang="en-GB" sz="2000" b="1" spc="113" dirty="0">
                <a:solidFill>
                  <a:schemeClr val="bg1"/>
                </a:solidFill>
                <a:latin typeface="+mj-lt"/>
                <a:ea typeface="League Spartan" charset="0"/>
                <a:cs typeface="Poppins" pitchFamily="2" charset="77"/>
              </a:rPr>
              <a:t>During Crisis</a:t>
            </a:r>
          </a:p>
        </p:txBody>
      </p:sp>
      <p:sp>
        <p:nvSpPr>
          <p:cNvPr id="13" name="TextBox 39">
            <a:extLst>
              <a:ext uri="{FF2B5EF4-FFF2-40B4-BE49-F238E27FC236}">
                <a16:creationId xmlns:a16="http://schemas.microsoft.com/office/drawing/2014/main" xmlns="" id="{5A2A2922-9074-4790-953B-615D86EA901B}"/>
              </a:ext>
            </a:extLst>
          </p:cNvPr>
          <p:cNvSpPr txBox="1"/>
          <p:nvPr/>
        </p:nvSpPr>
        <p:spPr>
          <a:xfrm>
            <a:off x="9244825" y="2897163"/>
            <a:ext cx="1454117" cy="400110"/>
          </a:xfrm>
          <a:prstGeom prst="rect">
            <a:avLst/>
          </a:prstGeom>
          <a:noFill/>
        </p:spPr>
        <p:txBody>
          <a:bodyPr wrap="none" rtlCol="0" anchor="ctr" anchorCtr="0">
            <a:spAutoFit/>
          </a:bodyPr>
          <a:lstStyle/>
          <a:p>
            <a:pPr algn="ctr"/>
            <a:r>
              <a:rPr lang="en-GB" sz="2000" b="1" spc="113" dirty="0">
                <a:solidFill>
                  <a:schemeClr val="bg1"/>
                </a:solidFill>
                <a:latin typeface="+mj-lt"/>
                <a:ea typeface="League Spartan" charset="0"/>
                <a:cs typeface="Poppins" pitchFamily="2" charset="77"/>
              </a:rPr>
              <a:t>After Crisis</a:t>
            </a:r>
          </a:p>
        </p:txBody>
      </p:sp>
      <p:sp>
        <p:nvSpPr>
          <p:cNvPr id="14" name="Subtitle 2">
            <a:extLst>
              <a:ext uri="{FF2B5EF4-FFF2-40B4-BE49-F238E27FC236}">
                <a16:creationId xmlns:a16="http://schemas.microsoft.com/office/drawing/2014/main" xmlns="" id="{A60659F3-F112-45AB-A652-686A273E9847}"/>
              </a:ext>
            </a:extLst>
          </p:cNvPr>
          <p:cNvSpPr txBox="1">
            <a:spLocks/>
          </p:cNvSpPr>
          <p:nvPr/>
        </p:nvSpPr>
        <p:spPr>
          <a:xfrm>
            <a:off x="4397173" y="4163092"/>
            <a:ext cx="1827812" cy="17443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Building trust</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Leadership Training</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Early warning systems</a:t>
            </a:r>
          </a:p>
        </p:txBody>
      </p:sp>
      <p:sp>
        <p:nvSpPr>
          <p:cNvPr id="15" name="Subtitle 2">
            <a:extLst>
              <a:ext uri="{FF2B5EF4-FFF2-40B4-BE49-F238E27FC236}">
                <a16:creationId xmlns:a16="http://schemas.microsoft.com/office/drawing/2014/main" xmlns="" id="{D4B312FE-91E6-4F99-A654-8FBD0214A379}"/>
              </a:ext>
            </a:extLst>
          </p:cNvPr>
          <p:cNvSpPr txBox="1">
            <a:spLocks/>
          </p:cNvSpPr>
          <p:nvPr/>
        </p:nvSpPr>
        <p:spPr>
          <a:xfrm>
            <a:off x="6447209" y="4005634"/>
            <a:ext cx="2248248" cy="285236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Communication</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Priorities</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Civil courage</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Orientation</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Symbolic management</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Recovery Scenarios</a:t>
            </a:r>
          </a:p>
        </p:txBody>
      </p:sp>
      <p:sp>
        <p:nvSpPr>
          <p:cNvPr id="17" name="Subtitle 2">
            <a:extLst>
              <a:ext uri="{FF2B5EF4-FFF2-40B4-BE49-F238E27FC236}">
                <a16:creationId xmlns:a16="http://schemas.microsoft.com/office/drawing/2014/main" xmlns="" id="{6443112D-FE06-42E7-853B-73F3C3A42343}"/>
              </a:ext>
            </a:extLst>
          </p:cNvPr>
          <p:cNvSpPr txBox="1">
            <a:spLocks/>
          </p:cNvSpPr>
          <p:nvPr/>
        </p:nvSpPr>
        <p:spPr>
          <a:xfrm>
            <a:off x="9086788" y="4163092"/>
            <a:ext cx="1827812" cy="17443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Systematic learning</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Succession planning</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Building trust</a:t>
            </a:r>
            <a:endParaRPr lang="en-GB" sz="1600" dirty="0">
              <a:solidFill>
                <a:srgbClr val="245473"/>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15617964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91111" y="575374"/>
            <a:ext cx="8852375" cy="697353"/>
          </a:xfrm>
        </p:spPr>
        <p:txBody>
          <a:bodyPr>
            <a:normAutofit/>
          </a:bodyPr>
          <a:lstStyle/>
          <a:p>
            <a:r>
              <a:rPr lang="en-GB" dirty="0"/>
              <a:t>Leadership through charisma</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2810071" cy="27908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Charisma is particularly necessary in corporate management when uncertainty, change, crisis, challenge (or even extraordinary opportunity) is imminent.</a:t>
            </a:r>
            <a:endParaRPr lang="en-GB" sz="2200" dirty="0">
              <a:solidFill>
                <a:srgbClr val="245473"/>
              </a:solidFill>
              <a:latin typeface="+mj-lt"/>
              <a:sym typeface="Wingdings" panose="05000000000000000000" pitchFamily="2" charset="2"/>
            </a:endParaRPr>
          </a:p>
        </p:txBody>
      </p:sp>
      <p:sp>
        <p:nvSpPr>
          <p:cNvPr id="18" name="Freeform 25">
            <a:extLst>
              <a:ext uri="{FF2B5EF4-FFF2-40B4-BE49-F238E27FC236}">
                <a16:creationId xmlns:a16="http://schemas.microsoft.com/office/drawing/2014/main" xmlns="" id="{0E91ECD7-852D-4FC5-A858-3ADB0C8AA800}"/>
              </a:ext>
            </a:extLst>
          </p:cNvPr>
          <p:cNvSpPr>
            <a:spLocks/>
          </p:cNvSpPr>
          <p:nvPr/>
        </p:nvSpPr>
        <p:spPr bwMode="auto">
          <a:xfrm>
            <a:off x="6689529" y="2142491"/>
            <a:ext cx="2418962" cy="2566212"/>
          </a:xfrm>
          <a:custGeom>
            <a:avLst/>
            <a:gdLst>
              <a:gd name="T0" fmla="*/ 453 w 958"/>
              <a:gd name="T1" fmla="*/ 0 h 1016"/>
              <a:gd name="T2" fmla="*/ 215 w 958"/>
              <a:gd name="T3" fmla="*/ 59 h 1016"/>
              <a:gd name="T4" fmla="*/ 304 w 958"/>
              <a:gd name="T5" fmla="*/ 119 h 1016"/>
              <a:gd name="T6" fmla="*/ 486 w 958"/>
              <a:gd name="T7" fmla="*/ 514 h 1016"/>
              <a:gd name="T8" fmla="*/ 410 w 958"/>
              <a:gd name="T9" fmla="*/ 778 h 1016"/>
              <a:gd name="T10" fmla="*/ 0 w 958"/>
              <a:gd name="T11" fmla="*/ 732 h 1016"/>
              <a:gd name="T12" fmla="*/ 209 w 958"/>
              <a:gd name="T13" fmla="*/ 960 h 1016"/>
              <a:gd name="T14" fmla="*/ 454 w 958"/>
              <a:gd name="T15" fmla="*/ 1016 h 1016"/>
              <a:gd name="T16" fmla="*/ 722 w 958"/>
              <a:gd name="T17" fmla="*/ 933 h 1016"/>
              <a:gd name="T18" fmla="*/ 958 w 958"/>
              <a:gd name="T19" fmla="*/ 505 h 1016"/>
              <a:gd name="T20" fmla="*/ 453 w 958"/>
              <a:gd name="T21" fmla="*/ 0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58" h="1016">
                <a:moveTo>
                  <a:pt x="453" y="0"/>
                </a:moveTo>
                <a:cubicBezTo>
                  <a:pt x="367" y="0"/>
                  <a:pt x="286" y="22"/>
                  <a:pt x="215" y="59"/>
                </a:cubicBezTo>
                <a:cubicBezTo>
                  <a:pt x="247" y="76"/>
                  <a:pt x="276" y="96"/>
                  <a:pt x="304" y="119"/>
                </a:cubicBezTo>
                <a:cubicBezTo>
                  <a:pt x="416" y="212"/>
                  <a:pt x="497" y="358"/>
                  <a:pt x="486" y="514"/>
                </a:cubicBezTo>
                <a:cubicBezTo>
                  <a:pt x="480" y="602"/>
                  <a:pt x="481" y="677"/>
                  <a:pt x="410" y="778"/>
                </a:cubicBezTo>
                <a:cubicBezTo>
                  <a:pt x="154" y="1002"/>
                  <a:pt x="0" y="732"/>
                  <a:pt x="0" y="732"/>
                </a:cubicBezTo>
                <a:cubicBezTo>
                  <a:pt x="27" y="877"/>
                  <a:pt x="209" y="960"/>
                  <a:pt x="209" y="960"/>
                </a:cubicBezTo>
                <a:cubicBezTo>
                  <a:pt x="278" y="996"/>
                  <a:pt x="370" y="1016"/>
                  <a:pt x="454" y="1016"/>
                </a:cubicBezTo>
                <a:cubicBezTo>
                  <a:pt x="553" y="1016"/>
                  <a:pt x="644" y="982"/>
                  <a:pt x="722" y="933"/>
                </a:cubicBezTo>
                <a:cubicBezTo>
                  <a:pt x="864" y="843"/>
                  <a:pt x="958" y="685"/>
                  <a:pt x="958" y="505"/>
                </a:cubicBezTo>
                <a:cubicBezTo>
                  <a:pt x="958" y="226"/>
                  <a:pt x="732" y="0"/>
                  <a:pt x="453" y="0"/>
                </a:cubicBezTo>
                <a:close/>
              </a:path>
            </a:pathLst>
          </a:custGeom>
          <a:solidFill>
            <a:schemeClr val="accent2"/>
          </a:solidFill>
          <a:ln>
            <a:noFill/>
          </a:ln>
          <a:effectLst/>
        </p:spPr>
        <p:txBody>
          <a:bodyPr vert="horz" wrap="square" lIns="109559" tIns="54779" rIns="109559" bIns="54779" numCol="1" anchor="t" anchorCtr="0" compatLnSpc="1">
            <a:prstTxWarp prst="textNoShape">
              <a:avLst/>
            </a:prstTxWarp>
          </a:bodyPr>
          <a:lstStyle/>
          <a:p>
            <a:endParaRPr lang="en-GB" sz="1400" dirty="0">
              <a:latin typeface="+mj-lt"/>
            </a:endParaRPr>
          </a:p>
        </p:txBody>
      </p:sp>
      <p:sp>
        <p:nvSpPr>
          <p:cNvPr id="19" name="Freeform 26">
            <a:extLst>
              <a:ext uri="{FF2B5EF4-FFF2-40B4-BE49-F238E27FC236}">
                <a16:creationId xmlns:a16="http://schemas.microsoft.com/office/drawing/2014/main" xmlns="" id="{C493A102-BC2C-4835-8272-C95741CAF90F}"/>
              </a:ext>
            </a:extLst>
          </p:cNvPr>
          <p:cNvSpPr>
            <a:spLocks noEditPoints="1"/>
          </p:cNvSpPr>
          <p:nvPr/>
        </p:nvSpPr>
        <p:spPr bwMode="auto">
          <a:xfrm>
            <a:off x="5381717" y="2153162"/>
            <a:ext cx="2571548" cy="2381616"/>
          </a:xfrm>
          <a:custGeom>
            <a:avLst/>
            <a:gdLst>
              <a:gd name="T0" fmla="*/ 692 w 1018"/>
              <a:gd name="T1" fmla="*/ 395 h 943"/>
              <a:gd name="T2" fmla="*/ 694 w 1018"/>
              <a:gd name="T3" fmla="*/ 397 h 943"/>
              <a:gd name="T4" fmla="*/ 694 w 1018"/>
              <a:gd name="T5" fmla="*/ 397 h 943"/>
              <a:gd name="T6" fmla="*/ 739 w 1018"/>
              <a:gd name="T7" fmla="*/ 393 h 943"/>
              <a:gd name="T8" fmla="*/ 972 w 1018"/>
              <a:gd name="T9" fmla="*/ 627 h 943"/>
              <a:gd name="T10" fmla="*/ 872 w 1018"/>
              <a:gd name="T11" fmla="*/ 818 h 943"/>
              <a:gd name="T12" fmla="*/ 872 w 1018"/>
              <a:gd name="T13" fmla="*/ 818 h 943"/>
              <a:gd name="T14" fmla="*/ 931 w 1018"/>
              <a:gd name="T15" fmla="*/ 774 h 943"/>
              <a:gd name="T16" fmla="*/ 1007 w 1018"/>
              <a:gd name="T17" fmla="*/ 510 h 943"/>
              <a:gd name="T18" fmla="*/ 825 w 1018"/>
              <a:gd name="T19" fmla="*/ 115 h 943"/>
              <a:gd name="T20" fmla="*/ 736 w 1018"/>
              <a:gd name="T21" fmla="*/ 55 h 943"/>
              <a:gd name="T22" fmla="*/ 735 w 1018"/>
              <a:gd name="T23" fmla="*/ 56 h 943"/>
              <a:gd name="T24" fmla="*/ 504 w 1018"/>
              <a:gd name="T25" fmla="*/ 0 h 943"/>
              <a:gd name="T26" fmla="*/ 0 w 1018"/>
              <a:gd name="T27" fmla="*/ 504 h 943"/>
              <a:gd name="T28" fmla="*/ 237 w 1018"/>
              <a:gd name="T29" fmla="*/ 932 h 943"/>
              <a:gd name="T30" fmla="*/ 257 w 1018"/>
              <a:gd name="T31" fmla="*/ 943 h 943"/>
              <a:gd name="T32" fmla="*/ 255 w 1018"/>
              <a:gd name="T33" fmla="*/ 898 h 943"/>
              <a:gd name="T34" fmla="*/ 692 w 1018"/>
              <a:gd name="T35" fmla="*/ 395 h 943"/>
              <a:gd name="T36" fmla="*/ 963 w 1018"/>
              <a:gd name="T37" fmla="*/ 713 h 943"/>
              <a:gd name="T38" fmla="*/ 963 w 1018"/>
              <a:gd name="T39" fmla="*/ 714 h 943"/>
              <a:gd name="T40" fmla="*/ 963 w 1018"/>
              <a:gd name="T41" fmla="*/ 713 h 9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18" h="943">
                <a:moveTo>
                  <a:pt x="692" y="395"/>
                </a:moveTo>
                <a:cubicBezTo>
                  <a:pt x="692" y="395"/>
                  <a:pt x="694" y="397"/>
                  <a:pt x="694" y="397"/>
                </a:cubicBezTo>
                <a:cubicBezTo>
                  <a:pt x="694" y="397"/>
                  <a:pt x="694" y="397"/>
                  <a:pt x="694" y="397"/>
                </a:cubicBezTo>
                <a:cubicBezTo>
                  <a:pt x="708" y="394"/>
                  <a:pt x="723" y="393"/>
                  <a:pt x="739" y="393"/>
                </a:cubicBezTo>
                <a:cubicBezTo>
                  <a:pt x="868" y="393"/>
                  <a:pt x="972" y="498"/>
                  <a:pt x="972" y="627"/>
                </a:cubicBezTo>
                <a:cubicBezTo>
                  <a:pt x="972" y="706"/>
                  <a:pt x="933" y="776"/>
                  <a:pt x="872" y="818"/>
                </a:cubicBezTo>
                <a:cubicBezTo>
                  <a:pt x="872" y="818"/>
                  <a:pt x="872" y="818"/>
                  <a:pt x="872" y="818"/>
                </a:cubicBezTo>
                <a:cubicBezTo>
                  <a:pt x="891" y="806"/>
                  <a:pt x="911" y="792"/>
                  <a:pt x="931" y="774"/>
                </a:cubicBezTo>
                <a:cubicBezTo>
                  <a:pt x="1002" y="673"/>
                  <a:pt x="1001" y="598"/>
                  <a:pt x="1007" y="510"/>
                </a:cubicBezTo>
                <a:cubicBezTo>
                  <a:pt x="1018" y="354"/>
                  <a:pt x="937" y="208"/>
                  <a:pt x="825" y="115"/>
                </a:cubicBezTo>
                <a:cubicBezTo>
                  <a:pt x="797" y="92"/>
                  <a:pt x="768" y="72"/>
                  <a:pt x="736" y="55"/>
                </a:cubicBezTo>
                <a:cubicBezTo>
                  <a:pt x="735" y="56"/>
                  <a:pt x="735" y="56"/>
                  <a:pt x="735" y="56"/>
                </a:cubicBezTo>
                <a:cubicBezTo>
                  <a:pt x="666" y="20"/>
                  <a:pt x="588" y="0"/>
                  <a:pt x="504" y="0"/>
                </a:cubicBezTo>
                <a:cubicBezTo>
                  <a:pt x="226" y="0"/>
                  <a:pt x="0" y="226"/>
                  <a:pt x="0" y="504"/>
                </a:cubicBezTo>
                <a:cubicBezTo>
                  <a:pt x="0" y="685"/>
                  <a:pt x="95" y="843"/>
                  <a:pt x="237" y="932"/>
                </a:cubicBezTo>
                <a:cubicBezTo>
                  <a:pt x="244" y="936"/>
                  <a:pt x="250" y="940"/>
                  <a:pt x="257" y="943"/>
                </a:cubicBezTo>
                <a:cubicBezTo>
                  <a:pt x="256" y="928"/>
                  <a:pt x="255" y="913"/>
                  <a:pt x="255" y="898"/>
                </a:cubicBezTo>
                <a:cubicBezTo>
                  <a:pt x="255" y="643"/>
                  <a:pt x="449" y="433"/>
                  <a:pt x="692" y="395"/>
                </a:cubicBezTo>
                <a:close/>
                <a:moveTo>
                  <a:pt x="963" y="713"/>
                </a:moveTo>
                <a:cubicBezTo>
                  <a:pt x="963" y="714"/>
                  <a:pt x="963" y="714"/>
                  <a:pt x="963" y="714"/>
                </a:cubicBezTo>
                <a:cubicBezTo>
                  <a:pt x="963" y="714"/>
                  <a:pt x="963" y="713"/>
                  <a:pt x="963" y="713"/>
                </a:cubicBezTo>
                <a:close/>
              </a:path>
            </a:pathLst>
          </a:custGeom>
          <a:solidFill>
            <a:schemeClr val="accent1"/>
          </a:solidFill>
          <a:ln>
            <a:noFill/>
          </a:ln>
          <a:effectLst/>
        </p:spPr>
        <p:txBody>
          <a:bodyPr vert="horz" wrap="square" lIns="109559" tIns="54779" rIns="109559" bIns="54779" numCol="1" anchor="t" anchorCtr="0" compatLnSpc="1">
            <a:prstTxWarp prst="textNoShape">
              <a:avLst/>
            </a:prstTxWarp>
          </a:bodyPr>
          <a:lstStyle/>
          <a:p>
            <a:endParaRPr lang="en-GB" sz="1400" dirty="0">
              <a:latin typeface="+mj-lt"/>
            </a:endParaRPr>
          </a:p>
        </p:txBody>
      </p:sp>
      <p:sp>
        <p:nvSpPr>
          <p:cNvPr id="20" name="Freeform 27">
            <a:extLst>
              <a:ext uri="{FF2B5EF4-FFF2-40B4-BE49-F238E27FC236}">
                <a16:creationId xmlns:a16="http://schemas.microsoft.com/office/drawing/2014/main" xmlns="" id="{32FBEF31-0D59-44B5-B31C-31B239A37595}"/>
              </a:ext>
            </a:extLst>
          </p:cNvPr>
          <p:cNvSpPr>
            <a:spLocks/>
          </p:cNvSpPr>
          <p:nvPr/>
        </p:nvSpPr>
        <p:spPr bwMode="auto">
          <a:xfrm>
            <a:off x="6017299" y="3150838"/>
            <a:ext cx="2576882" cy="2558743"/>
          </a:xfrm>
          <a:custGeom>
            <a:avLst/>
            <a:gdLst>
              <a:gd name="T0" fmla="*/ 325 w 1020"/>
              <a:gd name="T1" fmla="*/ 421 h 1013"/>
              <a:gd name="T2" fmla="*/ 249 w 1020"/>
              <a:gd name="T3" fmla="*/ 230 h 1013"/>
              <a:gd name="T4" fmla="*/ 439 w 1020"/>
              <a:gd name="T5" fmla="*/ 2 h 1013"/>
              <a:gd name="T6" fmla="*/ 437 w 1020"/>
              <a:gd name="T7" fmla="*/ 0 h 1013"/>
              <a:gd name="T8" fmla="*/ 0 w 1020"/>
              <a:gd name="T9" fmla="*/ 503 h 1013"/>
              <a:gd name="T10" fmla="*/ 510 w 1020"/>
              <a:gd name="T11" fmla="*/ 1013 h 1013"/>
              <a:gd name="T12" fmla="*/ 1020 w 1020"/>
              <a:gd name="T13" fmla="*/ 503 h 1013"/>
              <a:gd name="T14" fmla="*/ 325 w 1020"/>
              <a:gd name="T15" fmla="*/ 421 h 10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0" h="1013">
                <a:moveTo>
                  <a:pt x="325" y="421"/>
                </a:moveTo>
                <a:cubicBezTo>
                  <a:pt x="325" y="421"/>
                  <a:pt x="249" y="349"/>
                  <a:pt x="249" y="230"/>
                </a:cubicBezTo>
                <a:cubicBezTo>
                  <a:pt x="249" y="116"/>
                  <a:pt x="322" y="34"/>
                  <a:pt x="439" y="2"/>
                </a:cubicBezTo>
                <a:cubicBezTo>
                  <a:pt x="439" y="2"/>
                  <a:pt x="437" y="0"/>
                  <a:pt x="437" y="0"/>
                </a:cubicBezTo>
                <a:cubicBezTo>
                  <a:pt x="194" y="38"/>
                  <a:pt x="0" y="248"/>
                  <a:pt x="0" y="503"/>
                </a:cubicBezTo>
                <a:cubicBezTo>
                  <a:pt x="0" y="785"/>
                  <a:pt x="228" y="1013"/>
                  <a:pt x="510" y="1013"/>
                </a:cubicBezTo>
                <a:cubicBezTo>
                  <a:pt x="792" y="1013"/>
                  <a:pt x="1020" y="785"/>
                  <a:pt x="1020" y="503"/>
                </a:cubicBezTo>
                <a:cubicBezTo>
                  <a:pt x="1020" y="503"/>
                  <a:pt x="679" y="804"/>
                  <a:pt x="325" y="421"/>
                </a:cubicBezTo>
                <a:close/>
              </a:path>
            </a:pathLst>
          </a:custGeom>
          <a:solidFill>
            <a:schemeClr val="accent3"/>
          </a:solidFill>
          <a:ln>
            <a:noFill/>
          </a:ln>
          <a:effectLst/>
        </p:spPr>
        <p:txBody>
          <a:bodyPr vert="horz" wrap="square" lIns="109559" tIns="54779" rIns="109559" bIns="54779" numCol="1" anchor="t" anchorCtr="0" compatLnSpc="1">
            <a:prstTxWarp prst="textNoShape">
              <a:avLst/>
            </a:prstTxWarp>
          </a:bodyPr>
          <a:lstStyle/>
          <a:p>
            <a:endParaRPr lang="en-GB" sz="1400" dirty="0">
              <a:latin typeface="+mj-lt"/>
            </a:endParaRPr>
          </a:p>
        </p:txBody>
      </p:sp>
      <p:sp>
        <p:nvSpPr>
          <p:cNvPr id="25" name="TextBox 28">
            <a:extLst>
              <a:ext uri="{FF2B5EF4-FFF2-40B4-BE49-F238E27FC236}">
                <a16:creationId xmlns:a16="http://schemas.microsoft.com/office/drawing/2014/main" xmlns="" id="{B29507C6-5488-498F-9B5B-3719E7CB7837}"/>
              </a:ext>
            </a:extLst>
          </p:cNvPr>
          <p:cNvSpPr txBox="1"/>
          <p:nvPr/>
        </p:nvSpPr>
        <p:spPr>
          <a:xfrm>
            <a:off x="9108491" y="2367913"/>
            <a:ext cx="2355165" cy="954107"/>
          </a:xfrm>
          <a:prstGeom prst="rect">
            <a:avLst/>
          </a:prstGeom>
          <a:noFill/>
        </p:spPr>
        <p:txBody>
          <a:bodyPr wrap="square" rtlCol="0" anchor="t" anchorCtr="0">
            <a:spAutoFit/>
          </a:bodyPr>
          <a:lstStyle/>
          <a:p>
            <a:r>
              <a:rPr lang="en-GB" sz="2800" b="1" dirty="0">
                <a:solidFill>
                  <a:schemeClr val="accent2"/>
                </a:solidFill>
                <a:latin typeface="+mj-lt"/>
                <a:ea typeface="League Spartan" charset="0"/>
                <a:cs typeface="Poppins" pitchFamily="2" charset="77"/>
              </a:rPr>
              <a:t>Source of Charisma: Trust</a:t>
            </a:r>
          </a:p>
        </p:txBody>
      </p:sp>
      <p:sp>
        <p:nvSpPr>
          <p:cNvPr id="26" name="Subtitle 2">
            <a:extLst>
              <a:ext uri="{FF2B5EF4-FFF2-40B4-BE49-F238E27FC236}">
                <a16:creationId xmlns:a16="http://schemas.microsoft.com/office/drawing/2014/main" xmlns="" id="{8049C4AA-DC21-4A1F-89F1-6A46D0ADAD96}"/>
              </a:ext>
            </a:extLst>
          </p:cNvPr>
          <p:cNvSpPr txBox="1">
            <a:spLocks/>
          </p:cNvSpPr>
          <p:nvPr/>
        </p:nvSpPr>
        <p:spPr>
          <a:xfrm>
            <a:off x="8745658" y="5018100"/>
            <a:ext cx="1979393" cy="9764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Hope</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Fitness</a:t>
            </a:r>
          </a:p>
          <a:p>
            <a:pPr marL="182563" indent="-18256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ompetence</a:t>
            </a:r>
          </a:p>
        </p:txBody>
      </p:sp>
      <p:sp>
        <p:nvSpPr>
          <p:cNvPr id="27" name="TextBox 30">
            <a:extLst>
              <a:ext uri="{FF2B5EF4-FFF2-40B4-BE49-F238E27FC236}">
                <a16:creationId xmlns:a16="http://schemas.microsoft.com/office/drawing/2014/main" xmlns="" id="{C1AE4EAE-B7A7-4783-B131-43A40E914F20}"/>
              </a:ext>
            </a:extLst>
          </p:cNvPr>
          <p:cNvSpPr txBox="1"/>
          <p:nvPr/>
        </p:nvSpPr>
        <p:spPr>
          <a:xfrm>
            <a:off x="8689207" y="4608977"/>
            <a:ext cx="1332737" cy="400110"/>
          </a:xfrm>
          <a:prstGeom prst="rect">
            <a:avLst/>
          </a:prstGeom>
          <a:noFill/>
        </p:spPr>
        <p:txBody>
          <a:bodyPr wrap="none" rtlCol="0" anchor="t" anchorCtr="0">
            <a:spAutoFit/>
          </a:bodyPr>
          <a:lstStyle/>
          <a:p>
            <a:r>
              <a:rPr lang="en-GB" sz="2000" b="1" dirty="0">
                <a:solidFill>
                  <a:schemeClr val="accent3"/>
                </a:solidFill>
                <a:latin typeface="+mj-lt"/>
                <a:ea typeface="League Spartan" charset="0"/>
                <a:cs typeface="Poppins" pitchFamily="2" charset="77"/>
              </a:rPr>
              <a:t>Confidence</a:t>
            </a:r>
          </a:p>
        </p:txBody>
      </p:sp>
      <p:sp>
        <p:nvSpPr>
          <p:cNvPr id="28" name="Subtitle 2">
            <a:extLst>
              <a:ext uri="{FF2B5EF4-FFF2-40B4-BE49-F238E27FC236}">
                <a16:creationId xmlns:a16="http://schemas.microsoft.com/office/drawing/2014/main" xmlns="" id="{F94C9FB3-A1C4-49F4-862A-841D97308E5E}"/>
              </a:ext>
            </a:extLst>
          </p:cNvPr>
          <p:cNvSpPr txBox="1">
            <a:spLocks/>
          </p:cNvSpPr>
          <p:nvPr/>
        </p:nvSpPr>
        <p:spPr>
          <a:xfrm>
            <a:off x="3859839" y="3768205"/>
            <a:ext cx="1979393" cy="108107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Honesty</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Principles</a:t>
            </a:r>
          </a:p>
          <a:p>
            <a:pPr marL="182563" indent="-182563" algn="l">
              <a:lnSpc>
                <a:spcPct val="100000"/>
              </a:lnSpc>
              <a:buFont typeface="Arial" panose="020B0604020202020204" pitchFamily="34" charset="0"/>
              <a:buChar char="•"/>
            </a:pPr>
            <a:r>
              <a:rPr lang="en-GB" sz="2000" dirty="0">
                <a:solidFill>
                  <a:srgbClr val="245473"/>
                </a:solidFill>
                <a:latin typeface="+mj-lt"/>
                <a:ea typeface="Lato Light" panose="020F0502020204030203" pitchFamily="34" charset="0"/>
                <a:cs typeface="Mukta ExtraLight" panose="020B0000000000000000" pitchFamily="34" charset="77"/>
              </a:rPr>
              <a:t>Humanism</a:t>
            </a:r>
          </a:p>
        </p:txBody>
      </p:sp>
      <p:sp>
        <p:nvSpPr>
          <p:cNvPr id="29" name="TextBox 32">
            <a:extLst>
              <a:ext uri="{FF2B5EF4-FFF2-40B4-BE49-F238E27FC236}">
                <a16:creationId xmlns:a16="http://schemas.microsoft.com/office/drawing/2014/main" xmlns="" id="{F6B5B5E5-539C-4F69-9C61-FB31D02B4234}"/>
              </a:ext>
            </a:extLst>
          </p:cNvPr>
          <p:cNvSpPr txBox="1"/>
          <p:nvPr/>
        </p:nvSpPr>
        <p:spPr>
          <a:xfrm>
            <a:off x="3514744" y="3337841"/>
            <a:ext cx="1035668" cy="400110"/>
          </a:xfrm>
          <a:prstGeom prst="rect">
            <a:avLst/>
          </a:prstGeom>
          <a:noFill/>
        </p:spPr>
        <p:txBody>
          <a:bodyPr wrap="none" rtlCol="0" anchor="t" anchorCtr="0">
            <a:spAutoFit/>
          </a:bodyPr>
          <a:lstStyle/>
          <a:p>
            <a:pPr algn="r"/>
            <a:r>
              <a:rPr lang="en-GB" sz="2000" b="1" dirty="0">
                <a:solidFill>
                  <a:schemeClr val="accent1"/>
                </a:solidFill>
                <a:latin typeface="+mj-lt"/>
                <a:ea typeface="League Spartan" charset="0"/>
                <a:cs typeface="Poppins" pitchFamily="2" charset="77"/>
              </a:rPr>
              <a:t>Integrity</a:t>
            </a:r>
          </a:p>
        </p:txBody>
      </p:sp>
    </p:spTree>
    <p:extLst>
      <p:ext uri="{BB962C8B-B14F-4D97-AF65-F5344CB8AC3E}">
        <p14:creationId xmlns:p14="http://schemas.microsoft.com/office/powerpoint/2010/main" val="3889326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51125" y="555011"/>
            <a:ext cx="8852375" cy="697353"/>
          </a:xfrm>
        </p:spPr>
        <p:txBody>
          <a:bodyPr>
            <a:normAutofit/>
          </a:bodyPr>
          <a:lstStyle/>
          <a:p>
            <a:r>
              <a:rPr lang="en-GB" dirty="0"/>
              <a:t>5 important tips for leading in the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6768" y="1989057"/>
            <a:ext cx="2868715" cy="459130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solidFill>
                  <a:srgbClr val="245473"/>
                </a:solidFill>
                <a:latin typeface="+mj-lt"/>
              </a:rPr>
              <a:t>The important thing now is that you don't duck away just at that moment. Take on the role of the one who leads, who helps others. If you actively take on this role, it will also help you yourself to deal with fear better.</a:t>
            </a:r>
          </a:p>
          <a:p>
            <a:pPr algn="l">
              <a:lnSpc>
                <a:spcPct val="100000"/>
              </a:lnSpc>
              <a:spcBef>
                <a:spcPts val="600"/>
              </a:spcBef>
            </a:pPr>
            <a:r>
              <a:rPr lang="en-GB" altLang="de-DE" sz="1800" dirty="0">
                <a:solidFill>
                  <a:srgbClr val="245473"/>
                </a:solidFill>
                <a:latin typeface="+mj-lt"/>
              </a:rPr>
              <a:t>Communication is crucial! Explain to your employees how you see the situation and what decisions you are making or will make and most importantly: explain why they are doing certain things.</a:t>
            </a:r>
            <a:endParaRPr lang="en-GB" sz="1800" dirty="0">
              <a:solidFill>
                <a:srgbClr val="245473"/>
              </a:solidFill>
              <a:latin typeface="+mj-lt"/>
              <a:sym typeface="Wingdings" panose="05000000000000000000" pitchFamily="2" charset="2"/>
            </a:endParaRPr>
          </a:p>
        </p:txBody>
      </p:sp>
      <p:grpSp>
        <p:nvGrpSpPr>
          <p:cNvPr id="27" name="Gruppieren 3">
            <a:extLst>
              <a:ext uri="{FF2B5EF4-FFF2-40B4-BE49-F238E27FC236}">
                <a16:creationId xmlns:a16="http://schemas.microsoft.com/office/drawing/2014/main" xmlns="" id="{736A1072-2354-4F4A-A672-F5B459D67D5E}"/>
              </a:ext>
            </a:extLst>
          </p:cNvPr>
          <p:cNvGrpSpPr/>
          <p:nvPr/>
        </p:nvGrpSpPr>
        <p:grpSpPr>
          <a:xfrm>
            <a:off x="2845114" y="1921493"/>
            <a:ext cx="9346886" cy="4590661"/>
            <a:chOff x="3343111" y="2178540"/>
            <a:chExt cx="5363801" cy="3885640"/>
          </a:xfrm>
        </p:grpSpPr>
        <p:sp>
          <p:nvSpPr>
            <p:cNvPr id="48" name="Freeform 204">
              <a:extLst>
                <a:ext uri="{FF2B5EF4-FFF2-40B4-BE49-F238E27FC236}">
                  <a16:creationId xmlns:a16="http://schemas.microsoft.com/office/drawing/2014/main" xmlns="" id="{46EDECB2-F975-4E43-B30F-61BF01B1026B}"/>
                </a:ext>
              </a:extLst>
            </p:cNvPr>
            <p:cNvSpPr>
              <a:spLocks/>
            </p:cNvSpPr>
            <p:nvPr/>
          </p:nvSpPr>
          <p:spPr bwMode="auto">
            <a:xfrm>
              <a:off x="6650416" y="5136639"/>
              <a:ext cx="949528" cy="694947"/>
            </a:xfrm>
            <a:custGeom>
              <a:avLst/>
              <a:gdLst>
                <a:gd name="T0" fmla="*/ 637 w 901"/>
                <a:gd name="T1" fmla="*/ 534 h 534"/>
                <a:gd name="T2" fmla="*/ 828 w 901"/>
                <a:gd name="T3" fmla="*/ 351 h 534"/>
                <a:gd name="T4" fmla="*/ 883 w 901"/>
                <a:gd name="T5" fmla="*/ 299 h 534"/>
                <a:gd name="T6" fmla="*/ 883 w 901"/>
                <a:gd name="T7" fmla="*/ 236 h 534"/>
                <a:gd name="T8" fmla="*/ 828 w 901"/>
                <a:gd name="T9" fmla="*/ 184 h 534"/>
                <a:gd name="T10" fmla="*/ 635 w 901"/>
                <a:gd name="T11" fmla="*/ 0 h 534"/>
                <a:gd name="T12" fmla="*/ 635 w 901"/>
                <a:gd name="T13" fmla="*/ 0 h 534"/>
                <a:gd name="T14" fmla="*/ 635 w 901"/>
                <a:gd name="T15" fmla="*/ 0 h 534"/>
                <a:gd name="T16" fmla="*/ 177 w 901"/>
                <a:gd name="T17" fmla="*/ 0 h 534"/>
                <a:gd name="T18" fmla="*/ 0 w 901"/>
                <a:gd name="T19" fmla="*/ 534 h 534"/>
                <a:gd name="T20" fmla="*/ 635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8" y="351"/>
                    <a:pt x="828" y="351"/>
                    <a:pt x="828" y="351"/>
                  </a:cubicBezTo>
                  <a:cubicBezTo>
                    <a:pt x="883" y="299"/>
                    <a:pt x="883" y="299"/>
                    <a:pt x="883" y="299"/>
                  </a:cubicBezTo>
                  <a:cubicBezTo>
                    <a:pt x="901" y="282"/>
                    <a:pt x="901" y="253"/>
                    <a:pt x="883" y="236"/>
                  </a:cubicBezTo>
                  <a:cubicBezTo>
                    <a:pt x="828" y="184"/>
                    <a:pt x="828" y="184"/>
                    <a:pt x="828" y="184"/>
                  </a:cubicBezTo>
                  <a:cubicBezTo>
                    <a:pt x="635" y="0"/>
                    <a:pt x="635" y="0"/>
                    <a:pt x="635" y="0"/>
                  </a:cubicBezTo>
                  <a:cubicBezTo>
                    <a:pt x="635" y="0"/>
                    <a:pt x="635" y="0"/>
                    <a:pt x="635" y="0"/>
                  </a:cubicBezTo>
                  <a:cubicBezTo>
                    <a:pt x="635" y="0"/>
                    <a:pt x="635" y="0"/>
                    <a:pt x="635" y="0"/>
                  </a:cubicBezTo>
                  <a:cubicBezTo>
                    <a:pt x="177" y="0"/>
                    <a:pt x="177" y="0"/>
                    <a:pt x="177" y="0"/>
                  </a:cubicBezTo>
                  <a:cubicBezTo>
                    <a:pt x="0" y="534"/>
                    <a:pt x="0" y="534"/>
                    <a:pt x="0" y="534"/>
                  </a:cubicBezTo>
                  <a:cubicBezTo>
                    <a:pt x="635" y="534"/>
                    <a:pt x="635" y="534"/>
                    <a:pt x="635" y="534"/>
                  </a:cubicBezTo>
                </a:path>
              </a:pathLst>
            </a:custGeom>
            <a:solidFill>
              <a:schemeClr val="accent5">
                <a:alpha val="8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46" name="Freeform 205">
              <a:extLst>
                <a:ext uri="{FF2B5EF4-FFF2-40B4-BE49-F238E27FC236}">
                  <a16:creationId xmlns:a16="http://schemas.microsoft.com/office/drawing/2014/main" xmlns="" id="{20BE1725-D93E-421D-BE8B-A2857B359431}"/>
                </a:ext>
              </a:extLst>
            </p:cNvPr>
            <p:cNvSpPr>
              <a:spLocks/>
            </p:cNvSpPr>
            <p:nvPr/>
          </p:nvSpPr>
          <p:spPr bwMode="auto">
            <a:xfrm>
              <a:off x="6914430" y="4413364"/>
              <a:ext cx="949528" cy="735322"/>
            </a:xfrm>
            <a:custGeom>
              <a:avLst/>
              <a:gdLst>
                <a:gd name="T0" fmla="*/ 637 w 901"/>
                <a:gd name="T1" fmla="*/ 534 h 534"/>
                <a:gd name="T2" fmla="*/ 829 w 901"/>
                <a:gd name="T3" fmla="*/ 351 h 534"/>
                <a:gd name="T4" fmla="*/ 883 w 901"/>
                <a:gd name="T5" fmla="*/ 299 h 534"/>
                <a:gd name="T6" fmla="*/ 883 w 901"/>
                <a:gd name="T7" fmla="*/ 236 h 534"/>
                <a:gd name="T8" fmla="*/ 829 w 901"/>
                <a:gd name="T9" fmla="*/ 184 h 534"/>
                <a:gd name="T10" fmla="*/ 636 w 901"/>
                <a:gd name="T11" fmla="*/ 0 h 534"/>
                <a:gd name="T12" fmla="*/ 636 w 901"/>
                <a:gd name="T13" fmla="*/ 0 h 534"/>
                <a:gd name="T14" fmla="*/ 636 w 901"/>
                <a:gd name="T15" fmla="*/ 0 h 534"/>
                <a:gd name="T16" fmla="*/ 178 w 901"/>
                <a:gd name="T17" fmla="*/ 0 h 534"/>
                <a:gd name="T18" fmla="*/ 0 w 901"/>
                <a:gd name="T19" fmla="*/ 534 h 534"/>
                <a:gd name="T20" fmla="*/ 636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9" y="351"/>
                    <a:pt x="829" y="351"/>
                    <a:pt x="829" y="351"/>
                  </a:cubicBezTo>
                  <a:cubicBezTo>
                    <a:pt x="883" y="299"/>
                    <a:pt x="883" y="299"/>
                    <a:pt x="883" y="299"/>
                  </a:cubicBezTo>
                  <a:cubicBezTo>
                    <a:pt x="901" y="282"/>
                    <a:pt x="901" y="253"/>
                    <a:pt x="883" y="236"/>
                  </a:cubicBezTo>
                  <a:cubicBezTo>
                    <a:pt x="829" y="184"/>
                    <a:pt x="829" y="184"/>
                    <a:pt x="829" y="184"/>
                  </a:cubicBezTo>
                  <a:cubicBezTo>
                    <a:pt x="636" y="0"/>
                    <a:pt x="636" y="0"/>
                    <a:pt x="636" y="0"/>
                  </a:cubicBezTo>
                  <a:cubicBezTo>
                    <a:pt x="636" y="0"/>
                    <a:pt x="636" y="0"/>
                    <a:pt x="636" y="0"/>
                  </a:cubicBezTo>
                  <a:cubicBezTo>
                    <a:pt x="636" y="0"/>
                    <a:pt x="636" y="0"/>
                    <a:pt x="636" y="0"/>
                  </a:cubicBezTo>
                  <a:cubicBezTo>
                    <a:pt x="178" y="0"/>
                    <a:pt x="178" y="0"/>
                    <a:pt x="178" y="0"/>
                  </a:cubicBezTo>
                  <a:cubicBezTo>
                    <a:pt x="0" y="534"/>
                    <a:pt x="0" y="534"/>
                    <a:pt x="0" y="534"/>
                  </a:cubicBezTo>
                  <a:cubicBezTo>
                    <a:pt x="636" y="534"/>
                    <a:pt x="636" y="534"/>
                    <a:pt x="636" y="534"/>
                  </a:cubicBezTo>
                </a:path>
              </a:pathLst>
            </a:custGeom>
            <a:solidFill>
              <a:schemeClr val="accent4">
                <a:alpha val="8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44" name="Freeform 206">
              <a:extLst>
                <a:ext uri="{FF2B5EF4-FFF2-40B4-BE49-F238E27FC236}">
                  <a16:creationId xmlns:a16="http://schemas.microsoft.com/office/drawing/2014/main" xmlns="" id="{ABD1B43C-DC0E-4C07-8BE9-498DF93B9E9A}"/>
                </a:ext>
              </a:extLst>
            </p:cNvPr>
            <p:cNvSpPr>
              <a:spLocks/>
            </p:cNvSpPr>
            <p:nvPr/>
          </p:nvSpPr>
          <p:spPr bwMode="auto">
            <a:xfrm>
              <a:off x="7199830" y="3648103"/>
              <a:ext cx="949528" cy="765853"/>
            </a:xfrm>
            <a:custGeom>
              <a:avLst/>
              <a:gdLst>
                <a:gd name="T0" fmla="*/ 637 w 901"/>
                <a:gd name="T1" fmla="*/ 533 h 533"/>
                <a:gd name="T2" fmla="*/ 828 w 901"/>
                <a:gd name="T3" fmla="*/ 351 h 533"/>
                <a:gd name="T4" fmla="*/ 883 w 901"/>
                <a:gd name="T5" fmla="*/ 299 h 533"/>
                <a:gd name="T6" fmla="*/ 883 w 901"/>
                <a:gd name="T7" fmla="*/ 236 h 533"/>
                <a:gd name="T8" fmla="*/ 828 w 901"/>
                <a:gd name="T9" fmla="*/ 184 h 533"/>
                <a:gd name="T10" fmla="*/ 636 w 901"/>
                <a:gd name="T11" fmla="*/ 0 h 533"/>
                <a:gd name="T12" fmla="*/ 636 w 901"/>
                <a:gd name="T13" fmla="*/ 0 h 533"/>
                <a:gd name="T14" fmla="*/ 636 w 901"/>
                <a:gd name="T15" fmla="*/ 0 h 533"/>
                <a:gd name="T16" fmla="*/ 178 w 901"/>
                <a:gd name="T17" fmla="*/ 0 h 533"/>
                <a:gd name="T18" fmla="*/ 0 w 901"/>
                <a:gd name="T19" fmla="*/ 533 h 533"/>
                <a:gd name="T20" fmla="*/ 636 w 901"/>
                <a:gd name="T21"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3">
                  <a:moveTo>
                    <a:pt x="637" y="533"/>
                  </a:moveTo>
                  <a:cubicBezTo>
                    <a:pt x="828" y="351"/>
                    <a:pt x="828" y="351"/>
                    <a:pt x="828" y="351"/>
                  </a:cubicBezTo>
                  <a:cubicBezTo>
                    <a:pt x="883" y="299"/>
                    <a:pt x="883" y="299"/>
                    <a:pt x="883" y="299"/>
                  </a:cubicBezTo>
                  <a:cubicBezTo>
                    <a:pt x="901" y="282"/>
                    <a:pt x="901" y="253"/>
                    <a:pt x="883" y="236"/>
                  </a:cubicBezTo>
                  <a:cubicBezTo>
                    <a:pt x="828" y="184"/>
                    <a:pt x="828" y="184"/>
                    <a:pt x="828" y="184"/>
                  </a:cubicBezTo>
                  <a:cubicBezTo>
                    <a:pt x="636" y="0"/>
                    <a:pt x="636" y="0"/>
                    <a:pt x="636" y="0"/>
                  </a:cubicBezTo>
                  <a:cubicBezTo>
                    <a:pt x="636" y="0"/>
                    <a:pt x="636" y="0"/>
                    <a:pt x="636" y="0"/>
                  </a:cubicBezTo>
                  <a:cubicBezTo>
                    <a:pt x="636" y="0"/>
                    <a:pt x="636" y="0"/>
                    <a:pt x="636" y="0"/>
                  </a:cubicBezTo>
                  <a:cubicBezTo>
                    <a:pt x="178" y="0"/>
                    <a:pt x="178" y="0"/>
                    <a:pt x="178" y="0"/>
                  </a:cubicBezTo>
                  <a:cubicBezTo>
                    <a:pt x="0" y="533"/>
                    <a:pt x="0" y="533"/>
                    <a:pt x="0" y="533"/>
                  </a:cubicBezTo>
                  <a:cubicBezTo>
                    <a:pt x="636" y="533"/>
                    <a:pt x="636" y="533"/>
                    <a:pt x="636" y="533"/>
                  </a:cubicBezTo>
                </a:path>
              </a:pathLst>
            </a:custGeom>
            <a:solidFill>
              <a:schemeClr val="accent3">
                <a:alpha val="8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43" name="Freeform 207">
              <a:extLst>
                <a:ext uri="{FF2B5EF4-FFF2-40B4-BE49-F238E27FC236}">
                  <a16:creationId xmlns:a16="http://schemas.microsoft.com/office/drawing/2014/main" xmlns="" id="{FEADC6D7-5FA7-4D74-8CFB-59FC3DDA8572}"/>
                </a:ext>
              </a:extLst>
            </p:cNvPr>
            <p:cNvSpPr>
              <a:spLocks/>
            </p:cNvSpPr>
            <p:nvPr/>
          </p:nvSpPr>
          <p:spPr bwMode="auto">
            <a:xfrm>
              <a:off x="7496627" y="2913270"/>
              <a:ext cx="949528" cy="733714"/>
            </a:xfrm>
            <a:custGeom>
              <a:avLst/>
              <a:gdLst>
                <a:gd name="T0" fmla="*/ 637 w 901"/>
                <a:gd name="T1" fmla="*/ 533 h 533"/>
                <a:gd name="T2" fmla="*/ 828 w 901"/>
                <a:gd name="T3" fmla="*/ 351 h 533"/>
                <a:gd name="T4" fmla="*/ 883 w 901"/>
                <a:gd name="T5" fmla="*/ 298 h 533"/>
                <a:gd name="T6" fmla="*/ 883 w 901"/>
                <a:gd name="T7" fmla="*/ 236 h 533"/>
                <a:gd name="T8" fmla="*/ 828 w 901"/>
                <a:gd name="T9" fmla="*/ 183 h 533"/>
                <a:gd name="T10" fmla="*/ 635 w 901"/>
                <a:gd name="T11" fmla="*/ 0 h 533"/>
                <a:gd name="T12" fmla="*/ 635 w 901"/>
                <a:gd name="T13" fmla="*/ 0 h 533"/>
                <a:gd name="T14" fmla="*/ 635 w 901"/>
                <a:gd name="T15" fmla="*/ 0 h 533"/>
                <a:gd name="T16" fmla="*/ 178 w 901"/>
                <a:gd name="T17" fmla="*/ 0 h 533"/>
                <a:gd name="T18" fmla="*/ 0 w 901"/>
                <a:gd name="T19" fmla="*/ 533 h 533"/>
                <a:gd name="T20" fmla="*/ 635 w 901"/>
                <a:gd name="T21" fmla="*/ 533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3">
                  <a:moveTo>
                    <a:pt x="637" y="533"/>
                  </a:moveTo>
                  <a:cubicBezTo>
                    <a:pt x="828" y="351"/>
                    <a:pt x="828" y="351"/>
                    <a:pt x="828" y="351"/>
                  </a:cubicBezTo>
                  <a:cubicBezTo>
                    <a:pt x="883" y="298"/>
                    <a:pt x="883" y="298"/>
                    <a:pt x="883" y="298"/>
                  </a:cubicBezTo>
                  <a:cubicBezTo>
                    <a:pt x="901" y="281"/>
                    <a:pt x="901" y="253"/>
                    <a:pt x="883" y="236"/>
                  </a:cubicBezTo>
                  <a:cubicBezTo>
                    <a:pt x="828" y="183"/>
                    <a:pt x="828" y="183"/>
                    <a:pt x="828" y="183"/>
                  </a:cubicBezTo>
                  <a:cubicBezTo>
                    <a:pt x="635" y="0"/>
                    <a:pt x="635" y="0"/>
                    <a:pt x="635" y="0"/>
                  </a:cubicBezTo>
                  <a:cubicBezTo>
                    <a:pt x="635" y="0"/>
                    <a:pt x="635" y="0"/>
                    <a:pt x="635" y="0"/>
                  </a:cubicBezTo>
                  <a:cubicBezTo>
                    <a:pt x="635" y="0"/>
                    <a:pt x="635" y="0"/>
                    <a:pt x="635" y="0"/>
                  </a:cubicBezTo>
                  <a:cubicBezTo>
                    <a:pt x="178" y="0"/>
                    <a:pt x="178" y="0"/>
                    <a:pt x="178" y="0"/>
                  </a:cubicBezTo>
                  <a:cubicBezTo>
                    <a:pt x="0" y="533"/>
                    <a:pt x="0" y="533"/>
                    <a:pt x="0" y="533"/>
                  </a:cubicBezTo>
                  <a:cubicBezTo>
                    <a:pt x="635" y="533"/>
                    <a:pt x="635" y="533"/>
                    <a:pt x="635" y="533"/>
                  </a:cubicBezTo>
                </a:path>
              </a:pathLst>
            </a:custGeom>
            <a:solidFill>
              <a:schemeClr val="accent2">
                <a:alpha val="8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28" name="Freeform 208">
              <a:extLst>
                <a:ext uri="{FF2B5EF4-FFF2-40B4-BE49-F238E27FC236}">
                  <a16:creationId xmlns:a16="http://schemas.microsoft.com/office/drawing/2014/main" xmlns="" id="{6FA5178F-0C8E-4CB5-B666-76893F29EC08}"/>
                </a:ext>
              </a:extLst>
            </p:cNvPr>
            <p:cNvSpPr>
              <a:spLocks/>
            </p:cNvSpPr>
            <p:nvPr/>
          </p:nvSpPr>
          <p:spPr bwMode="auto">
            <a:xfrm>
              <a:off x="7757384" y="2178540"/>
              <a:ext cx="949528" cy="736348"/>
            </a:xfrm>
            <a:custGeom>
              <a:avLst/>
              <a:gdLst>
                <a:gd name="T0" fmla="*/ 637 w 901"/>
                <a:gd name="T1" fmla="*/ 534 h 534"/>
                <a:gd name="T2" fmla="*/ 828 w 901"/>
                <a:gd name="T3" fmla="*/ 351 h 534"/>
                <a:gd name="T4" fmla="*/ 883 w 901"/>
                <a:gd name="T5" fmla="*/ 298 h 534"/>
                <a:gd name="T6" fmla="*/ 883 w 901"/>
                <a:gd name="T7" fmla="*/ 237 h 534"/>
                <a:gd name="T8" fmla="*/ 828 w 901"/>
                <a:gd name="T9" fmla="*/ 184 h 534"/>
                <a:gd name="T10" fmla="*/ 635 w 901"/>
                <a:gd name="T11" fmla="*/ 0 h 534"/>
                <a:gd name="T12" fmla="*/ 635 w 901"/>
                <a:gd name="T13" fmla="*/ 0 h 534"/>
                <a:gd name="T14" fmla="*/ 635 w 901"/>
                <a:gd name="T15" fmla="*/ 0 h 534"/>
                <a:gd name="T16" fmla="*/ 177 w 901"/>
                <a:gd name="T17" fmla="*/ 0 h 534"/>
                <a:gd name="T18" fmla="*/ 0 w 901"/>
                <a:gd name="T19" fmla="*/ 534 h 534"/>
                <a:gd name="T20" fmla="*/ 635 w 901"/>
                <a:gd name="T21" fmla="*/ 53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1" h="534">
                  <a:moveTo>
                    <a:pt x="637" y="534"/>
                  </a:moveTo>
                  <a:cubicBezTo>
                    <a:pt x="828" y="351"/>
                    <a:pt x="828" y="351"/>
                    <a:pt x="828" y="351"/>
                  </a:cubicBezTo>
                  <a:cubicBezTo>
                    <a:pt x="883" y="298"/>
                    <a:pt x="883" y="298"/>
                    <a:pt x="883" y="298"/>
                  </a:cubicBezTo>
                  <a:cubicBezTo>
                    <a:pt x="901" y="282"/>
                    <a:pt x="901" y="254"/>
                    <a:pt x="883" y="237"/>
                  </a:cubicBezTo>
                  <a:cubicBezTo>
                    <a:pt x="828" y="184"/>
                    <a:pt x="828" y="184"/>
                    <a:pt x="828" y="184"/>
                  </a:cubicBezTo>
                  <a:cubicBezTo>
                    <a:pt x="635" y="0"/>
                    <a:pt x="635" y="0"/>
                    <a:pt x="635" y="0"/>
                  </a:cubicBezTo>
                  <a:cubicBezTo>
                    <a:pt x="635" y="0"/>
                    <a:pt x="635" y="0"/>
                    <a:pt x="635" y="0"/>
                  </a:cubicBezTo>
                  <a:cubicBezTo>
                    <a:pt x="635" y="0"/>
                    <a:pt x="635" y="0"/>
                    <a:pt x="635" y="0"/>
                  </a:cubicBezTo>
                  <a:cubicBezTo>
                    <a:pt x="177" y="0"/>
                    <a:pt x="177" y="0"/>
                    <a:pt x="177" y="0"/>
                  </a:cubicBezTo>
                  <a:cubicBezTo>
                    <a:pt x="0" y="534"/>
                    <a:pt x="0" y="534"/>
                    <a:pt x="0" y="534"/>
                  </a:cubicBezTo>
                  <a:cubicBezTo>
                    <a:pt x="635" y="534"/>
                    <a:pt x="635" y="534"/>
                    <a:pt x="635" y="534"/>
                  </a:cubicBezTo>
                </a:path>
              </a:pathLst>
            </a:custGeom>
            <a:solidFill>
              <a:schemeClr val="accent1">
                <a:alpha val="80000"/>
              </a:schemeClr>
            </a:solidFill>
            <a:ln>
              <a:noFill/>
            </a:ln>
            <a:effectLst/>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29" name="Freeform 47">
              <a:extLst>
                <a:ext uri="{FF2B5EF4-FFF2-40B4-BE49-F238E27FC236}">
                  <a16:creationId xmlns:a16="http://schemas.microsoft.com/office/drawing/2014/main" xmlns="" id="{78E8822D-ADF7-411C-BC12-35DC8E5F0A1A}"/>
                </a:ext>
              </a:extLst>
            </p:cNvPr>
            <p:cNvSpPr>
              <a:spLocks/>
            </p:cNvSpPr>
            <p:nvPr/>
          </p:nvSpPr>
          <p:spPr bwMode="auto">
            <a:xfrm>
              <a:off x="3366279" y="3117113"/>
              <a:ext cx="4373185" cy="737993"/>
            </a:xfrm>
            <a:custGeom>
              <a:avLst/>
              <a:gdLst>
                <a:gd name="connsiteX0" fmla="*/ 0 w 10788489"/>
                <a:gd name="connsiteY0" fmla="*/ 0 h 1967470"/>
                <a:gd name="connsiteX1" fmla="*/ 3767592 w 10788489"/>
                <a:gd name="connsiteY1" fmla="*/ 0 h 1967470"/>
                <a:gd name="connsiteX2" fmla="*/ 3767592 w 10788489"/>
                <a:gd name="connsiteY2" fmla="*/ 16 h 1967470"/>
                <a:gd name="connsiteX3" fmla="*/ 10788489 w 10788489"/>
                <a:gd name="connsiteY3" fmla="*/ 16 h 1967470"/>
                <a:gd name="connsiteX4" fmla="*/ 10084164 w 10788489"/>
                <a:gd name="connsiteY4" fmla="*/ 1967470 h 1967470"/>
                <a:gd name="connsiteX5" fmla="*/ 3767592 w 10788489"/>
                <a:gd name="connsiteY5" fmla="*/ 1967470 h 1967470"/>
                <a:gd name="connsiteX6" fmla="*/ 3767592 w 10788489"/>
                <a:gd name="connsiteY6" fmla="*/ 1963298 h 1967470"/>
                <a:gd name="connsiteX7" fmla="*/ 0 w 10788489"/>
                <a:gd name="connsiteY7" fmla="*/ 1963298 h 1967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88489" h="1967470">
                  <a:moveTo>
                    <a:pt x="0" y="0"/>
                  </a:moveTo>
                  <a:lnTo>
                    <a:pt x="3767592" y="0"/>
                  </a:lnTo>
                  <a:lnTo>
                    <a:pt x="3767592" y="16"/>
                  </a:lnTo>
                  <a:lnTo>
                    <a:pt x="10788489" y="16"/>
                  </a:lnTo>
                  <a:lnTo>
                    <a:pt x="10084164" y="1967470"/>
                  </a:lnTo>
                  <a:lnTo>
                    <a:pt x="3767592" y="1967470"/>
                  </a:lnTo>
                  <a:lnTo>
                    <a:pt x="3767592" y="1963298"/>
                  </a:lnTo>
                  <a:lnTo>
                    <a:pt x="0" y="196329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endParaRPr lang="en-GB" sz="2700" dirty="0">
                <a:latin typeface="+mj-lt"/>
              </a:endParaRPr>
            </a:p>
          </p:txBody>
        </p:sp>
        <p:sp>
          <p:nvSpPr>
            <p:cNvPr id="45" name="Freeform 200">
              <a:extLst>
                <a:ext uri="{FF2B5EF4-FFF2-40B4-BE49-F238E27FC236}">
                  <a16:creationId xmlns:a16="http://schemas.microsoft.com/office/drawing/2014/main" xmlns="" id="{9C0B11E5-9F61-4F73-A747-C4450B486B73}"/>
                </a:ext>
              </a:extLst>
            </p:cNvPr>
            <p:cNvSpPr>
              <a:spLocks/>
            </p:cNvSpPr>
            <p:nvPr/>
          </p:nvSpPr>
          <p:spPr bwMode="auto">
            <a:xfrm>
              <a:off x="4779493" y="4594409"/>
              <a:ext cx="2368260" cy="740624"/>
            </a:xfrm>
            <a:custGeom>
              <a:avLst/>
              <a:gdLst>
                <a:gd name="T0" fmla="*/ 1506 w 1506"/>
                <a:gd name="T1" fmla="*/ 0 h 561"/>
                <a:gd name="T2" fmla="*/ 0 w 1506"/>
                <a:gd name="T3" fmla="*/ 0 h 561"/>
                <a:gd name="T4" fmla="*/ 0 w 1506"/>
                <a:gd name="T5" fmla="*/ 561 h 561"/>
                <a:gd name="T6" fmla="*/ 1318 w 1506"/>
                <a:gd name="T7" fmla="*/ 561 h 561"/>
                <a:gd name="T8" fmla="*/ 1506 w 1506"/>
                <a:gd name="T9" fmla="*/ 0 h 561"/>
              </a:gdLst>
              <a:ahLst/>
              <a:cxnLst>
                <a:cxn ang="0">
                  <a:pos x="T0" y="T1"/>
                </a:cxn>
                <a:cxn ang="0">
                  <a:pos x="T2" y="T3"/>
                </a:cxn>
                <a:cxn ang="0">
                  <a:pos x="T4" y="T5"/>
                </a:cxn>
                <a:cxn ang="0">
                  <a:pos x="T6" y="T7"/>
                </a:cxn>
                <a:cxn ang="0">
                  <a:pos x="T8" y="T9"/>
                </a:cxn>
              </a:cxnLst>
              <a:rect l="0" t="0" r="r" b="b"/>
              <a:pathLst>
                <a:path w="1506" h="561">
                  <a:moveTo>
                    <a:pt x="1506" y="0"/>
                  </a:moveTo>
                  <a:lnTo>
                    <a:pt x="0" y="0"/>
                  </a:lnTo>
                  <a:lnTo>
                    <a:pt x="0" y="561"/>
                  </a:lnTo>
                  <a:lnTo>
                    <a:pt x="1318" y="561"/>
                  </a:lnTo>
                  <a:lnTo>
                    <a:pt x="1506" y="0"/>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47" name="Freeform 43">
              <a:extLst>
                <a:ext uri="{FF2B5EF4-FFF2-40B4-BE49-F238E27FC236}">
                  <a16:creationId xmlns:a16="http://schemas.microsoft.com/office/drawing/2014/main" xmlns="" id="{B8C4197C-ABF0-4FEC-BE59-6E916F1F6893}"/>
                </a:ext>
              </a:extLst>
            </p:cNvPr>
            <p:cNvSpPr>
              <a:spLocks/>
            </p:cNvSpPr>
            <p:nvPr/>
          </p:nvSpPr>
          <p:spPr bwMode="auto">
            <a:xfrm>
              <a:off x="3366279" y="5333060"/>
              <a:ext cx="3480415" cy="731120"/>
            </a:xfrm>
            <a:custGeom>
              <a:avLst/>
              <a:gdLst>
                <a:gd name="connsiteX0" fmla="*/ 0 w 8679240"/>
                <a:gd name="connsiteY0" fmla="*/ 0 h 1949145"/>
                <a:gd name="connsiteX1" fmla="*/ 3767592 w 8679240"/>
                <a:gd name="connsiteY1" fmla="*/ 0 h 1949145"/>
                <a:gd name="connsiteX2" fmla="*/ 3767592 w 8679240"/>
                <a:gd name="connsiteY2" fmla="*/ 1758 h 1949145"/>
                <a:gd name="connsiteX3" fmla="*/ 8679240 w 8679240"/>
                <a:gd name="connsiteY3" fmla="*/ 1758 h 1949145"/>
                <a:gd name="connsiteX4" fmla="*/ 7978641 w 8679240"/>
                <a:gd name="connsiteY4" fmla="*/ 1944625 h 1949145"/>
                <a:gd name="connsiteX5" fmla="*/ 3767592 w 8679240"/>
                <a:gd name="connsiteY5" fmla="*/ 1944625 h 1949145"/>
                <a:gd name="connsiteX6" fmla="*/ 3767592 w 8679240"/>
                <a:gd name="connsiteY6" fmla="*/ 1949145 h 1949145"/>
                <a:gd name="connsiteX7" fmla="*/ 0 w 8679240"/>
                <a:gd name="connsiteY7" fmla="*/ 1949145 h 194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79240" h="1949145">
                  <a:moveTo>
                    <a:pt x="0" y="0"/>
                  </a:moveTo>
                  <a:lnTo>
                    <a:pt x="3767592" y="0"/>
                  </a:lnTo>
                  <a:lnTo>
                    <a:pt x="3767592" y="1758"/>
                  </a:lnTo>
                  <a:lnTo>
                    <a:pt x="8679240" y="1758"/>
                  </a:lnTo>
                  <a:lnTo>
                    <a:pt x="7978641" y="1944625"/>
                  </a:lnTo>
                  <a:lnTo>
                    <a:pt x="3767592" y="1944625"/>
                  </a:lnTo>
                  <a:lnTo>
                    <a:pt x="3767592" y="1949145"/>
                  </a:lnTo>
                  <a:lnTo>
                    <a:pt x="0" y="1949145"/>
                  </a:lnTo>
                  <a:close/>
                </a:path>
              </a:pathLst>
            </a:custGeom>
            <a:solidFill>
              <a:schemeClr val="accent5"/>
            </a:solidFill>
            <a:ln>
              <a:noFill/>
            </a:ln>
          </p:spPr>
          <p:txBody>
            <a:bodyPr vert="horz" wrap="square" lIns="68580" tIns="34290" rIns="68580" bIns="34290" numCol="1" anchor="t" anchorCtr="0" compatLnSpc="1">
              <a:prstTxWarp prst="textNoShape">
                <a:avLst/>
              </a:prstTxWarp>
              <a:noAutofit/>
            </a:bodyPr>
            <a:lstStyle/>
            <a:p>
              <a:endParaRPr lang="en-GB" sz="2700" dirty="0">
                <a:latin typeface="+mj-lt"/>
              </a:endParaRPr>
            </a:p>
          </p:txBody>
        </p:sp>
        <p:sp>
          <p:nvSpPr>
            <p:cNvPr id="49" name="Freeform 45">
              <a:extLst>
                <a:ext uri="{FF2B5EF4-FFF2-40B4-BE49-F238E27FC236}">
                  <a16:creationId xmlns:a16="http://schemas.microsoft.com/office/drawing/2014/main" xmlns="" id="{C7AB40FC-AE1F-4407-882A-A79A62E8F8C1}"/>
                </a:ext>
              </a:extLst>
            </p:cNvPr>
            <p:cNvSpPr/>
            <p:nvPr/>
          </p:nvSpPr>
          <p:spPr>
            <a:xfrm>
              <a:off x="3366278" y="2376489"/>
              <a:ext cx="4643102" cy="740629"/>
            </a:xfrm>
            <a:custGeom>
              <a:avLst/>
              <a:gdLst>
                <a:gd name="connsiteX0" fmla="*/ 0 w 11489088"/>
                <a:gd name="connsiteY0" fmla="*/ 0 h 1974496"/>
                <a:gd name="connsiteX1" fmla="*/ 3767592 w 11489088"/>
                <a:gd name="connsiteY1" fmla="*/ 0 h 1974496"/>
                <a:gd name="connsiteX2" fmla="*/ 3767592 w 11489088"/>
                <a:gd name="connsiteY2" fmla="*/ 16 h 1974496"/>
                <a:gd name="connsiteX3" fmla="*/ 11489088 w 11489088"/>
                <a:gd name="connsiteY3" fmla="*/ 16 h 1974496"/>
                <a:gd name="connsiteX4" fmla="*/ 10788489 w 11489088"/>
                <a:gd name="connsiteY4" fmla="*/ 1974496 h 1974496"/>
                <a:gd name="connsiteX5" fmla="*/ 3767592 w 11489088"/>
                <a:gd name="connsiteY5" fmla="*/ 1974496 h 1974496"/>
                <a:gd name="connsiteX6" fmla="*/ 3767592 w 11489088"/>
                <a:gd name="connsiteY6" fmla="*/ 1974480 h 1974496"/>
                <a:gd name="connsiteX7" fmla="*/ 0 w 11489088"/>
                <a:gd name="connsiteY7" fmla="*/ 1974480 h 1974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489088" h="1974496">
                  <a:moveTo>
                    <a:pt x="0" y="0"/>
                  </a:moveTo>
                  <a:lnTo>
                    <a:pt x="3767592" y="0"/>
                  </a:lnTo>
                  <a:lnTo>
                    <a:pt x="3767592" y="16"/>
                  </a:lnTo>
                  <a:lnTo>
                    <a:pt x="11489088" y="16"/>
                  </a:lnTo>
                  <a:lnTo>
                    <a:pt x="10788489" y="1974496"/>
                  </a:lnTo>
                  <a:lnTo>
                    <a:pt x="3767592" y="1974496"/>
                  </a:lnTo>
                  <a:lnTo>
                    <a:pt x="3767592" y="1974480"/>
                  </a:lnTo>
                  <a:lnTo>
                    <a:pt x="0" y="197448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0" name="Freeform 48">
              <a:extLst>
                <a:ext uri="{FF2B5EF4-FFF2-40B4-BE49-F238E27FC236}">
                  <a16:creationId xmlns:a16="http://schemas.microsoft.com/office/drawing/2014/main" xmlns="" id="{B1113435-6C16-4512-AB34-0F697D940B14}"/>
                </a:ext>
              </a:extLst>
            </p:cNvPr>
            <p:cNvSpPr/>
            <p:nvPr/>
          </p:nvSpPr>
          <p:spPr>
            <a:xfrm>
              <a:off x="3366277" y="3854446"/>
              <a:ext cx="4078293" cy="740623"/>
            </a:xfrm>
            <a:custGeom>
              <a:avLst/>
              <a:gdLst>
                <a:gd name="connsiteX0" fmla="*/ 0 w 10084163"/>
                <a:gd name="connsiteY0" fmla="*/ 0 h 1974480"/>
                <a:gd name="connsiteX1" fmla="*/ 3767592 w 10084163"/>
                <a:gd name="connsiteY1" fmla="*/ 0 h 1974480"/>
                <a:gd name="connsiteX2" fmla="*/ 3767592 w 10084163"/>
                <a:gd name="connsiteY2" fmla="*/ 1757 h 1974480"/>
                <a:gd name="connsiteX3" fmla="*/ 10084163 w 10084163"/>
                <a:gd name="connsiteY3" fmla="*/ 1757 h 1974480"/>
                <a:gd name="connsiteX4" fmla="*/ 9379838 w 10084163"/>
                <a:gd name="connsiteY4" fmla="*/ 1972722 h 1974480"/>
                <a:gd name="connsiteX5" fmla="*/ 3767592 w 10084163"/>
                <a:gd name="connsiteY5" fmla="*/ 1972722 h 1974480"/>
                <a:gd name="connsiteX6" fmla="*/ 3767592 w 10084163"/>
                <a:gd name="connsiteY6" fmla="*/ 1974480 h 1974480"/>
                <a:gd name="connsiteX7" fmla="*/ 0 w 10084163"/>
                <a:gd name="connsiteY7" fmla="*/ 1974480 h 197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84163" h="1974480">
                  <a:moveTo>
                    <a:pt x="0" y="0"/>
                  </a:moveTo>
                  <a:lnTo>
                    <a:pt x="3767592" y="0"/>
                  </a:lnTo>
                  <a:lnTo>
                    <a:pt x="3767592" y="1757"/>
                  </a:lnTo>
                  <a:lnTo>
                    <a:pt x="10084163" y="1757"/>
                  </a:lnTo>
                  <a:lnTo>
                    <a:pt x="9379838" y="1972722"/>
                  </a:lnTo>
                  <a:lnTo>
                    <a:pt x="3767592" y="1972722"/>
                  </a:lnTo>
                  <a:lnTo>
                    <a:pt x="3767592" y="1974480"/>
                  </a:lnTo>
                  <a:lnTo>
                    <a:pt x="0" y="197448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1" name="Rectangle 36">
              <a:extLst>
                <a:ext uri="{FF2B5EF4-FFF2-40B4-BE49-F238E27FC236}">
                  <a16:creationId xmlns:a16="http://schemas.microsoft.com/office/drawing/2014/main" xmlns="" id="{65AFA488-DA52-436B-8138-A443D2BC7F28}"/>
                </a:ext>
              </a:extLst>
            </p:cNvPr>
            <p:cNvSpPr/>
            <p:nvPr/>
          </p:nvSpPr>
          <p:spPr>
            <a:xfrm>
              <a:off x="3366279" y="4594823"/>
              <a:ext cx="1413215" cy="73930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52" name="TextBox 51">
              <a:extLst>
                <a:ext uri="{FF2B5EF4-FFF2-40B4-BE49-F238E27FC236}">
                  <a16:creationId xmlns:a16="http://schemas.microsoft.com/office/drawing/2014/main" xmlns="" id="{F22B4880-035C-4F6A-8524-7D5B95A875F0}"/>
                </a:ext>
              </a:extLst>
            </p:cNvPr>
            <p:cNvSpPr txBox="1"/>
            <p:nvPr/>
          </p:nvSpPr>
          <p:spPr>
            <a:xfrm>
              <a:off x="6982693" y="5179216"/>
              <a:ext cx="301059" cy="553351"/>
            </a:xfrm>
            <a:prstGeom prst="rect">
              <a:avLst/>
            </a:prstGeom>
            <a:noFill/>
          </p:spPr>
          <p:txBody>
            <a:bodyPr wrap="none" rtlCol="0" anchor="ctr">
              <a:spAutoFit/>
            </a:bodyPr>
            <a:lstStyle/>
            <a:p>
              <a:pPr algn="ctr"/>
              <a:r>
                <a:rPr lang="en-GB" sz="3301" b="1" spc="450" dirty="0">
                  <a:solidFill>
                    <a:schemeClr val="bg1"/>
                  </a:solidFill>
                  <a:latin typeface="+mj-lt"/>
                </a:rPr>
                <a:t>5</a:t>
              </a:r>
            </a:p>
          </p:txBody>
        </p:sp>
        <p:sp>
          <p:nvSpPr>
            <p:cNvPr id="53" name="TextBox 52">
              <a:extLst>
                <a:ext uri="{FF2B5EF4-FFF2-40B4-BE49-F238E27FC236}">
                  <a16:creationId xmlns:a16="http://schemas.microsoft.com/office/drawing/2014/main" xmlns="" id="{0E50E75C-F29F-4C45-A222-032ECA37A1B3}"/>
                </a:ext>
              </a:extLst>
            </p:cNvPr>
            <p:cNvSpPr txBox="1"/>
            <p:nvPr/>
          </p:nvSpPr>
          <p:spPr>
            <a:xfrm>
              <a:off x="8081618" y="2222673"/>
              <a:ext cx="301059" cy="553351"/>
            </a:xfrm>
            <a:prstGeom prst="rect">
              <a:avLst/>
            </a:prstGeom>
            <a:noFill/>
          </p:spPr>
          <p:txBody>
            <a:bodyPr wrap="none" rtlCol="0" anchor="ctr">
              <a:spAutoFit/>
            </a:bodyPr>
            <a:lstStyle/>
            <a:p>
              <a:pPr algn="ctr"/>
              <a:r>
                <a:rPr lang="en-GB" sz="3301" b="1" spc="450" dirty="0">
                  <a:solidFill>
                    <a:schemeClr val="bg1"/>
                  </a:solidFill>
                  <a:latin typeface="+mj-lt"/>
                </a:rPr>
                <a:t>1</a:t>
              </a:r>
            </a:p>
          </p:txBody>
        </p:sp>
        <p:sp>
          <p:nvSpPr>
            <p:cNvPr id="54" name="TextBox 53">
              <a:extLst>
                <a:ext uri="{FF2B5EF4-FFF2-40B4-BE49-F238E27FC236}">
                  <a16:creationId xmlns:a16="http://schemas.microsoft.com/office/drawing/2014/main" xmlns="" id="{257673D4-EA0B-4929-87FA-F526D44EFC1A}"/>
                </a:ext>
              </a:extLst>
            </p:cNvPr>
            <p:cNvSpPr txBox="1"/>
            <p:nvPr/>
          </p:nvSpPr>
          <p:spPr>
            <a:xfrm>
              <a:off x="7824026" y="2965878"/>
              <a:ext cx="301059" cy="553351"/>
            </a:xfrm>
            <a:prstGeom prst="rect">
              <a:avLst/>
            </a:prstGeom>
            <a:noFill/>
          </p:spPr>
          <p:txBody>
            <a:bodyPr wrap="none" rtlCol="0" anchor="ctr">
              <a:spAutoFit/>
            </a:bodyPr>
            <a:lstStyle/>
            <a:p>
              <a:pPr algn="ctr"/>
              <a:r>
                <a:rPr lang="en-GB" sz="3301" b="1" spc="450" dirty="0">
                  <a:solidFill>
                    <a:schemeClr val="bg1"/>
                  </a:solidFill>
                  <a:latin typeface="+mj-lt"/>
                </a:rPr>
                <a:t>2</a:t>
              </a:r>
            </a:p>
          </p:txBody>
        </p:sp>
        <p:sp>
          <p:nvSpPr>
            <p:cNvPr id="55" name="TextBox 54">
              <a:extLst>
                <a:ext uri="{FF2B5EF4-FFF2-40B4-BE49-F238E27FC236}">
                  <a16:creationId xmlns:a16="http://schemas.microsoft.com/office/drawing/2014/main" xmlns="" id="{F68EE43C-5DFE-4B40-A884-07ADA587AC84}"/>
                </a:ext>
              </a:extLst>
            </p:cNvPr>
            <p:cNvSpPr txBox="1"/>
            <p:nvPr/>
          </p:nvSpPr>
          <p:spPr>
            <a:xfrm>
              <a:off x="7522967" y="3684171"/>
              <a:ext cx="301059" cy="553351"/>
            </a:xfrm>
            <a:prstGeom prst="rect">
              <a:avLst/>
            </a:prstGeom>
            <a:noFill/>
          </p:spPr>
          <p:txBody>
            <a:bodyPr wrap="none" rtlCol="0" anchor="ctr">
              <a:spAutoFit/>
            </a:bodyPr>
            <a:lstStyle/>
            <a:p>
              <a:pPr algn="ctr"/>
              <a:r>
                <a:rPr lang="en-GB" sz="3301" b="1" spc="450" dirty="0">
                  <a:solidFill>
                    <a:schemeClr val="bg1"/>
                  </a:solidFill>
                  <a:latin typeface="+mj-lt"/>
                </a:rPr>
                <a:t>3</a:t>
              </a:r>
            </a:p>
          </p:txBody>
        </p:sp>
        <p:sp>
          <p:nvSpPr>
            <p:cNvPr id="56" name="TextBox 55">
              <a:extLst>
                <a:ext uri="{FF2B5EF4-FFF2-40B4-BE49-F238E27FC236}">
                  <a16:creationId xmlns:a16="http://schemas.microsoft.com/office/drawing/2014/main" xmlns="" id="{EC9605CA-DE70-4EB0-9E1C-BC8C81B91FCE}"/>
                </a:ext>
              </a:extLst>
            </p:cNvPr>
            <p:cNvSpPr txBox="1"/>
            <p:nvPr/>
          </p:nvSpPr>
          <p:spPr>
            <a:xfrm>
              <a:off x="7221908" y="4483942"/>
              <a:ext cx="301059" cy="553351"/>
            </a:xfrm>
            <a:prstGeom prst="rect">
              <a:avLst/>
            </a:prstGeom>
            <a:noFill/>
          </p:spPr>
          <p:txBody>
            <a:bodyPr wrap="none" rtlCol="0" anchor="ctr">
              <a:spAutoFit/>
            </a:bodyPr>
            <a:lstStyle/>
            <a:p>
              <a:pPr algn="ctr"/>
              <a:r>
                <a:rPr lang="en-GB" sz="3301" b="1" spc="450" dirty="0">
                  <a:solidFill>
                    <a:schemeClr val="bg1"/>
                  </a:solidFill>
                  <a:latin typeface="+mj-lt"/>
                </a:rPr>
                <a:t>4</a:t>
              </a:r>
            </a:p>
          </p:txBody>
        </p:sp>
        <p:sp>
          <p:nvSpPr>
            <p:cNvPr id="57" name="Subtitle 2">
              <a:extLst>
                <a:ext uri="{FF2B5EF4-FFF2-40B4-BE49-F238E27FC236}">
                  <a16:creationId xmlns:a16="http://schemas.microsoft.com/office/drawing/2014/main" xmlns="" id="{9B624F52-9DC4-4AF8-8830-802499B2405E}"/>
                </a:ext>
              </a:extLst>
            </p:cNvPr>
            <p:cNvSpPr txBox="1">
              <a:spLocks/>
            </p:cNvSpPr>
            <p:nvPr/>
          </p:nvSpPr>
          <p:spPr>
            <a:xfrm>
              <a:off x="3343111" y="5455350"/>
              <a:ext cx="3189296" cy="59074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Remain optimistic. Try to be the rock in the surf. Above all, be realistic.</a:t>
              </a:r>
            </a:p>
          </p:txBody>
        </p:sp>
        <p:sp>
          <p:nvSpPr>
            <p:cNvPr id="58" name="Subtitle 2">
              <a:extLst>
                <a:ext uri="{FF2B5EF4-FFF2-40B4-BE49-F238E27FC236}">
                  <a16:creationId xmlns:a16="http://schemas.microsoft.com/office/drawing/2014/main" xmlns="" id="{486F8A6C-0DAE-47C1-9FF7-28EBBE04F0B4}"/>
                </a:ext>
              </a:extLst>
            </p:cNvPr>
            <p:cNvSpPr txBox="1">
              <a:spLocks/>
            </p:cNvSpPr>
            <p:nvPr/>
          </p:nvSpPr>
          <p:spPr>
            <a:xfrm>
              <a:off x="3343111" y="4597737"/>
              <a:ext cx="3746159" cy="69494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Take responsibility for your decisions. You are now making a decision to the best of your knowledge and belief. It can turn out to be wrong in retrospect. This can happen, but it is always better than not making a decision at all.</a:t>
              </a:r>
            </a:p>
          </p:txBody>
        </p:sp>
        <p:sp>
          <p:nvSpPr>
            <p:cNvPr id="59" name="Subtitle 2">
              <a:extLst>
                <a:ext uri="{FF2B5EF4-FFF2-40B4-BE49-F238E27FC236}">
                  <a16:creationId xmlns:a16="http://schemas.microsoft.com/office/drawing/2014/main" xmlns="" id="{0048EDF1-CEE7-48D8-9F3B-CE40E8B0AD1F}"/>
                </a:ext>
              </a:extLst>
            </p:cNvPr>
            <p:cNvSpPr txBox="1">
              <a:spLocks/>
            </p:cNvSpPr>
            <p:nvPr/>
          </p:nvSpPr>
          <p:spPr>
            <a:xfrm>
              <a:off x="3358904" y="3831346"/>
              <a:ext cx="3760361" cy="69494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1600" dirty="0">
                  <a:solidFill>
                    <a:schemeClr val="bg1"/>
                  </a:solidFill>
                  <a:latin typeface="+mj-lt"/>
                  <a:ea typeface="Lato Light" panose="020F0502020204030203" pitchFamily="34" charset="0"/>
                  <a:cs typeface="Mukta ExtraLight" panose="020B0000000000000000" pitchFamily="34" charset="77"/>
                </a:rPr>
                <a:t>Think in scenarios. When it comes to the future, outline possible scenarios and explain how you and the company are likely to react to them. Also state clearly what this would mean for the employee. Do not play down.</a:t>
              </a:r>
            </a:p>
          </p:txBody>
        </p:sp>
        <p:sp>
          <p:nvSpPr>
            <p:cNvPr id="60" name="Subtitle 2">
              <a:extLst>
                <a:ext uri="{FF2B5EF4-FFF2-40B4-BE49-F238E27FC236}">
                  <a16:creationId xmlns:a16="http://schemas.microsoft.com/office/drawing/2014/main" xmlns="" id="{A49C361C-51F4-49AF-9754-531EB80E4FA0}"/>
                </a:ext>
              </a:extLst>
            </p:cNvPr>
            <p:cNvSpPr txBox="1">
              <a:spLocks/>
            </p:cNvSpPr>
            <p:nvPr/>
          </p:nvSpPr>
          <p:spPr>
            <a:xfrm>
              <a:off x="3461995" y="3144161"/>
              <a:ext cx="4116545" cy="59074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Only promise things you can keep. Make it clear what you know and what you don't. In a crisis, everyone only drives on sight.</a:t>
              </a:r>
            </a:p>
          </p:txBody>
        </p:sp>
        <p:sp>
          <p:nvSpPr>
            <p:cNvPr id="61" name="Subtitle 2">
              <a:extLst>
                <a:ext uri="{FF2B5EF4-FFF2-40B4-BE49-F238E27FC236}">
                  <a16:creationId xmlns:a16="http://schemas.microsoft.com/office/drawing/2014/main" xmlns="" id="{96D5E17E-F7A9-4D19-89A9-195936AA8B8E}"/>
                </a:ext>
              </a:extLst>
            </p:cNvPr>
            <p:cNvSpPr txBox="1">
              <a:spLocks/>
            </p:cNvSpPr>
            <p:nvPr/>
          </p:nvSpPr>
          <p:spPr>
            <a:xfrm>
              <a:off x="3448191" y="2375677"/>
              <a:ext cx="4130349" cy="59074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Have the guts to say what's really going on. Don't beat around the bush.</a:t>
              </a:r>
            </a:p>
          </p:txBody>
        </p:sp>
      </p:grpSp>
    </p:spTree>
    <p:extLst>
      <p:ext uri="{BB962C8B-B14F-4D97-AF65-F5344CB8AC3E}">
        <p14:creationId xmlns:p14="http://schemas.microsoft.com/office/powerpoint/2010/main" val="3170041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D7CF9827-3A72-4302-82AB-122A47D1AC4E}"/>
              </a:ext>
            </a:extLst>
          </p:cNvPr>
          <p:cNvSpPr>
            <a:spLocks noGrp="1"/>
          </p:cNvSpPr>
          <p:nvPr>
            <p:ph type="body" sz="quarter" idx="13"/>
          </p:nvPr>
        </p:nvSpPr>
        <p:spPr>
          <a:xfrm>
            <a:off x="1083839" y="477078"/>
            <a:ext cx="10041361" cy="1210208"/>
          </a:xfrm>
        </p:spPr>
        <p:txBody>
          <a:bodyPr>
            <a:normAutofit fontScale="47500" lnSpcReduction="20000"/>
          </a:bodyPr>
          <a:lstStyle/>
          <a:p>
            <a:pPr>
              <a:lnSpc>
                <a:spcPct val="120000"/>
              </a:lnSpc>
            </a:pPr>
            <a:r>
              <a:rPr lang="en-GB" sz="7600" b="0" i="0" dirty="0" err="1">
                <a:solidFill>
                  <a:schemeClr val="bg1"/>
                </a:solidFill>
                <a:effectLst/>
                <a:highlight>
                  <a:srgbClr val="E53292"/>
                </a:highlight>
                <a:latin typeface="+mj-lt"/>
              </a:rPr>
              <a:t>WATCH</a:t>
            </a:r>
            <a:r>
              <a:rPr lang="en-GB" sz="7600" dirty="0" err="1">
                <a:solidFill>
                  <a:schemeClr val="bg1"/>
                </a:solidFill>
              </a:rPr>
              <a:t>a</a:t>
            </a:r>
            <a:r>
              <a:rPr lang="en-GB" sz="7600" b="0" i="0" strike="noStrike" dirty="0" err="1">
                <a:effectLst/>
                <a:latin typeface="segoe ui" panose="020B0502040204020203" pitchFamily="34" charset="0"/>
              </a:rPr>
              <a:t>How</a:t>
            </a:r>
            <a:r>
              <a:rPr lang="en-GB" sz="7600" b="0" i="0" strike="noStrike" dirty="0">
                <a:effectLst/>
                <a:latin typeface="segoe ui" panose="020B0502040204020203" pitchFamily="34" charset="0"/>
              </a:rPr>
              <a:t> to lead in a crisis | The Way We Work, a TED series</a:t>
            </a:r>
            <a:endParaRPr lang="en-GB" sz="7600" b="0" i="0" dirty="0">
              <a:effectLst/>
              <a:latin typeface="Roboto"/>
            </a:endParaRPr>
          </a:p>
          <a:p>
            <a:endParaRPr lang="en-IE" dirty="0"/>
          </a:p>
        </p:txBody>
      </p:sp>
      <p:pic>
        <p:nvPicPr>
          <p:cNvPr id="4" name="Online Media 3" title="How to lead in a crisis | The Way We Work, a TED series">
            <a:hlinkClick r:id="" action="ppaction://media"/>
            <a:extLst>
              <a:ext uri="{FF2B5EF4-FFF2-40B4-BE49-F238E27FC236}">
                <a16:creationId xmlns:a16="http://schemas.microsoft.com/office/drawing/2014/main" xmlns="" id="{DBC37AAD-E420-4000-BAED-F2649372348F}"/>
              </a:ext>
            </a:extLst>
          </p:cNvPr>
          <p:cNvPicPr>
            <a:picLocks noRot="1" noChangeAspect="1"/>
          </p:cNvPicPr>
          <p:nvPr>
            <a:videoFile r:link="rId1"/>
          </p:nvPr>
        </p:nvPicPr>
        <p:blipFill>
          <a:blip r:embed="rId3"/>
          <a:stretch>
            <a:fillRect/>
          </a:stretch>
        </p:blipFill>
        <p:spPr>
          <a:xfrm>
            <a:off x="3673649" y="1982978"/>
            <a:ext cx="4980494" cy="2813979"/>
          </a:xfrm>
          <a:prstGeom prst="rect">
            <a:avLst/>
          </a:prstGeom>
        </p:spPr>
      </p:pic>
      <p:sp>
        <p:nvSpPr>
          <p:cNvPr id="6" name="TextBox 5">
            <a:extLst>
              <a:ext uri="{FF2B5EF4-FFF2-40B4-BE49-F238E27FC236}">
                <a16:creationId xmlns:a16="http://schemas.microsoft.com/office/drawing/2014/main" xmlns="" id="{EB000FF8-E1CC-446E-B7E6-0D77B1EC2F21}"/>
              </a:ext>
            </a:extLst>
          </p:cNvPr>
          <p:cNvSpPr txBox="1"/>
          <p:nvPr/>
        </p:nvSpPr>
        <p:spPr>
          <a:xfrm>
            <a:off x="1112273" y="5003465"/>
            <a:ext cx="9914443" cy="707886"/>
          </a:xfrm>
          <a:prstGeom prst="rect">
            <a:avLst/>
          </a:prstGeom>
          <a:noFill/>
        </p:spPr>
        <p:txBody>
          <a:bodyPr wrap="square">
            <a:spAutoFit/>
          </a:bodyPr>
          <a:lstStyle/>
          <a:p>
            <a:pPr algn="ctr"/>
            <a:r>
              <a:rPr lang="en-GB" sz="2000" b="0" i="0" dirty="0">
                <a:solidFill>
                  <a:srgbClr val="245473"/>
                </a:solidFill>
                <a:effectLst/>
                <a:latin typeface="+mj-lt"/>
              </a:rPr>
              <a:t>Amy C. Edmondson is an American scholar of leadership, teaming, and organizational learning. She is the Novartis Professor of Leadership at Harvard Business School.</a:t>
            </a:r>
            <a:endParaRPr lang="en-IE" sz="2000" dirty="0">
              <a:solidFill>
                <a:srgbClr val="245473"/>
              </a:solidFill>
              <a:latin typeface="+mj-lt"/>
            </a:endParaRPr>
          </a:p>
        </p:txBody>
      </p:sp>
      <p:sp>
        <p:nvSpPr>
          <p:cNvPr id="8" name="TextBox 7">
            <a:extLst>
              <a:ext uri="{FF2B5EF4-FFF2-40B4-BE49-F238E27FC236}">
                <a16:creationId xmlns:a16="http://schemas.microsoft.com/office/drawing/2014/main" xmlns="" id="{DA678CA0-177E-4FE1-91F0-7BB38B91617F}"/>
              </a:ext>
            </a:extLst>
          </p:cNvPr>
          <p:cNvSpPr txBox="1"/>
          <p:nvPr/>
        </p:nvSpPr>
        <p:spPr>
          <a:xfrm>
            <a:off x="307521" y="6357682"/>
            <a:ext cx="6101442" cy="646331"/>
          </a:xfrm>
          <a:prstGeom prst="rect">
            <a:avLst/>
          </a:prstGeom>
          <a:noFill/>
        </p:spPr>
        <p:txBody>
          <a:bodyPr wrap="square">
            <a:spAutoFit/>
          </a:bodyPr>
          <a:lstStyle/>
          <a:p>
            <a:r>
              <a:rPr lang="en-GB" dirty="0"/>
              <a:t> Source: </a:t>
            </a:r>
            <a:r>
              <a:rPr lang="en-GB" dirty="0">
                <a:hlinkClick r:id="rId4"/>
              </a:rPr>
              <a:t>https://youtu.be/Cxf_SRCcaGo</a:t>
            </a:r>
            <a:r>
              <a:rPr lang="en-GB" dirty="0"/>
              <a:t> </a:t>
            </a:r>
            <a:br>
              <a:rPr lang="en-GB" dirty="0"/>
            </a:br>
            <a:endParaRPr lang="en-IE" dirty="0"/>
          </a:p>
        </p:txBody>
      </p:sp>
    </p:spTree>
    <p:extLst>
      <p:ext uri="{BB962C8B-B14F-4D97-AF65-F5344CB8AC3E}">
        <p14:creationId xmlns:p14="http://schemas.microsoft.com/office/powerpoint/2010/main" val="3732142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331126" y="2875427"/>
            <a:ext cx="9821959" cy="1582271"/>
          </a:xfrm>
        </p:spPr>
        <p:txBody>
          <a:bodyPr/>
          <a:lstStyle/>
          <a:p>
            <a:r>
              <a:rPr lang="en-GB" dirty="0"/>
              <a:t>Different management styles and decision making processes</a:t>
            </a:r>
          </a:p>
        </p:txBody>
      </p:sp>
    </p:spTree>
    <p:extLst>
      <p:ext uri="{BB962C8B-B14F-4D97-AF65-F5344CB8AC3E}">
        <p14:creationId xmlns:p14="http://schemas.microsoft.com/office/powerpoint/2010/main" val="30832575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47124" y="381531"/>
            <a:ext cx="10030476" cy="949577"/>
          </a:xfrm>
        </p:spPr>
        <p:txBody>
          <a:bodyPr>
            <a:noAutofit/>
          </a:bodyPr>
          <a:lstStyle/>
          <a:p>
            <a:r>
              <a:rPr lang="en-GB" dirty="0"/>
              <a:t>Different management styles and decision-making processe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84842" y="1961994"/>
            <a:ext cx="3191110" cy="439124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Management literature distinguishes between five different management styles on a continuum of decision-making authority. The extreme points are the Authoritarian Leadership Style (absolute decision-making authority of the top management) and the Participative Leadership Style (extensive decision-making share of the group) at the other end of the continuum.</a:t>
            </a:r>
            <a:endParaRPr lang="en-GB" sz="2000" dirty="0">
              <a:solidFill>
                <a:srgbClr val="245473"/>
              </a:solidFill>
              <a:latin typeface="+mj-lt"/>
              <a:sym typeface="Wingdings" panose="05000000000000000000" pitchFamily="2" charset="2"/>
            </a:endParaRPr>
          </a:p>
        </p:txBody>
      </p:sp>
      <p:sp>
        <p:nvSpPr>
          <p:cNvPr id="8" name="Gleichschenkliges Dreieck 7">
            <a:extLst>
              <a:ext uri="{FF2B5EF4-FFF2-40B4-BE49-F238E27FC236}">
                <a16:creationId xmlns:a16="http://schemas.microsoft.com/office/drawing/2014/main" xmlns="" id="{937746CE-DA4A-43A5-AE07-A556535C6DD4}"/>
              </a:ext>
            </a:extLst>
          </p:cNvPr>
          <p:cNvSpPr/>
          <p:nvPr/>
        </p:nvSpPr>
        <p:spPr>
          <a:xfrm rot="16200000">
            <a:off x="7264135" y="-2050056"/>
            <a:ext cx="902336" cy="8565354"/>
          </a:xfrm>
          <a:prstGeom prst="triangle">
            <a:avLst/>
          </a:prstGeom>
          <a:solidFill>
            <a:srgbClr val="DDE3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2" name="Gleichschenkliges Dreieck 51">
            <a:extLst>
              <a:ext uri="{FF2B5EF4-FFF2-40B4-BE49-F238E27FC236}">
                <a16:creationId xmlns:a16="http://schemas.microsoft.com/office/drawing/2014/main" xmlns="" id="{7487E82D-7A0A-4AB6-8EF5-58B989594739}"/>
              </a:ext>
            </a:extLst>
          </p:cNvPr>
          <p:cNvSpPr/>
          <p:nvPr/>
        </p:nvSpPr>
        <p:spPr>
          <a:xfrm rot="5400000">
            <a:off x="7264129" y="-1506368"/>
            <a:ext cx="902336" cy="8565354"/>
          </a:xfrm>
          <a:prstGeom prst="triangle">
            <a:avLst/>
          </a:prstGeom>
          <a:solidFill>
            <a:srgbClr val="E5329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p>
        </p:txBody>
      </p:sp>
      <p:sp>
        <p:nvSpPr>
          <p:cNvPr id="53" name="Subtitle 2">
            <a:extLst>
              <a:ext uri="{FF2B5EF4-FFF2-40B4-BE49-F238E27FC236}">
                <a16:creationId xmlns:a16="http://schemas.microsoft.com/office/drawing/2014/main" xmlns="" id="{462E4732-3860-417B-9019-34A0AFC89575}"/>
              </a:ext>
            </a:extLst>
          </p:cNvPr>
          <p:cNvSpPr txBox="1">
            <a:spLocks/>
          </p:cNvSpPr>
          <p:nvPr/>
        </p:nvSpPr>
        <p:spPr>
          <a:xfrm>
            <a:off x="3544080" y="2637337"/>
            <a:ext cx="5164717" cy="28474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ts val="1388"/>
              </a:lnSpc>
            </a:pPr>
            <a:r>
              <a:rPr lang="en-GB" sz="2000" b="1" dirty="0">
                <a:solidFill>
                  <a:schemeClr val="bg1"/>
                </a:solidFill>
                <a:latin typeface="+mj-lt"/>
                <a:ea typeface="Lato Light" panose="020F0502020204030203" pitchFamily="34" charset="0"/>
                <a:cs typeface="Mukta ExtraLight" panose="020B0000000000000000" pitchFamily="34" charset="77"/>
              </a:rPr>
              <a:t>Decision room of the CEO</a:t>
            </a:r>
          </a:p>
        </p:txBody>
      </p:sp>
      <p:sp>
        <p:nvSpPr>
          <p:cNvPr id="54" name="Subtitle 2">
            <a:extLst>
              <a:ext uri="{FF2B5EF4-FFF2-40B4-BE49-F238E27FC236}">
                <a16:creationId xmlns:a16="http://schemas.microsoft.com/office/drawing/2014/main" xmlns="" id="{62FE6447-6E9C-4F32-9687-093EA0C2B86A}"/>
              </a:ext>
            </a:extLst>
          </p:cNvPr>
          <p:cNvSpPr txBox="1">
            <a:spLocks/>
          </p:cNvSpPr>
          <p:nvPr/>
        </p:nvSpPr>
        <p:spPr>
          <a:xfrm>
            <a:off x="6760608" y="2131270"/>
            <a:ext cx="5164717" cy="28474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88"/>
              </a:lnSpc>
            </a:pPr>
            <a:r>
              <a:rPr lang="en-GB" sz="2000" b="1" dirty="0">
                <a:solidFill>
                  <a:srgbClr val="245473"/>
                </a:solidFill>
                <a:latin typeface="+mj-lt"/>
                <a:ea typeface="Lato Light" panose="020F0502020204030203" pitchFamily="34" charset="0"/>
                <a:cs typeface="Mukta ExtraLight" panose="020B0000000000000000" pitchFamily="34" charset="77"/>
              </a:rPr>
              <a:t>Decision room of the team</a:t>
            </a:r>
          </a:p>
        </p:txBody>
      </p:sp>
      <p:sp>
        <p:nvSpPr>
          <p:cNvPr id="55" name="Rechteck 54">
            <a:extLst>
              <a:ext uri="{FF2B5EF4-FFF2-40B4-BE49-F238E27FC236}">
                <a16:creationId xmlns:a16="http://schemas.microsoft.com/office/drawing/2014/main" xmlns="" id="{8E7A4898-6EFB-489F-9ABD-784EAD80ABB1}"/>
              </a:ext>
            </a:extLst>
          </p:cNvPr>
          <p:cNvSpPr/>
          <p:nvPr/>
        </p:nvSpPr>
        <p:spPr>
          <a:xfrm>
            <a:off x="3441804" y="3243177"/>
            <a:ext cx="1656000" cy="6973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2"/>
                </a:solidFill>
              </a:rPr>
              <a:t>Charismatic management style</a:t>
            </a:r>
          </a:p>
        </p:txBody>
      </p:sp>
      <p:sp>
        <p:nvSpPr>
          <p:cNvPr id="56" name="Rechteck 55">
            <a:extLst>
              <a:ext uri="{FF2B5EF4-FFF2-40B4-BE49-F238E27FC236}">
                <a16:creationId xmlns:a16="http://schemas.microsoft.com/office/drawing/2014/main" xmlns="" id="{11BC1E41-9DD6-45D4-9B71-1AF039ED4930}"/>
              </a:ext>
            </a:extLst>
          </p:cNvPr>
          <p:cNvSpPr/>
          <p:nvPr/>
        </p:nvSpPr>
        <p:spPr>
          <a:xfrm>
            <a:off x="5177866" y="3246769"/>
            <a:ext cx="1656000" cy="6973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2"/>
                </a:solidFill>
              </a:rPr>
              <a:t>Charismatic management style</a:t>
            </a:r>
            <a:endParaRPr lang="en-GB" sz="1400" dirty="0">
              <a:solidFill>
                <a:schemeClr val="tx2"/>
              </a:solidFill>
            </a:endParaRPr>
          </a:p>
        </p:txBody>
      </p:sp>
      <p:sp>
        <p:nvSpPr>
          <p:cNvPr id="57" name="Rechteck 56">
            <a:extLst>
              <a:ext uri="{FF2B5EF4-FFF2-40B4-BE49-F238E27FC236}">
                <a16:creationId xmlns:a16="http://schemas.microsoft.com/office/drawing/2014/main" xmlns="" id="{8346C0CB-D5F9-4F97-A41D-AA0A39F6C2CE}"/>
              </a:ext>
            </a:extLst>
          </p:cNvPr>
          <p:cNvSpPr/>
          <p:nvPr/>
        </p:nvSpPr>
        <p:spPr>
          <a:xfrm>
            <a:off x="6887301" y="3254945"/>
            <a:ext cx="1656000" cy="6973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2"/>
                </a:solidFill>
              </a:rPr>
              <a:t>Charismatic management style</a:t>
            </a:r>
            <a:endParaRPr lang="en-GB" sz="1400" dirty="0">
              <a:solidFill>
                <a:schemeClr val="tx2"/>
              </a:solidFill>
            </a:endParaRPr>
          </a:p>
        </p:txBody>
      </p:sp>
      <p:sp>
        <p:nvSpPr>
          <p:cNvPr id="58" name="Rechteck 57">
            <a:extLst>
              <a:ext uri="{FF2B5EF4-FFF2-40B4-BE49-F238E27FC236}">
                <a16:creationId xmlns:a16="http://schemas.microsoft.com/office/drawing/2014/main" xmlns="" id="{3DE52F86-F762-4352-B25D-A9C3B54F677F}"/>
              </a:ext>
            </a:extLst>
          </p:cNvPr>
          <p:cNvSpPr/>
          <p:nvPr/>
        </p:nvSpPr>
        <p:spPr>
          <a:xfrm>
            <a:off x="8587689" y="3248059"/>
            <a:ext cx="1656000" cy="6973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2"/>
                </a:solidFill>
              </a:rPr>
              <a:t>Charismatic management style</a:t>
            </a:r>
          </a:p>
        </p:txBody>
      </p:sp>
      <p:sp>
        <p:nvSpPr>
          <p:cNvPr id="59" name="Rechteck 58">
            <a:extLst>
              <a:ext uri="{FF2B5EF4-FFF2-40B4-BE49-F238E27FC236}">
                <a16:creationId xmlns:a16="http://schemas.microsoft.com/office/drawing/2014/main" xmlns="" id="{6E36FBBF-2752-42F9-A618-12FCF0263A7F}"/>
              </a:ext>
            </a:extLst>
          </p:cNvPr>
          <p:cNvSpPr/>
          <p:nvPr/>
        </p:nvSpPr>
        <p:spPr>
          <a:xfrm>
            <a:off x="10295747" y="3255399"/>
            <a:ext cx="1656000" cy="69735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solidFill>
                  <a:schemeClr val="tx2"/>
                </a:solidFill>
              </a:rPr>
              <a:t>Charismatic management style</a:t>
            </a:r>
            <a:endParaRPr lang="en-GB" sz="1400" dirty="0">
              <a:solidFill>
                <a:schemeClr val="tx2"/>
              </a:solidFill>
            </a:endParaRPr>
          </a:p>
        </p:txBody>
      </p:sp>
      <p:sp>
        <p:nvSpPr>
          <p:cNvPr id="60" name="Rechteck 59">
            <a:extLst>
              <a:ext uri="{FF2B5EF4-FFF2-40B4-BE49-F238E27FC236}">
                <a16:creationId xmlns:a16="http://schemas.microsoft.com/office/drawing/2014/main" xmlns="" id="{98421FB1-585C-462A-B8CD-FC36C8B4E1A7}"/>
              </a:ext>
            </a:extLst>
          </p:cNvPr>
          <p:cNvSpPr/>
          <p:nvPr/>
        </p:nvSpPr>
        <p:spPr>
          <a:xfrm>
            <a:off x="3432623" y="3986505"/>
            <a:ext cx="1656000" cy="2291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solidFill>
                  <a:schemeClr val="tx2"/>
                </a:solidFill>
              </a:rPr>
              <a:t>Supervisor decides and orders</a:t>
            </a:r>
          </a:p>
        </p:txBody>
      </p:sp>
      <p:sp>
        <p:nvSpPr>
          <p:cNvPr id="61" name="Rechteck 60">
            <a:extLst>
              <a:ext uri="{FF2B5EF4-FFF2-40B4-BE49-F238E27FC236}">
                <a16:creationId xmlns:a16="http://schemas.microsoft.com/office/drawing/2014/main" xmlns="" id="{B447B97B-1AAF-4E9B-8D51-02D90694BA9C}"/>
              </a:ext>
            </a:extLst>
          </p:cNvPr>
          <p:cNvSpPr/>
          <p:nvPr/>
        </p:nvSpPr>
        <p:spPr>
          <a:xfrm>
            <a:off x="5178130" y="3986505"/>
            <a:ext cx="1656000" cy="2291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solidFill>
                  <a:schemeClr val="tx2"/>
                </a:solidFill>
              </a:rPr>
              <a:t>The supervisor makes decisions but strives to convince the employees of his decisions before he orders them.</a:t>
            </a:r>
          </a:p>
        </p:txBody>
      </p:sp>
      <p:sp>
        <p:nvSpPr>
          <p:cNvPr id="62" name="Rechteck 61">
            <a:extLst>
              <a:ext uri="{FF2B5EF4-FFF2-40B4-BE49-F238E27FC236}">
                <a16:creationId xmlns:a16="http://schemas.microsoft.com/office/drawing/2014/main" xmlns="" id="{7FEABD4D-1622-4556-936F-A148E485C57A}"/>
              </a:ext>
            </a:extLst>
          </p:cNvPr>
          <p:cNvSpPr/>
          <p:nvPr/>
        </p:nvSpPr>
        <p:spPr>
          <a:xfrm>
            <a:off x="6887301" y="3986505"/>
            <a:ext cx="1656000" cy="2291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solidFill>
                  <a:schemeClr val="tx2"/>
                </a:solidFill>
              </a:rPr>
              <a:t>Supervisor makes decisions but allows questions about his decisions in order to gain acceptance for his decisions by answering them. </a:t>
            </a:r>
          </a:p>
        </p:txBody>
      </p:sp>
      <p:sp>
        <p:nvSpPr>
          <p:cNvPr id="63" name="Rechteck 62">
            <a:extLst>
              <a:ext uri="{FF2B5EF4-FFF2-40B4-BE49-F238E27FC236}">
                <a16:creationId xmlns:a16="http://schemas.microsoft.com/office/drawing/2014/main" xmlns="" id="{4F387C98-B7B1-4397-82A8-D6994CC2448E}"/>
              </a:ext>
            </a:extLst>
          </p:cNvPr>
          <p:cNvSpPr/>
          <p:nvPr/>
        </p:nvSpPr>
        <p:spPr>
          <a:xfrm>
            <a:off x="8595362" y="3986505"/>
            <a:ext cx="1656000" cy="2291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solidFill>
                  <a:schemeClr val="tx2"/>
                </a:solidFill>
              </a:rPr>
              <a:t>Supervisor informs his or her employees of his or her intended decision, who can comment on it before making the final decision. </a:t>
            </a:r>
          </a:p>
        </p:txBody>
      </p:sp>
      <p:sp>
        <p:nvSpPr>
          <p:cNvPr id="64" name="Rechteck 63">
            <a:extLst>
              <a:ext uri="{FF2B5EF4-FFF2-40B4-BE49-F238E27FC236}">
                <a16:creationId xmlns:a16="http://schemas.microsoft.com/office/drawing/2014/main" xmlns="" id="{8342F211-8797-4E0C-812C-EB550998F950}"/>
              </a:ext>
            </a:extLst>
          </p:cNvPr>
          <p:cNvSpPr/>
          <p:nvPr/>
        </p:nvSpPr>
        <p:spPr>
          <a:xfrm>
            <a:off x="10331424" y="3986505"/>
            <a:ext cx="1656000" cy="2291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600" dirty="0">
                <a:solidFill>
                  <a:schemeClr val="tx2"/>
                </a:solidFill>
              </a:rPr>
              <a:t>The group develops proposals from which he or she decides on the solution he or she prefers</a:t>
            </a:r>
          </a:p>
        </p:txBody>
      </p:sp>
      <p:sp>
        <p:nvSpPr>
          <p:cNvPr id="9" name="Rechteck 8">
            <a:extLst>
              <a:ext uri="{FF2B5EF4-FFF2-40B4-BE49-F238E27FC236}">
                <a16:creationId xmlns:a16="http://schemas.microsoft.com/office/drawing/2014/main" xmlns="" id="{E4E61FFA-F74F-4F24-8EC2-8615639E9B4C}"/>
              </a:ext>
            </a:extLst>
          </p:cNvPr>
          <p:cNvSpPr/>
          <p:nvPr/>
        </p:nvSpPr>
        <p:spPr>
          <a:xfrm>
            <a:off x="3441804" y="3245788"/>
            <a:ext cx="8565354" cy="699316"/>
          </a:xfrm>
          <a:prstGeom prst="rect">
            <a:avLst/>
          </a:prstGeom>
          <a:gradFill flip="none" rotWithShape="1">
            <a:gsLst>
              <a:gs pos="0">
                <a:srgbClr val="E53292"/>
              </a:gs>
              <a:gs pos="100000">
                <a:srgbClr val="FFC000"/>
              </a:gs>
            </a:gsLst>
            <a:lin ang="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5" name="Rechteck 64">
            <a:extLst>
              <a:ext uri="{FF2B5EF4-FFF2-40B4-BE49-F238E27FC236}">
                <a16:creationId xmlns:a16="http://schemas.microsoft.com/office/drawing/2014/main" xmlns="" id="{6AFE85F6-21A8-4D35-A31E-E903011AA9D6}"/>
              </a:ext>
            </a:extLst>
          </p:cNvPr>
          <p:cNvSpPr/>
          <p:nvPr/>
        </p:nvSpPr>
        <p:spPr>
          <a:xfrm>
            <a:off x="3441804" y="3243996"/>
            <a:ext cx="1656000" cy="697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rPr>
              <a:t>Authoritarian management style</a:t>
            </a:r>
          </a:p>
        </p:txBody>
      </p:sp>
      <p:sp>
        <p:nvSpPr>
          <p:cNvPr id="66" name="Rechteck 65">
            <a:extLst>
              <a:ext uri="{FF2B5EF4-FFF2-40B4-BE49-F238E27FC236}">
                <a16:creationId xmlns:a16="http://schemas.microsoft.com/office/drawing/2014/main" xmlns="" id="{D32C1D04-7256-4329-8E7B-7B79A947CF59}"/>
              </a:ext>
            </a:extLst>
          </p:cNvPr>
          <p:cNvSpPr/>
          <p:nvPr/>
        </p:nvSpPr>
        <p:spPr>
          <a:xfrm>
            <a:off x="5177866" y="3229269"/>
            <a:ext cx="1656000" cy="697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rPr>
              <a:t>Patriarchal management style</a:t>
            </a:r>
          </a:p>
        </p:txBody>
      </p:sp>
      <p:sp>
        <p:nvSpPr>
          <p:cNvPr id="67" name="Rechteck 66">
            <a:extLst>
              <a:ext uri="{FF2B5EF4-FFF2-40B4-BE49-F238E27FC236}">
                <a16:creationId xmlns:a16="http://schemas.microsoft.com/office/drawing/2014/main" xmlns="" id="{19E1016E-19C2-4B73-A6EE-86B14044DBDC}"/>
              </a:ext>
            </a:extLst>
          </p:cNvPr>
          <p:cNvSpPr/>
          <p:nvPr/>
        </p:nvSpPr>
        <p:spPr>
          <a:xfrm>
            <a:off x="6896481" y="3247757"/>
            <a:ext cx="1656000" cy="697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rPr>
              <a:t>Advisory management style</a:t>
            </a:r>
          </a:p>
        </p:txBody>
      </p:sp>
      <p:sp>
        <p:nvSpPr>
          <p:cNvPr id="68" name="Rechteck 67">
            <a:extLst>
              <a:ext uri="{FF2B5EF4-FFF2-40B4-BE49-F238E27FC236}">
                <a16:creationId xmlns:a16="http://schemas.microsoft.com/office/drawing/2014/main" xmlns="" id="{CF85BA35-1CA5-4750-A30C-7368AA517D40}"/>
              </a:ext>
            </a:extLst>
          </p:cNvPr>
          <p:cNvSpPr/>
          <p:nvPr/>
        </p:nvSpPr>
        <p:spPr>
          <a:xfrm>
            <a:off x="8587689" y="3229878"/>
            <a:ext cx="1656000" cy="697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rPr>
              <a:t>Cooperative management style</a:t>
            </a:r>
          </a:p>
        </p:txBody>
      </p:sp>
      <p:sp>
        <p:nvSpPr>
          <p:cNvPr id="69" name="Rechteck 68">
            <a:extLst>
              <a:ext uri="{FF2B5EF4-FFF2-40B4-BE49-F238E27FC236}">
                <a16:creationId xmlns:a16="http://schemas.microsoft.com/office/drawing/2014/main" xmlns="" id="{0D013E8D-4B38-4CBC-9564-5DD3E05B5BF4}"/>
              </a:ext>
            </a:extLst>
          </p:cNvPr>
          <p:cNvSpPr/>
          <p:nvPr/>
        </p:nvSpPr>
        <p:spPr>
          <a:xfrm>
            <a:off x="10351158" y="3239786"/>
            <a:ext cx="1656000" cy="697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rPr>
              <a:t>Participative management style</a:t>
            </a:r>
          </a:p>
        </p:txBody>
      </p:sp>
      <p:cxnSp>
        <p:nvCxnSpPr>
          <p:cNvPr id="11" name="Gerader Verbinder 10">
            <a:extLst>
              <a:ext uri="{FF2B5EF4-FFF2-40B4-BE49-F238E27FC236}">
                <a16:creationId xmlns:a16="http://schemas.microsoft.com/office/drawing/2014/main" xmlns="" id="{97D889AE-C953-414B-8B96-29C22BF18992}"/>
              </a:ext>
            </a:extLst>
          </p:cNvPr>
          <p:cNvCxnSpPr/>
          <p:nvPr/>
        </p:nvCxnSpPr>
        <p:spPr>
          <a:xfrm flipV="1">
            <a:off x="5121459" y="3229269"/>
            <a:ext cx="3" cy="1094875"/>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0" name="Gerader Verbinder 69">
            <a:extLst>
              <a:ext uri="{FF2B5EF4-FFF2-40B4-BE49-F238E27FC236}">
                <a16:creationId xmlns:a16="http://schemas.microsoft.com/office/drawing/2014/main" xmlns="" id="{44CEA493-0622-4EC5-AADD-EB151A9440ED}"/>
              </a:ext>
            </a:extLst>
          </p:cNvPr>
          <p:cNvCxnSpPr/>
          <p:nvPr/>
        </p:nvCxnSpPr>
        <p:spPr>
          <a:xfrm flipV="1">
            <a:off x="6857524" y="3227477"/>
            <a:ext cx="3" cy="1094875"/>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1" name="Gerader Verbinder 70">
            <a:extLst>
              <a:ext uri="{FF2B5EF4-FFF2-40B4-BE49-F238E27FC236}">
                <a16:creationId xmlns:a16="http://schemas.microsoft.com/office/drawing/2014/main" xmlns="" id="{843FD937-C23F-406F-A403-CD797BB4934F}"/>
              </a:ext>
            </a:extLst>
          </p:cNvPr>
          <p:cNvCxnSpPr/>
          <p:nvPr/>
        </p:nvCxnSpPr>
        <p:spPr>
          <a:xfrm flipV="1">
            <a:off x="8595359" y="3223727"/>
            <a:ext cx="3" cy="1094875"/>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2" name="Gerader Verbinder 71">
            <a:extLst>
              <a:ext uri="{FF2B5EF4-FFF2-40B4-BE49-F238E27FC236}">
                <a16:creationId xmlns:a16="http://schemas.microsoft.com/office/drawing/2014/main" xmlns="" id="{20BCE99D-E32E-4722-AF4D-EBAF851CB6B1}"/>
              </a:ext>
            </a:extLst>
          </p:cNvPr>
          <p:cNvCxnSpPr/>
          <p:nvPr/>
        </p:nvCxnSpPr>
        <p:spPr>
          <a:xfrm flipV="1">
            <a:off x="10306304" y="3223728"/>
            <a:ext cx="3" cy="1094875"/>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194583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C0738FA6-B7D9-4EB1-9189-81F55AF43F5B}"/>
              </a:ext>
            </a:extLst>
          </p:cNvPr>
          <p:cNvSpPr>
            <a:spLocks noGrp="1"/>
          </p:cNvSpPr>
          <p:nvPr>
            <p:ph type="body" sz="quarter" idx="13"/>
          </p:nvPr>
        </p:nvSpPr>
        <p:spPr>
          <a:xfrm>
            <a:off x="1388639" y="366150"/>
            <a:ext cx="4489647" cy="697353"/>
          </a:xfrm>
          <a:solidFill>
            <a:srgbClr val="F95C2C"/>
          </a:solidFill>
        </p:spPr>
        <p:txBody>
          <a:bodyPr/>
          <a:lstStyle/>
          <a:p>
            <a:r>
              <a:rPr lang="en-IE" dirty="0">
                <a:solidFill>
                  <a:schemeClr val="bg1"/>
                </a:solidFill>
              </a:rPr>
              <a:t>Recommended reading </a:t>
            </a:r>
          </a:p>
        </p:txBody>
      </p:sp>
      <p:sp>
        <p:nvSpPr>
          <p:cNvPr id="5" name="TextBox 4">
            <a:extLst>
              <a:ext uri="{FF2B5EF4-FFF2-40B4-BE49-F238E27FC236}">
                <a16:creationId xmlns:a16="http://schemas.microsoft.com/office/drawing/2014/main" xmlns="" id="{BD36C1B6-A4D7-42D2-BCA8-657B6D161AFB}"/>
              </a:ext>
            </a:extLst>
          </p:cNvPr>
          <p:cNvSpPr txBox="1"/>
          <p:nvPr/>
        </p:nvSpPr>
        <p:spPr>
          <a:xfrm>
            <a:off x="1621970" y="1952625"/>
            <a:ext cx="9797143" cy="4524315"/>
          </a:xfrm>
          <a:prstGeom prst="rect">
            <a:avLst/>
          </a:prstGeom>
          <a:noFill/>
        </p:spPr>
        <p:txBody>
          <a:bodyPr wrap="square">
            <a:spAutoFit/>
          </a:bodyPr>
          <a:lstStyle/>
          <a:p>
            <a:r>
              <a:rPr lang="en-GB" sz="2400" dirty="0">
                <a:latin typeface="+mj-lt"/>
                <a:hlinkClick r:id="rId2"/>
              </a:rPr>
              <a:t>How to make good decisions in times of crisis (fastcompany.com)</a:t>
            </a:r>
            <a:endParaRPr lang="en-GB" sz="2400" dirty="0">
              <a:latin typeface="+mj-lt"/>
            </a:endParaRPr>
          </a:p>
          <a:p>
            <a:endParaRPr lang="en-GB" sz="2400" dirty="0">
              <a:latin typeface="+mj-lt"/>
            </a:endParaRPr>
          </a:p>
          <a:p>
            <a:r>
              <a:rPr lang="en-GB" sz="2400" dirty="0">
                <a:latin typeface="+mj-lt"/>
                <a:hlinkClick r:id="rId3"/>
              </a:rPr>
              <a:t>12 business leaders share how they lead their teams through a crisis (msn.com)</a:t>
            </a:r>
            <a:endParaRPr lang="en-GB" sz="2400" dirty="0">
              <a:latin typeface="+mj-lt"/>
            </a:endParaRPr>
          </a:p>
          <a:p>
            <a:endParaRPr lang="en-GB" sz="2400" dirty="0">
              <a:latin typeface="+mj-lt"/>
            </a:endParaRPr>
          </a:p>
          <a:p>
            <a:r>
              <a:rPr lang="en-GB" sz="2400" dirty="0">
                <a:latin typeface="+mj-lt"/>
                <a:hlinkClick r:id="rId4"/>
              </a:rPr>
              <a:t>Mastering the lessons of crisis management and rapid recovery (themandarin.com.au)</a:t>
            </a:r>
            <a:endParaRPr lang="en-GB" sz="2400" dirty="0">
              <a:latin typeface="+mj-lt"/>
            </a:endParaRPr>
          </a:p>
          <a:p>
            <a:endParaRPr lang="en-GB" sz="2400" dirty="0">
              <a:latin typeface="+mj-lt"/>
            </a:endParaRPr>
          </a:p>
          <a:p>
            <a:r>
              <a:rPr lang="en-GB" sz="2400" dirty="0">
                <a:latin typeface="+mj-lt"/>
                <a:hlinkClick r:id="rId5"/>
              </a:rPr>
              <a:t>Decision making during the coronavirus crisis | McKinsey</a:t>
            </a:r>
            <a:endParaRPr lang="en-GB" sz="2400" dirty="0">
              <a:latin typeface="+mj-lt"/>
            </a:endParaRPr>
          </a:p>
          <a:p>
            <a:endParaRPr lang="en-GB" sz="2400" dirty="0">
              <a:latin typeface="+mj-lt"/>
            </a:endParaRPr>
          </a:p>
          <a:p>
            <a:r>
              <a:rPr lang="en-GB" sz="2400" dirty="0">
                <a:latin typeface="+mj-lt"/>
                <a:hlinkClick r:id="rId6"/>
              </a:rPr>
              <a:t>The Art of Making Tough Decisions in a Crisis | Psychology Today</a:t>
            </a:r>
            <a:endParaRPr lang="en-GB" sz="2400" dirty="0">
              <a:latin typeface="+mj-lt"/>
            </a:endParaRPr>
          </a:p>
          <a:p>
            <a:endParaRPr lang="en-IE" sz="2400" dirty="0">
              <a:latin typeface="+mj-lt"/>
            </a:endParaRPr>
          </a:p>
        </p:txBody>
      </p:sp>
      <p:sp>
        <p:nvSpPr>
          <p:cNvPr id="6" name="TextBox 5">
            <a:extLst>
              <a:ext uri="{FF2B5EF4-FFF2-40B4-BE49-F238E27FC236}">
                <a16:creationId xmlns:a16="http://schemas.microsoft.com/office/drawing/2014/main" xmlns="" id="{FC5E1C24-D652-46C6-A531-35B9AEBEA954}"/>
              </a:ext>
            </a:extLst>
          </p:cNvPr>
          <p:cNvSpPr txBox="1"/>
          <p:nvPr/>
        </p:nvSpPr>
        <p:spPr>
          <a:xfrm>
            <a:off x="1491343" y="1175657"/>
            <a:ext cx="9339943" cy="461665"/>
          </a:xfrm>
          <a:prstGeom prst="rect">
            <a:avLst/>
          </a:prstGeom>
          <a:noFill/>
        </p:spPr>
        <p:txBody>
          <a:bodyPr wrap="square" rtlCol="0">
            <a:spAutoFit/>
          </a:bodyPr>
          <a:lstStyle/>
          <a:p>
            <a:r>
              <a:rPr lang="en-IE" sz="2400" dirty="0">
                <a:solidFill>
                  <a:srgbClr val="245473"/>
                </a:solidFill>
                <a:latin typeface="+mj-lt"/>
              </a:rPr>
              <a:t>Short but interesting articles that we find enlightening……. </a:t>
            </a:r>
          </a:p>
        </p:txBody>
      </p:sp>
    </p:spTree>
    <p:extLst>
      <p:ext uri="{BB962C8B-B14F-4D97-AF65-F5344CB8AC3E}">
        <p14:creationId xmlns:p14="http://schemas.microsoft.com/office/powerpoint/2010/main" val="29261655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331126" y="2875427"/>
            <a:ext cx="9821959" cy="1582271"/>
          </a:xfrm>
        </p:spPr>
        <p:txBody>
          <a:bodyPr/>
          <a:lstStyle/>
          <a:p>
            <a:r>
              <a:rPr lang="en-GB" dirty="0"/>
              <a:t>Guiding Principles for Leadership in Crisis</a:t>
            </a:r>
          </a:p>
        </p:txBody>
      </p:sp>
    </p:spTree>
    <p:extLst>
      <p:ext uri="{BB962C8B-B14F-4D97-AF65-F5344CB8AC3E}">
        <p14:creationId xmlns:p14="http://schemas.microsoft.com/office/powerpoint/2010/main" val="9598596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06440" y="593575"/>
            <a:ext cx="8852375" cy="697353"/>
          </a:xfrm>
        </p:spPr>
        <p:txBody>
          <a:bodyPr>
            <a:normAutofit/>
          </a:bodyPr>
          <a:lstStyle/>
          <a:p>
            <a:r>
              <a:rPr lang="en-GB" dirty="0"/>
              <a:t>Guiding Principles for Leadership in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52683" y="1767836"/>
            <a:ext cx="4304752" cy="548808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Leaders need skills and competence to lead during crises. To provide stability, reassurance, confidence, and a sense of control.</a:t>
            </a:r>
            <a:br>
              <a:rPr lang="en-GB" altLang="de-DE" sz="2000" dirty="0">
                <a:solidFill>
                  <a:srgbClr val="245473"/>
                </a:solidFill>
                <a:latin typeface="+mj-lt"/>
              </a:rPr>
            </a:br>
            <a:endParaRPr lang="en-GB" altLang="de-DE" sz="2000" dirty="0">
              <a:solidFill>
                <a:srgbClr val="245473"/>
              </a:solidFill>
              <a:latin typeface="+mj-lt"/>
            </a:endParaRPr>
          </a:p>
          <a:p>
            <a:pPr>
              <a:lnSpc>
                <a:spcPct val="100000"/>
              </a:lnSpc>
              <a:spcBef>
                <a:spcPts val="600"/>
              </a:spcBef>
            </a:pPr>
            <a:r>
              <a:rPr lang="en-GB" altLang="de-DE" sz="2000" b="1" i="1" dirty="0">
                <a:solidFill>
                  <a:srgbClr val="0070C0"/>
                </a:solidFill>
                <a:latin typeface="+mj-lt"/>
                <a:sym typeface="Wingdings" panose="05000000000000000000" pitchFamily="2" charset="2"/>
              </a:rPr>
              <a:t>“…tough times won’t create leaders, … they show you what kind of leaders you already have.”  </a:t>
            </a:r>
          </a:p>
          <a:p>
            <a:pPr>
              <a:lnSpc>
                <a:spcPct val="100000"/>
              </a:lnSpc>
              <a:spcBef>
                <a:spcPts val="600"/>
              </a:spcBef>
            </a:pPr>
            <a:r>
              <a:rPr lang="en-GB" altLang="de-DE" sz="2000" i="1" dirty="0">
                <a:solidFill>
                  <a:srgbClr val="245473"/>
                </a:solidFill>
                <a:latin typeface="+mj-lt"/>
                <a:sym typeface="Wingdings" panose="05000000000000000000" pitchFamily="2" charset="2"/>
              </a:rPr>
              <a:t>Larry Barton</a:t>
            </a:r>
          </a:p>
          <a:p>
            <a:pPr marL="285750" indent="-285750" algn="l">
              <a:lnSpc>
                <a:spcPct val="100000"/>
              </a:lnSpc>
              <a:spcBef>
                <a:spcPts val="600"/>
              </a:spcBef>
              <a:buFont typeface="Wingdings" panose="05000000000000000000" pitchFamily="2" charset="2"/>
              <a:buChar char="à"/>
            </a:pPr>
            <a:endParaRPr lang="en-GB" altLang="de-DE" sz="2000" i="1" dirty="0">
              <a:solidFill>
                <a:srgbClr val="245473"/>
              </a:solidFill>
              <a:latin typeface="+mj-lt"/>
              <a:sym typeface="Wingdings" panose="05000000000000000000" pitchFamily="2" charset="2"/>
            </a:endParaRPr>
          </a:p>
          <a:p>
            <a:pPr algn="l">
              <a:lnSpc>
                <a:spcPct val="100000"/>
              </a:lnSpc>
              <a:spcBef>
                <a:spcPts val="600"/>
              </a:spcBef>
            </a:pPr>
            <a:r>
              <a:rPr lang="en-GB" altLang="de-DE" sz="2000" dirty="0">
                <a:solidFill>
                  <a:srgbClr val="245473"/>
                </a:solidFill>
                <a:latin typeface="+mj-lt"/>
                <a:sym typeface="Wingdings" panose="05000000000000000000" pitchFamily="2" charset="2"/>
              </a:rPr>
              <a:t>Growing both your leadership abilities and management skills is critical for your success in crisis.</a:t>
            </a:r>
          </a:p>
          <a:p>
            <a:pPr marL="285750" indent="-285750" algn="l">
              <a:lnSpc>
                <a:spcPts val="1500"/>
              </a:lnSpc>
              <a:spcBef>
                <a:spcPts val="600"/>
              </a:spcBef>
              <a:buFont typeface="Wingdings" panose="05000000000000000000" pitchFamily="2" charset="2"/>
              <a:buChar char="à"/>
            </a:pPr>
            <a:endParaRPr lang="en-GB" altLang="de-DE" sz="2000" i="1" dirty="0">
              <a:latin typeface="+mj-lt"/>
              <a:sym typeface="Wingdings" panose="05000000000000000000" pitchFamily="2" charset="2"/>
            </a:endParaRPr>
          </a:p>
          <a:p>
            <a:pPr marL="285750" indent="-285750" algn="l">
              <a:lnSpc>
                <a:spcPts val="1500"/>
              </a:lnSpc>
              <a:spcBef>
                <a:spcPts val="600"/>
              </a:spcBef>
              <a:buFont typeface="Wingdings" panose="05000000000000000000" pitchFamily="2" charset="2"/>
              <a:buChar char="à"/>
            </a:pPr>
            <a:endParaRPr lang="en-GB" altLang="de-DE" sz="2000" dirty="0">
              <a:latin typeface="+mj-lt"/>
              <a:sym typeface="Wingdings" panose="05000000000000000000" pitchFamily="2" charset="2"/>
            </a:endParaRPr>
          </a:p>
          <a:p>
            <a:pPr algn="l">
              <a:lnSpc>
                <a:spcPts val="1500"/>
              </a:lnSpc>
              <a:spcBef>
                <a:spcPts val="600"/>
              </a:spcBef>
            </a:pPr>
            <a:endParaRPr lang="en-GB" altLang="de-DE" sz="2000" dirty="0">
              <a:latin typeface="+mj-lt"/>
            </a:endParaRPr>
          </a:p>
          <a:p>
            <a:pPr algn="l">
              <a:lnSpc>
                <a:spcPts val="1500"/>
              </a:lnSpc>
              <a:spcBef>
                <a:spcPts val="600"/>
              </a:spcBef>
            </a:pPr>
            <a:endParaRPr lang="en-GB" altLang="de-DE" sz="2000" dirty="0">
              <a:latin typeface="+mj-lt"/>
            </a:endParaRPr>
          </a:p>
        </p:txBody>
      </p:sp>
      <p:grpSp>
        <p:nvGrpSpPr>
          <p:cNvPr id="6" name="Group 7">
            <a:extLst>
              <a:ext uri="{FF2B5EF4-FFF2-40B4-BE49-F238E27FC236}">
                <a16:creationId xmlns:a16="http://schemas.microsoft.com/office/drawing/2014/main" xmlns="" id="{7A58909A-1E49-4DB3-BA2C-FAB16627C103}"/>
              </a:ext>
            </a:extLst>
          </p:cNvPr>
          <p:cNvGrpSpPr/>
          <p:nvPr/>
        </p:nvGrpSpPr>
        <p:grpSpPr>
          <a:xfrm>
            <a:off x="5741205" y="2502609"/>
            <a:ext cx="3749639" cy="3150624"/>
            <a:chOff x="5328980" y="1762088"/>
            <a:chExt cx="10943202" cy="9194996"/>
          </a:xfrm>
        </p:grpSpPr>
        <p:grpSp>
          <p:nvGrpSpPr>
            <p:cNvPr id="7" name="Group 5">
              <a:extLst>
                <a:ext uri="{FF2B5EF4-FFF2-40B4-BE49-F238E27FC236}">
                  <a16:creationId xmlns:a16="http://schemas.microsoft.com/office/drawing/2014/main" xmlns="" id="{D0E1D703-5B81-4CB5-B5B7-65C26341C066}"/>
                </a:ext>
              </a:extLst>
            </p:cNvPr>
            <p:cNvGrpSpPr/>
            <p:nvPr/>
          </p:nvGrpSpPr>
          <p:grpSpPr>
            <a:xfrm>
              <a:off x="7521484" y="5751094"/>
              <a:ext cx="4377764" cy="3211487"/>
              <a:chOff x="12193146" y="2562030"/>
              <a:chExt cx="5221988" cy="3830802"/>
            </a:xfrm>
          </p:grpSpPr>
          <p:sp>
            <p:nvSpPr>
              <p:cNvPr id="25" name="Freeform 1">
                <a:extLst>
                  <a:ext uri="{FF2B5EF4-FFF2-40B4-BE49-F238E27FC236}">
                    <a16:creationId xmlns:a16="http://schemas.microsoft.com/office/drawing/2014/main" xmlns="" id="{2AB37D33-9B2D-4820-B5C5-754339E86576}"/>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chemeClr val="accent3"/>
              </a:solidFill>
              <a:ln>
                <a:noFill/>
              </a:ln>
              <a:effectLst/>
            </p:spPr>
            <p:txBody>
              <a:bodyPr wrap="none" anchor="ctr"/>
              <a:lstStyle/>
              <a:p>
                <a:endParaRPr lang="en-GB" sz="1400" dirty="0">
                  <a:latin typeface="+mj-lt"/>
                </a:endParaRPr>
              </a:p>
            </p:txBody>
          </p:sp>
          <p:sp>
            <p:nvSpPr>
              <p:cNvPr id="26" name="Freeform 2">
                <a:extLst>
                  <a:ext uri="{FF2B5EF4-FFF2-40B4-BE49-F238E27FC236}">
                    <a16:creationId xmlns:a16="http://schemas.microsoft.com/office/drawing/2014/main" xmlns="" id="{9C474D2C-8A27-483C-A5C7-68EC07C5CBAC}"/>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chemeClr val="accent3">
                  <a:lumMod val="75000"/>
                </a:schemeClr>
              </a:solidFill>
              <a:ln>
                <a:noFill/>
              </a:ln>
              <a:effectLst/>
            </p:spPr>
            <p:txBody>
              <a:bodyPr wrap="none" anchor="ctr"/>
              <a:lstStyle/>
              <a:p>
                <a:endParaRPr lang="en-GB" sz="1400" dirty="0">
                  <a:latin typeface="+mj-lt"/>
                </a:endParaRPr>
              </a:p>
            </p:txBody>
          </p:sp>
          <p:sp>
            <p:nvSpPr>
              <p:cNvPr id="27" name="Freeform 3">
                <a:extLst>
                  <a:ext uri="{FF2B5EF4-FFF2-40B4-BE49-F238E27FC236}">
                    <a16:creationId xmlns:a16="http://schemas.microsoft.com/office/drawing/2014/main" xmlns="" id="{561C6BE8-9020-477A-9D10-09EA1013CCDA}"/>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chemeClr val="accent3">
                  <a:lumMod val="50000"/>
                </a:schemeClr>
              </a:solidFill>
              <a:ln>
                <a:noFill/>
              </a:ln>
              <a:effectLst/>
            </p:spPr>
            <p:txBody>
              <a:bodyPr wrap="none" anchor="ctr"/>
              <a:lstStyle/>
              <a:p>
                <a:endParaRPr lang="en-GB" sz="1400" dirty="0">
                  <a:latin typeface="+mj-lt"/>
                </a:endParaRPr>
              </a:p>
            </p:txBody>
          </p:sp>
        </p:grpSp>
        <p:grpSp>
          <p:nvGrpSpPr>
            <p:cNvPr id="8" name="Group 4">
              <a:extLst>
                <a:ext uri="{FF2B5EF4-FFF2-40B4-BE49-F238E27FC236}">
                  <a16:creationId xmlns:a16="http://schemas.microsoft.com/office/drawing/2014/main" xmlns="" id="{1891E390-97DA-440B-8DED-347881E38ADD}"/>
                </a:ext>
              </a:extLst>
            </p:cNvPr>
            <p:cNvGrpSpPr/>
            <p:nvPr/>
          </p:nvGrpSpPr>
          <p:grpSpPr>
            <a:xfrm>
              <a:off x="5328980" y="7745597"/>
              <a:ext cx="4377764" cy="3211487"/>
              <a:chOff x="9577832" y="4941160"/>
              <a:chExt cx="5221988" cy="3830802"/>
            </a:xfrm>
          </p:grpSpPr>
          <p:sp>
            <p:nvSpPr>
              <p:cNvPr id="22" name="Freeform 4">
                <a:extLst>
                  <a:ext uri="{FF2B5EF4-FFF2-40B4-BE49-F238E27FC236}">
                    <a16:creationId xmlns:a16="http://schemas.microsoft.com/office/drawing/2014/main" xmlns="" id="{86F1FD1A-EA83-48E0-A49E-032B4E11BEE9}"/>
                  </a:ext>
                </a:extLst>
              </p:cNvPr>
              <p:cNvSpPr>
                <a:spLocks noChangeArrowheads="1"/>
              </p:cNvSpPr>
              <p:nvPr/>
            </p:nvSpPr>
            <p:spPr bwMode="auto">
              <a:xfrm>
                <a:off x="9577832" y="4941160"/>
                <a:ext cx="5216227" cy="2906224"/>
              </a:xfrm>
              <a:custGeom>
                <a:avLst/>
                <a:gdLst>
                  <a:gd name="T0" fmla="*/ 4013 w 7986"/>
                  <a:gd name="T1" fmla="*/ 0 h 4450"/>
                  <a:gd name="T2" fmla="*/ 7985 w 7986"/>
                  <a:gd name="T3" fmla="*/ 2221 h 4450"/>
                  <a:gd name="T4" fmla="*/ 3970 w 7986"/>
                  <a:gd name="T5" fmla="*/ 4449 h 4450"/>
                  <a:gd name="T6" fmla="*/ 0 w 7986"/>
                  <a:gd name="T7" fmla="*/ 2229 h 4450"/>
                  <a:gd name="T8" fmla="*/ 4013 w 7986"/>
                  <a:gd name="T9" fmla="*/ 0 h 4450"/>
                </a:gdLst>
                <a:ahLst/>
                <a:cxnLst>
                  <a:cxn ang="0">
                    <a:pos x="T0" y="T1"/>
                  </a:cxn>
                  <a:cxn ang="0">
                    <a:pos x="T2" y="T3"/>
                  </a:cxn>
                  <a:cxn ang="0">
                    <a:pos x="T4" y="T5"/>
                  </a:cxn>
                  <a:cxn ang="0">
                    <a:pos x="T6" y="T7"/>
                  </a:cxn>
                  <a:cxn ang="0">
                    <a:pos x="T8" y="T9"/>
                  </a:cxn>
                </a:cxnLst>
                <a:rect l="0" t="0" r="r" b="b"/>
                <a:pathLst>
                  <a:path w="7986" h="4450">
                    <a:moveTo>
                      <a:pt x="4013" y="0"/>
                    </a:moveTo>
                    <a:lnTo>
                      <a:pt x="7985" y="2221"/>
                    </a:lnTo>
                    <a:lnTo>
                      <a:pt x="3970" y="4449"/>
                    </a:lnTo>
                    <a:lnTo>
                      <a:pt x="0" y="2229"/>
                    </a:lnTo>
                    <a:lnTo>
                      <a:pt x="4013" y="0"/>
                    </a:lnTo>
                  </a:path>
                </a:pathLst>
              </a:custGeom>
              <a:solidFill>
                <a:schemeClr val="accent2"/>
              </a:solidFill>
              <a:ln>
                <a:noFill/>
              </a:ln>
              <a:effectLst/>
            </p:spPr>
            <p:txBody>
              <a:bodyPr wrap="none" anchor="ctr"/>
              <a:lstStyle/>
              <a:p>
                <a:endParaRPr lang="en-GB" sz="1400" dirty="0">
                  <a:latin typeface="+mj-lt"/>
                </a:endParaRPr>
              </a:p>
            </p:txBody>
          </p:sp>
          <p:sp>
            <p:nvSpPr>
              <p:cNvPr id="23" name="Freeform 5">
                <a:extLst>
                  <a:ext uri="{FF2B5EF4-FFF2-40B4-BE49-F238E27FC236}">
                    <a16:creationId xmlns:a16="http://schemas.microsoft.com/office/drawing/2014/main" xmlns="" id="{D0A232F2-0C75-4059-975E-46FD4C25F42B}"/>
                  </a:ext>
                </a:extLst>
              </p:cNvPr>
              <p:cNvSpPr>
                <a:spLocks noChangeArrowheads="1"/>
              </p:cNvSpPr>
              <p:nvPr/>
            </p:nvSpPr>
            <p:spPr bwMode="auto">
              <a:xfrm>
                <a:off x="12170105" y="6392832"/>
                <a:ext cx="2629715" cy="2379130"/>
              </a:xfrm>
              <a:custGeom>
                <a:avLst/>
                <a:gdLst>
                  <a:gd name="T0" fmla="*/ 4015 w 4024"/>
                  <a:gd name="T1" fmla="*/ 0 h 3643"/>
                  <a:gd name="T2" fmla="*/ 4023 w 4024"/>
                  <a:gd name="T3" fmla="*/ 1412 h 3643"/>
                  <a:gd name="T4" fmla="*/ 9 w 4024"/>
                  <a:gd name="T5" fmla="*/ 3642 h 3643"/>
                  <a:gd name="T6" fmla="*/ 0 w 4024"/>
                  <a:gd name="T7" fmla="*/ 2228 h 3643"/>
                  <a:gd name="T8" fmla="*/ 4015 w 4024"/>
                  <a:gd name="T9" fmla="*/ 0 h 3643"/>
                </a:gdLst>
                <a:ahLst/>
                <a:cxnLst>
                  <a:cxn ang="0">
                    <a:pos x="T0" y="T1"/>
                  </a:cxn>
                  <a:cxn ang="0">
                    <a:pos x="T2" y="T3"/>
                  </a:cxn>
                  <a:cxn ang="0">
                    <a:pos x="T4" y="T5"/>
                  </a:cxn>
                  <a:cxn ang="0">
                    <a:pos x="T6" y="T7"/>
                  </a:cxn>
                  <a:cxn ang="0">
                    <a:pos x="T8" y="T9"/>
                  </a:cxn>
                </a:cxnLst>
                <a:rect l="0" t="0" r="r" b="b"/>
                <a:pathLst>
                  <a:path w="4024" h="3643">
                    <a:moveTo>
                      <a:pt x="4015" y="0"/>
                    </a:moveTo>
                    <a:lnTo>
                      <a:pt x="4023" y="1412"/>
                    </a:lnTo>
                    <a:lnTo>
                      <a:pt x="9" y="3642"/>
                    </a:lnTo>
                    <a:lnTo>
                      <a:pt x="0" y="2228"/>
                    </a:lnTo>
                    <a:lnTo>
                      <a:pt x="4015" y="0"/>
                    </a:lnTo>
                  </a:path>
                </a:pathLst>
              </a:custGeom>
              <a:solidFill>
                <a:schemeClr val="accent2">
                  <a:lumMod val="75000"/>
                </a:schemeClr>
              </a:solidFill>
              <a:ln>
                <a:noFill/>
              </a:ln>
              <a:effectLst/>
            </p:spPr>
            <p:txBody>
              <a:bodyPr wrap="none" anchor="ctr"/>
              <a:lstStyle/>
              <a:p>
                <a:endParaRPr lang="en-GB" sz="1400" dirty="0">
                  <a:latin typeface="+mj-lt"/>
                </a:endParaRPr>
              </a:p>
            </p:txBody>
          </p:sp>
          <p:sp>
            <p:nvSpPr>
              <p:cNvPr id="24" name="Freeform 6">
                <a:extLst>
                  <a:ext uri="{FF2B5EF4-FFF2-40B4-BE49-F238E27FC236}">
                    <a16:creationId xmlns:a16="http://schemas.microsoft.com/office/drawing/2014/main" xmlns="" id="{035366D1-D1FE-40B4-9D5D-EE8996EF99DB}"/>
                  </a:ext>
                </a:extLst>
              </p:cNvPr>
              <p:cNvSpPr>
                <a:spLocks noChangeArrowheads="1"/>
              </p:cNvSpPr>
              <p:nvPr/>
            </p:nvSpPr>
            <p:spPr bwMode="auto">
              <a:xfrm>
                <a:off x="9577832" y="6398592"/>
                <a:ext cx="2600912" cy="2373369"/>
              </a:xfrm>
              <a:custGeom>
                <a:avLst/>
                <a:gdLst>
                  <a:gd name="T0" fmla="*/ 3970 w 3980"/>
                  <a:gd name="T1" fmla="*/ 2220 h 3635"/>
                  <a:gd name="T2" fmla="*/ 3979 w 3980"/>
                  <a:gd name="T3" fmla="*/ 3634 h 3635"/>
                  <a:gd name="T4" fmla="*/ 9 w 3980"/>
                  <a:gd name="T5" fmla="*/ 1414 h 3635"/>
                  <a:gd name="T6" fmla="*/ 0 w 3980"/>
                  <a:gd name="T7" fmla="*/ 0 h 3635"/>
                  <a:gd name="T8" fmla="*/ 3970 w 3980"/>
                  <a:gd name="T9" fmla="*/ 2220 h 3635"/>
                </a:gdLst>
                <a:ahLst/>
                <a:cxnLst>
                  <a:cxn ang="0">
                    <a:pos x="T0" y="T1"/>
                  </a:cxn>
                  <a:cxn ang="0">
                    <a:pos x="T2" y="T3"/>
                  </a:cxn>
                  <a:cxn ang="0">
                    <a:pos x="T4" y="T5"/>
                  </a:cxn>
                  <a:cxn ang="0">
                    <a:pos x="T6" y="T7"/>
                  </a:cxn>
                  <a:cxn ang="0">
                    <a:pos x="T8" y="T9"/>
                  </a:cxn>
                </a:cxnLst>
                <a:rect l="0" t="0" r="r" b="b"/>
                <a:pathLst>
                  <a:path w="3980" h="3635">
                    <a:moveTo>
                      <a:pt x="3970" y="2220"/>
                    </a:moveTo>
                    <a:lnTo>
                      <a:pt x="3979" y="3634"/>
                    </a:lnTo>
                    <a:lnTo>
                      <a:pt x="9" y="1414"/>
                    </a:lnTo>
                    <a:lnTo>
                      <a:pt x="0" y="0"/>
                    </a:lnTo>
                    <a:lnTo>
                      <a:pt x="3970" y="2220"/>
                    </a:lnTo>
                  </a:path>
                </a:pathLst>
              </a:custGeom>
              <a:solidFill>
                <a:schemeClr val="accent2">
                  <a:lumMod val="50000"/>
                </a:schemeClr>
              </a:solidFill>
              <a:ln>
                <a:noFill/>
              </a:ln>
              <a:effectLst/>
            </p:spPr>
            <p:txBody>
              <a:bodyPr wrap="none" anchor="ctr"/>
              <a:lstStyle/>
              <a:p>
                <a:endParaRPr lang="en-GB" sz="1400" dirty="0">
                  <a:latin typeface="+mj-lt"/>
                </a:endParaRPr>
              </a:p>
            </p:txBody>
          </p:sp>
        </p:grpSp>
        <p:grpSp>
          <p:nvGrpSpPr>
            <p:cNvPr id="10" name="Group 16">
              <a:extLst>
                <a:ext uri="{FF2B5EF4-FFF2-40B4-BE49-F238E27FC236}">
                  <a16:creationId xmlns:a16="http://schemas.microsoft.com/office/drawing/2014/main" xmlns="" id="{CED8260D-1080-4CC7-998C-690DC76A4A49}"/>
                </a:ext>
              </a:extLst>
            </p:cNvPr>
            <p:cNvGrpSpPr/>
            <p:nvPr/>
          </p:nvGrpSpPr>
          <p:grpSpPr>
            <a:xfrm>
              <a:off x="9701914" y="3754179"/>
              <a:ext cx="4377764" cy="3211487"/>
              <a:chOff x="12193146" y="2562030"/>
              <a:chExt cx="5221988" cy="3830802"/>
            </a:xfrm>
          </p:grpSpPr>
          <p:sp>
            <p:nvSpPr>
              <p:cNvPr id="15" name="Freeform 1">
                <a:extLst>
                  <a:ext uri="{FF2B5EF4-FFF2-40B4-BE49-F238E27FC236}">
                    <a16:creationId xmlns:a16="http://schemas.microsoft.com/office/drawing/2014/main" xmlns="" id="{39310880-A18B-4D43-845D-5B3F782E4333}"/>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chemeClr val="accent4"/>
              </a:solidFill>
              <a:ln>
                <a:noFill/>
              </a:ln>
              <a:effectLst/>
            </p:spPr>
            <p:txBody>
              <a:bodyPr wrap="none" anchor="ctr"/>
              <a:lstStyle/>
              <a:p>
                <a:endParaRPr lang="en-GB" sz="1400" dirty="0">
                  <a:latin typeface="+mj-lt"/>
                </a:endParaRPr>
              </a:p>
            </p:txBody>
          </p:sp>
          <p:sp>
            <p:nvSpPr>
              <p:cNvPr id="17" name="Freeform 2">
                <a:extLst>
                  <a:ext uri="{FF2B5EF4-FFF2-40B4-BE49-F238E27FC236}">
                    <a16:creationId xmlns:a16="http://schemas.microsoft.com/office/drawing/2014/main" xmlns="" id="{7C390B68-99B1-4B29-B20E-75F1B0EF65FF}"/>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chemeClr val="accent4">
                  <a:lumMod val="75000"/>
                </a:schemeClr>
              </a:solidFill>
              <a:ln>
                <a:noFill/>
              </a:ln>
              <a:effectLst/>
            </p:spPr>
            <p:txBody>
              <a:bodyPr wrap="none" anchor="ctr"/>
              <a:lstStyle/>
              <a:p>
                <a:endParaRPr lang="en-GB" sz="1400" dirty="0">
                  <a:latin typeface="+mj-lt"/>
                </a:endParaRPr>
              </a:p>
            </p:txBody>
          </p:sp>
          <p:sp>
            <p:nvSpPr>
              <p:cNvPr id="18" name="Freeform 3">
                <a:extLst>
                  <a:ext uri="{FF2B5EF4-FFF2-40B4-BE49-F238E27FC236}">
                    <a16:creationId xmlns:a16="http://schemas.microsoft.com/office/drawing/2014/main" xmlns="" id="{35B5436C-2628-424C-8FC6-F8FFDAFD4965}"/>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chemeClr val="accent4">
                  <a:lumMod val="50000"/>
                </a:schemeClr>
              </a:solidFill>
              <a:ln>
                <a:noFill/>
              </a:ln>
              <a:effectLst/>
            </p:spPr>
            <p:txBody>
              <a:bodyPr wrap="none" anchor="ctr"/>
              <a:lstStyle/>
              <a:p>
                <a:endParaRPr lang="en-GB" sz="1400" dirty="0">
                  <a:latin typeface="+mj-lt"/>
                </a:endParaRPr>
              </a:p>
            </p:txBody>
          </p:sp>
        </p:grpSp>
        <p:grpSp>
          <p:nvGrpSpPr>
            <p:cNvPr id="11" name="Group 20">
              <a:extLst>
                <a:ext uri="{FF2B5EF4-FFF2-40B4-BE49-F238E27FC236}">
                  <a16:creationId xmlns:a16="http://schemas.microsoft.com/office/drawing/2014/main" xmlns="" id="{AA880F55-B479-4FA7-9C58-81D714E76435}"/>
                </a:ext>
              </a:extLst>
            </p:cNvPr>
            <p:cNvGrpSpPr/>
            <p:nvPr/>
          </p:nvGrpSpPr>
          <p:grpSpPr>
            <a:xfrm>
              <a:off x="11894418" y="1762088"/>
              <a:ext cx="4377764" cy="3211487"/>
              <a:chOff x="12193146" y="2562030"/>
              <a:chExt cx="5221988" cy="3830802"/>
            </a:xfrm>
          </p:grpSpPr>
          <p:sp>
            <p:nvSpPr>
              <p:cNvPr id="12" name="Freeform 1">
                <a:extLst>
                  <a:ext uri="{FF2B5EF4-FFF2-40B4-BE49-F238E27FC236}">
                    <a16:creationId xmlns:a16="http://schemas.microsoft.com/office/drawing/2014/main" xmlns="" id="{846AC122-EDAD-404C-817F-0235E3E95ABC}"/>
                  </a:ext>
                </a:extLst>
              </p:cNvPr>
              <p:cNvSpPr>
                <a:spLocks noChangeArrowheads="1"/>
              </p:cNvSpPr>
              <p:nvPr/>
            </p:nvSpPr>
            <p:spPr bwMode="auto">
              <a:xfrm>
                <a:off x="12193146" y="2562030"/>
                <a:ext cx="5216227" cy="2906224"/>
              </a:xfrm>
              <a:custGeom>
                <a:avLst/>
                <a:gdLst>
                  <a:gd name="T0" fmla="*/ 4014 w 7985"/>
                  <a:gd name="T1" fmla="*/ 0 h 4451"/>
                  <a:gd name="T2" fmla="*/ 7984 w 7985"/>
                  <a:gd name="T3" fmla="*/ 2220 h 4451"/>
                  <a:gd name="T4" fmla="*/ 3971 w 7985"/>
                  <a:gd name="T5" fmla="*/ 4450 h 4451"/>
                  <a:gd name="T6" fmla="*/ 0 w 7985"/>
                  <a:gd name="T7" fmla="*/ 2229 h 4451"/>
                  <a:gd name="T8" fmla="*/ 4014 w 7985"/>
                  <a:gd name="T9" fmla="*/ 0 h 4451"/>
                </a:gdLst>
                <a:ahLst/>
                <a:cxnLst>
                  <a:cxn ang="0">
                    <a:pos x="T0" y="T1"/>
                  </a:cxn>
                  <a:cxn ang="0">
                    <a:pos x="T2" y="T3"/>
                  </a:cxn>
                  <a:cxn ang="0">
                    <a:pos x="T4" y="T5"/>
                  </a:cxn>
                  <a:cxn ang="0">
                    <a:pos x="T6" y="T7"/>
                  </a:cxn>
                  <a:cxn ang="0">
                    <a:pos x="T8" y="T9"/>
                  </a:cxn>
                </a:cxnLst>
                <a:rect l="0" t="0" r="r" b="b"/>
                <a:pathLst>
                  <a:path w="7985" h="4451">
                    <a:moveTo>
                      <a:pt x="4014" y="0"/>
                    </a:moveTo>
                    <a:lnTo>
                      <a:pt x="7984" y="2220"/>
                    </a:lnTo>
                    <a:lnTo>
                      <a:pt x="3971" y="4450"/>
                    </a:lnTo>
                    <a:lnTo>
                      <a:pt x="0" y="2229"/>
                    </a:lnTo>
                    <a:lnTo>
                      <a:pt x="4014" y="0"/>
                    </a:lnTo>
                  </a:path>
                </a:pathLst>
              </a:custGeom>
              <a:solidFill>
                <a:schemeClr val="accent5"/>
              </a:solidFill>
              <a:ln>
                <a:noFill/>
              </a:ln>
              <a:effectLst/>
            </p:spPr>
            <p:txBody>
              <a:bodyPr wrap="none" anchor="ctr"/>
              <a:lstStyle/>
              <a:p>
                <a:endParaRPr lang="en-GB" sz="1400" dirty="0">
                  <a:latin typeface="+mj-lt"/>
                </a:endParaRPr>
              </a:p>
            </p:txBody>
          </p:sp>
          <p:sp>
            <p:nvSpPr>
              <p:cNvPr id="13" name="Freeform 2">
                <a:extLst>
                  <a:ext uri="{FF2B5EF4-FFF2-40B4-BE49-F238E27FC236}">
                    <a16:creationId xmlns:a16="http://schemas.microsoft.com/office/drawing/2014/main" xmlns="" id="{3DA8A495-29CF-4867-BD2E-C5CA819D4098}"/>
                  </a:ext>
                </a:extLst>
              </p:cNvPr>
              <p:cNvSpPr>
                <a:spLocks noChangeArrowheads="1"/>
              </p:cNvSpPr>
              <p:nvPr/>
            </p:nvSpPr>
            <p:spPr bwMode="auto">
              <a:xfrm>
                <a:off x="14788298" y="4013702"/>
                <a:ext cx="2626836" cy="2379130"/>
              </a:xfrm>
              <a:custGeom>
                <a:avLst/>
                <a:gdLst>
                  <a:gd name="T0" fmla="*/ 4013 w 4023"/>
                  <a:gd name="T1" fmla="*/ 0 h 3644"/>
                  <a:gd name="T2" fmla="*/ 4022 w 4023"/>
                  <a:gd name="T3" fmla="*/ 1414 h 3644"/>
                  <a:gd name="T4" fmla="*/ 9 w 4023"/>
                  <a:gd name="T5" fmla="*/ 3643 h 3644"/>
                  <a:gd name="T6" fmla="*/ 0 w 4023"/>
                  <a:gd name="T7" fmla="*/ 2230 h 3644"/>
                  <a:gd name="T8" fmla="*/ 4013 w 4023"/>
                  <a:gd name="T9" fmla="*/ 0 h 3644"/>
                </a:gdLst>
                <a:ahLst/>
                <a:cxnLst>
                  <a:cxn ang="0">
                    <a:pos x="T0" y="T1"/>
                  </a:cxn>
                  <a:cxn ang="0">
                    <a:pos x="T2" y="T3"/>
                  </a:cxn>
                  <a:cxn ang="0">
                    <a:pos x="T4" y="T5"/>
                  </a:cxn>
                  <a:cxn ang="0">
                    <a:pos x="T6" y="T7"/>
                  </a:cxn>
                  <a:cxn ang="0">
                    <a:pos x="T8" y="T9"/>
                  </a:cxn>
                </a:cxnLst>
                <a:rect l="0" t="0" r="r" b="b"/>
                <a:pathLst>
                  <a:path w="4023" h="3644">
                    <a:moveTo>
                      <a:pt x="4013" y="0"/>
                    </a:moveTo>
                    <a:lnTo>
                      <a:pt x="4022" y="1414"/>
                    </a:lnTo>
                    <a:lnTo>
                      <a:pt x="9" y="3643"/>
                    </a:lnTo>
                    <a:lnTo>
                      <a:pt x="0" y="2230"/>
                    </a:lnTo>
                    <a:lnTo>
                      <a:pt x="4013" y="0"/>
                    </a:lnTo>
                  </a:path>
                </a:pathLst>
              </a:custGeom>
              <a:solidFill>
                <a:schemeClr val="accent5">
                  <a:lumMod val="75000"/>
                </a:schemeClr>
              </a:solidFill>
              <a:ln>
                <a:noFill/>
              </a:ln>
              <a:effectLst/>
            </p:spPr>
            <p:txBody>
              <a:bodyPr wrap="none" anchor="ctr"/>
              <a:lstStyle/>
              <a:p>
                <a:endParaRPr lang="en-GB" sz="1400" dirty="0">
                  <a:latin typeface="+mj-lt"/>
                </a:endParaRPr>
              </a:p>
            </p:txBody>
          </p:sp>
          <p:sp>
            <p:nvSpPr>
              <p:cNvPr id="14" name="Freeform 3">
                <a:extLst>
                  <a:ext uri="{FF2B5EF4-FFF2-40B4-BE49-F238E27FC236}">
                    <a16:creationId xmlns:a16="http://schemas.microsoft.com/office/drawing/2014/main" xmlns="" id="{CB914EB3-2CBF-4DAA-98FD-C70517AAE7FB}"/>
                  </a:ext>
                </a:extLst>
              </p:cNvPr>
              <p:cNvSpPr>
                <a:spLocks noChangeArrowheads="1"/>
              </p:cNvSpPr>
              <p:nvPr/>
            </p:nvSpPr>
            <p:spPr bwMode="auto">
              <a:xfrm>
                <a:off x="12193146" y="4019462"/>
                <a:ext cx="2600912" cy="2373369"/>
              </a:xfrm>
              <a:custGeom>
                <a:avLst/>
                <a:gdLst>
                  <a:gd name="T0" fmla="*/ 3971 w 3981"/>
                  <a:gd name="T1" fmla="*/ 2221 h 3635"/>
                  <a:gd name="T2" fmla="*/ 3980 w 3981"/>
                  <a:gd name="T3" fmla="*/ 3634 h 3635"/>
                  <a:gd name="T4" fmla="*/ 8 w 3981"/>
                  <a:gd name="T5" fmla="*/ 1414 h 3635"/>
                  <a:gd name="T6" fmla="*/ 0 w 3981"/>
                  <a:gd name="T7" fmla="*/ 0 h 3635"/>
                  <a:gd name="T8" fmla="*/ 3971 w 3981"/>
                  <a:gd name="T9" fmla="*/ 2221 h 3635"/>
                </a:gdLst>
                <a:ahLst/>
                <a:cxnLst>
                  <a:cxn ang="0">
                    <a:pos x="T0" y="T1"/>
                  </a:cxn>
                  <a:cxn ang="0">
                    <a:pos x="T2" y="T3"/>
                  </a:cxn>
                  <a:cxn ang="0">
                    <a:pos x="T4" y="T5"/>
                  </a:cxn>
                  <a:cxn ang="0">
                    <a:pos x="T6" y="T7"/>
                  </a:cxn>
                  <a:cxn ang="0">
                    <a:pos x="T8" y="T9"/>
                  </a:cxn>
                </a:cxnLst>
                <a:rect l="0" t="0" r="r" b="b"/>
                <a:pathLst>
                  <a:path w="3981" h="3635">
                    <a:moveTo>
                      <a:pt x="3971" y="2221"/>
                    </a:moveTo>
                    <a:lnTo>
                      <a:pt x="3980" y="3634"/>
                    </a:lnTo>
                    <a:lnTo>
                      <a:pt x="8" y="1414"/>
                    </a:lnTo>
                    <a:lnTo>
                      <a:pt x="0" y="0"/>
                    </a:lnTo>
                    <a:lnTo>
                      <a:pt x="3971" y="2221"/>
                    </a:lnTo>
                  </a:path>
                </a:pathLst>
              </a:custGeom>
              <a:solidFill>
                <a:schemeClr val="accent5">
                  <a:lumMod val="50000"/>
                </a:schemeClr>
              </a:solidFill>
              <a:ln>
                <a:noFill/>
              </a:ln>
              <a:effectLst/>
            </p:spPr>
            <p:txBody>
              <a:bodyPr wrap="none" anchor="ctr"/>
              <a:lstStyle/>
              <a:p>
                <a:endParaRPr lang="en-GB" sz="1400" dirty="0">
                  <a:latin typeface="+mj-lt"/>
                </a:endParaRPr>
              </a:p>
            </p:txBody>
          </p:sp>
        </p:grpSp>
      </p:grpSp>
      <p:sp>
        <p:nvSpPr>
          <p:cNvPr id="28" name="TextBox 32">
            <a:extLst>
              <a:ext uri="{FF2B5EF4-FFF2-40B4-BE49-F238E27FC236}">
                <a16:creationId xmlns:a16="http://schemas.microsoft.com/office/drawing/2014/main" xmlns="" id="{0182BA73-8298-407A-A7D7-4E4E223EA1ED}"/>
              </a:ext>
            </a:extLst>
          </p:cNvPr>
          <p:cNvSpPr txBox="1"/>
          <p:nvPr/>
        </p:nvSpPr>
        <p:spPr>
          <a:xfrm>
            <a:off x="5083860" y="2250328"/>
            <a:ext cx="2757551" cy="369332"/>
          </a:xfrm>
          <a:prstGeom prst="rect">
            <a:avLst/>
          </a:prstGeom>
          <a:noFill/>
        </p:spPr>
        <p:txBody>
          <a:bodyPr wrap="none" rtlCol="0" anchor="b" anchorCtr="0">
            <a:spAutoFit/>
          </a:bodyPr>
          <a:lstStyle/>
          <a:p>
            <a:pPr algn="r"/>
            <a:r>
              <a:rPr lang="en-GB" b="1" dirty="0">
                <a:solidFill>
                  <a:schemeClr val="tx2"/>
                </a:solidFill>
                <a:latin typeface="+mj-lt"/>
                <a:ea typeface="League Spartan" charset="0"/>
                <a:cs typeface="Poppins" pitchFamily="2" charset="77"/>
              </a:rPr>
              <a:t>Transparent Communication</a:t>
            </a:r>
          </a:p>
        </p:txBody>
      </p:sp>
      <p:sp>
        <p:nvSpPr>
          <p:cNvPr id="29" name="Subtitle 2">
            <a:extLst>
              <a:ext uri="{FF2B5EF4-FFF2-40B4-BE49-F238E27FC236}">
                <a16:creationId xmlns:a16="http://schemas.microsoft.com/office/drawing/2014/main" xmlns="" id="{395CF6FB-F6BD-430D-AB0A-DD182A199057}"/>
              </a:ext>
            </a:extLst>
          </p:cNvPr>
          <p:cNvSpPr txBox="1">
            <a:spLocks/>
          </p:cNvSpPr>
          <p:nvPr/>
        </p:nvSpPr>
        <p:spPr>
          <a:xfrm>
            <a:off x="4508951" y="2527597"/>
            <a:ext cx="3294359"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spcAft>
                <a:spcPts val="675"/>
              </a:spcAft>
            </a:pPr>
            <a:r>
              <a:rPr lang="en-GB" sz="1600" dirty="0">
                <a:solidFill>
                  <a:srgbClr val="245473"/>
                </a:solidFill>
                <a:latin typeface="+mj-lt"/>
                <a:ea typeface="Lato Light" panose="020F0502020204030203" pitchFamily="34" charset="0"/>
                <a:cs typeface="Mukta ExtraLight" panose="020B0000000000000000" pitchFamily="34" charset="77"/>
              </a:rPr>
              <a:t>Commit to transparent and consistent internal and external communication</a:t>
            </a:r>
          </a:p>
        </p:txBody>
      </p:sp>
      <p:sp>
        <p:nvSpPr>
          <p:cNvPr id="32" name="TextBox 45">
            <a:extLst>
              <a:ext uri="{FF2B5EF4-FFF2-40B4-BE49-F238E27FC236}">
                <a16:creationId xmlns:a16="http://schemas.microsoft.com/office/drawing/2014/main" xmlns="" id="{43AB407D-B290-417F-9879-C1BE8796A733}"/>
              </a:ext>
            </a:extLst>
          </p:cNvPr>
          <p:cNvSpPr txBox="1"/>
          <p:nvPr/>
        </p:nvSpPr>
        <p:spPr>
          <a:xfrm>
            <a:off x="7252388" y="5180149"/>
            <a:ext cx="3486724"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Do what is necessary when it’s necessary</a:t>
            </a:r>
          </a:p>
        </p:txBody>
      </p:sp>
      <p:sp>
        <p:nvSpPr>
          <p:cNvPr id="33" name="Subtitle 2">
            <a:extLst>
              <a:ext uri="{FF2B5EF4-FFF2-40B4-BE49-F238E27FC236}">
                <a16:creationId xmlns:a16="http://schemas.microsoft.com/office/drawing/2014/main" xmlns="" id="{8692E1CC-FEC8-4466-BF90-1CB500856813}"/>
              </a:ext>
            </a:extLst>
          </p:cNvPr>
          <p:cNvSpPr txBox="1">
            <a:spLocks/>
          </p:cNvSpPr>
          <p:nvPr/>
        </p:nvSpPr>
        <p:spPr>
          <a:xfrm>
            <a:off x="7300011" y="5452027"/>
            <a:ext cx="4521875"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spcAft>
                <a:spcPts val="675"/>
              </a:spcAft>
            </a:pPr>
            <a:r>
              <a:rPr lang="en-GB" sz="1600" dirty="0">
                <a:solidFill>
                  <a:srgbClr val="245473"/>
                </a:solidFill>
                <a:latin typeface="+mj-lt"/>
                <a:ea typeface="Lato Light" panose="020F0502020204030203" pitchFamily="34" charset="0"/>
                <a:cs typeface="Mukta ExtraLight" panose="020B0000000000000000" pitchFamily="34" charset="77"/>
              </a:rPr>
              <a:t>Throw away your calendar - involve all stakeholders around the clock</a:t>
            </a:r>
          </a:p>
        </p:txBody>
      </p:sp>
      <p:sp>
        <p:nvSpPr>
          <p:cNvPr id="34" name="TextBox 48">
            <a:extLst>
              <a:ext uri="{FF2B5EF4-FFF2-40B4-BE49-F238E27FC236}">
                <a16:creationId xmlns:a16="http://schemas.microsoft.com/office/drawing/2014/main" xmlns="" id="{75B738D5-2461-470F-804F-3348A580EFBF}"/>
              </a:ext>
            </a:extLst>
          </p:cNvPr>
          <p:cNvSpPr txBox="1"/>
          <p:nvPr/>
        </p:nvSpPr>
        <p:spPr>
          <a:xfrm>
            <a:off x="8087614" y="4312662"/>
            <a:ext cx="1127232"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Be a Leader</a:t>
            </a:r>
          </a:p>
        </p:txBody>
      </p:sp>
      <p:sp>
        <p:nvSpPr>
          <p:cNvPr id="35" name="Subtitle 2">
            <a:extLst>
              <a:ext uri="{FF2B5EF4-FFF2-40B4-BE49-F238E27FC236}">
                <a16:creationId xmlns:a16="http://schemas.microsoft.com/office/drawing/2014/main" xmlns="" id="{B1898D98-917E-4EE4-805C-23C023E5A491}"/>
              </a:ext>
            </a:extLst>
          </p:cNvPr>
          <p:cNvSpPr txBox="1">
            <a:spLocks/>
          </p:cNvSpPr>
          <p:nvPr/>
        </p:nvSpPr>
        <p:spPr>
          <a:xfrm>
            <a:off x="8135238" y="4584539"/>
            <a:ext cx="4247155"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spcAft>
                <a:spcPts val="675"/>
              </a:spcAft>
            </a:pPr>
            <a:r>
              <a:rPr lang="en-GB" sz="1600" dirty="0">
                <a:solidFill>
                  <a:srgbClr val="245473"/>
                </a:solidFill>
                <a:latin typeface="+mj-lt"/>
                <a:ea typeface="Lato Light" panose="020F0502020204030203" pitchFamily="34" charset="0"/>
                <a:cs typeface="Mukta ExtraLight" panose="020B0000000000000000" pitchFamily="34" charset="77"/>
              </a:rPr>
              <a:t>Provide visible CEO and senior leadership involvement. Own the problem yourself </a:t>
            </a:r>
          </a:p>
        </p:txBody>
      </p:sp>
      <p:sp>
        <p:nvSpPr>
          <p:cNvPr id="38" name="TextBox 32">
            <a:extLst>
              <a:ext uri="{FF2B5EF4-FFF2-40B4-BE49-F238E27FC236}">
                <a16:creationId xmlns:a16="http://schemas.microsoft.com/office/drawing/2014/main" xmlns="" id="{484A0FF1-DB9D-4E46-9BB9-FF420557D505}"/>
              </a:ext>
            </a:extLst>
          </p:cNvPr>
          <p:cNvSpPr txBox="1"/>
          <p:nvPr/>
        </p:nvSpPr>
        <p:spPr>
          <a:xfrm>
            <a:off x="5004441" y="3225972"/>
            <a:ext cx="2108462" cy="338554"/>
          </a:xfrm>
          <a:prstGeom prst="rect">
            <a:avLst/>
          </a:prstGeom>
          <a:noFill/>
        </p:spPr>
        <p:txBody>
          <a:bodyPr wrap="none" rtlCol="0" anchor="b" anchorCtr="0">
            <a:spAutoFit/>
          </a:bodyPr>
          <a:lstStyle/>
          <a:p>
            <a:pPr algn="r"/>
            <a:r>
              <a:rPr lang="en-GB" sz="1600" b="1" dirty="0">
                <a:solidFill>
                  <a:schemeClr val="tx2"/>
                </a:solidFill>
                <a:latin typeface="+mj-lt"/>
                <a:ea typeface="League Spartan" charset="0"/>
                <a:cs typeface="Poppins" pitchFamily="2" charset="77"/>
              </a:rPr>
              <a:t>Prompt Communication</a:t>
            </a:r>
          </a:p>
        </p:txBody>
      </p:sp>
      <p:sp>
        <p:nvSpPr>
          <p:cNvPr id="39" name="Subtitle 2">
            <a:extLst>
              <a:ext uri="{FF2B5EF4-FFF2-40B4-BE49-F238E27FC236}">
                <a16:creationId xmlns:a16="http://schemas.microsoft.com/office/drawing/2014/main" xmlns="" id="{93984BA3-DF72-4BC2-945D-9266C1573123}"/>
              </a:ext>
            </a:extLst>
          </p:cNvPr>
          <p:cNvSpPr txBox="1">
            <a:spLocks/>
          </p:cNvSpPr>
          <p:nvPr/>
        </p:nvSpPr>
        <p:spPr>
          <a:xfrm>
            <a:off x="4160493" y="3517165"/>
            <a:ext cx="2914309" cy="52707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spcAft>
                <a:spcPts val="675"/>
              </a:spcAft>
            </a:pPr>
            <a:r>
              <a:rPr lang="en-GB" sz="1600" dirty="0">
                <a:solidFill>
                  <a:srgbClr val="245473"/>
                </a:solidFill>
                <a:latin typeface="+mj-lt"/>
                <a:ea typeface="Lato Light" panose="020F0502020204030203" pitchFamily="34" charset="0"/>
                <a:cs typeface="Mukta ExtraLight" panose="020B0000000000000000" pitchFamily="34" charset="77"/>
              </a:rPr>
              <a:t>Provide prompt and proactive communication</a:t>
            </a:r>
          </a:p>
        </p:txBody>
      </p:sp>
    </p:spTree>
    <p:extLst>
      <p:ext uri="{BB962C8B-B14F-4D97-AF65-F5344CB8AC3E}">
        <p14:creationId xmlns:p14="http://schemas.microsoft.com/office/powerpoint/2010/main" val="313556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2198166" y="524347"/>
            <a:ext cx="8852375" cy="1046310"/>
          </a:xfrm>
        </p:spPr>
        <p:txBody>
          <a:bodyPr>
            <a:normAutofit fontScale="92500" lnSpcReduction="10000"/>
          </a:bodyPr>
          <a:lstStyle/>
          <a:p>
            <a:r>
              <a:rPr lang="en-GB" dirty="0">
                <a:highlight>
                  <a:srgbClr val="C01F75"/>
                </a:highlight>
              </a:rPr>
              <a:t>WATCH</a:t>
            </a:r>
          </a:p>
          <a:p>
            <a:r>
              <a:rPr lang="en-GB" dirty="0"/>
              <a:t>Mindsight &amp; Emotional Intelligence in Leadership</a:t>
            </a:r>
          </a:p>
        </p:txBody>
      </p:sp>
      <p:sp>
        <p:nvSpPr>
          <p:cNvPr id="28" name="Rechteck 27">
            <a:extLst>
              <a:ext uri="{FF2B5EF4-FFF2-40B4-BE49-F238E27FC236}">
                <a16:creationId xmlns:a16="http://schemas.microsoft.com/office/drawing/2014/main" xmlns="" id="{98670D1F-3C08-4A05-AA8F-091E4EC900BD}"/>
              </a:ext>
            </a:extLst>
          </p:cNvPr>
          <p:cNvSpPr/>
          <p:nvPr/>
        </p:nvSpPr>
        <p:spPr>
          <a:xfrm>
            <a:off x="550278" y="6310824"/>
            <a:ext cx="7015179" cy="260502"/>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Source: </a:t>
            </a:r>
            <a:r>
              <a:rPr lang="en-GB" sz="1000" dirty="0" err="1">
                <a:latin typeface="+mj-lt"/>
              </a:rPr>
              <a:t>Dr.</a:t>
            </a:r>
            <a:r>
              <a:rPr lang="en-GB" sz="1000" dirty="0">
                <a:latin typeface="+mj-lt"/>
              </a:rPr>
              <a:t> Daniel Goleman| </a:t>
            </a:r>
            <a:r>
              <a:rPr lang="en-GB" sz="1000" dirty="0" err="1">
                <a:latin typeface="+mj-lt"/>
              </a:rPr>
              <a:t>Youtube</a:t>
            </a:r>
            <a:r>
              <a:rPr lang="en-GB" sz="1000" dirty="0">
                <a:latin typeface="+mj-lt"/>
              </a:rPr>
              <a:t>: </a:t>
            </a:r>
            <a:r>
              <a:rPr lang="en-GB" sz="1000" dirty="0">
                <a:hlinkClick r:id="rId8"/>
              </a:rPr>
              <a:t>https://www.youtube.com/watch?v=heRCxqQmrGQ</a:t>
            </a:r>
            <a:r>
              <a:rPr lang="en-GB" sz="1000" dirty="0"/>
              <a:t> | Length: 5:11</a:t>
            </a:r>
            <a:endParaRPr lang="en-GB" sz="1000" dirty="0">
              <a:latin typeface="+mj-lt"/>
            </a:endParaRPr>
          </a:p>
        </p:txBody>
      </p:sp>
      <p:pic>
        <p:nvPicPr>
          <p:cNvPr id="29" name="Picture 22" descr="iMac.png">
            <a:extLst>
              <a:ext uri="{FF2B5EF4-FFF2-40B4-BE49-F238E27FC236}">
                <a16:creationId xmlns:a16="http://schemas.microsoft.com/office/drawing/2014/main" xmlns="" id="{342333D4-743F-4D63-8568-7794FADD8C3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997934" y="1642311"/>
            <a:ext cx="5428649" cy="4802162"/>
          </a:xfrm>
          <a:prstGeom prst="rect">
            <a:avLst/>
          </a:prstGeom>
        </p:spPr>
      </p:pic>
      <p:pic>
        <p:nvPicPr>
          <p:cNvPr id="5" name="Onlinemedien 4" title="Daniel Goleman: Three Levels of Organizational Awareness">
            <a:hlinkClick r:id="" action="ppaction://media"/>
            <a:extLst>
              <a:ext uri="{FF2B5EF4-FFF2-40B4-BE49-F238E27FC236}">
                <a16:creationId xmlns:a16="http://schemas.microsoft.com/office/drawing/2014/main" xmlns="" id="{60E5323C-6768-451D-A1F1-66CAD700516D}"/>
              </a:ext>
            </a:extLst>
          </p:cNvPr>
          <p:cNvPicPr>
            <a:picLocks noRot="1" noChangeAspect="1"/>
          </p:cNvPicPr>
          <p:nvPr>
            <a:videoFile r:link="rId3"/>
          </p:nvPr>
        </p:nvPicPr>
        <p:blipFill>
          <a:blip r:embed="rId10"/>
          <a:stretch>
            <a:fillRect/>
          </a:stretch>
        </p:blipFill>
        <p:spPr>
          <a:xfrm>
            <a:off x="4649245" y="2310193"/>
            <a:ext cx="4174992" cy="2348433"/>
          </a:xfrm>
          <a:prstGeom prst="rect">
            <a:avLst/>
          </a:prstGeom>
        </p:spPr>
      </p:pic>
      <p:sp>
        <p:nvSpPr>
          <p:cNvPr id="8" name="TextBox 7">
            <a:extLst>
              <a:ext uri="{FF2B5EF4-FFF2-40B4-BE49-F238E27FC236}">
                <a16:creationId xmlns:a16="http://schemas.microsoft.com/office/drawing/2014/main" xmlns="" id="{C01D9471-04DB-4970-9D81-FDC4393E4FF6}"/>
              </a:ext>
            </a:extLst>
          </p:cNvPr>
          <p:cNvSpPr txBox="1"/>
          <p:nvPr/>
        </p:nvSpPr>
        <p:spPr>
          <a:xfrm>
            <a:off x="398400" y="2056108"/>
            <a:ext cx="3599533" cy="3477875"/>
          </a:xfrm>
          <a:prstGeom prst="rect">
            <a:avLst/>
          </a:prstGeom>
          <a:noFill/>
        </p:spPr>
        <p:txBody>
          <a:bodyPr wrap="square">
            <a:spAutoFit/>
          </a:bodyPr>
          <a:lstStyle/>
          <a:p>
            <a:r>
              <a:rPr lang="en-GB" sz="2200" b="0" i="0" dirty="0" err="1">
                <a:solidFill>
                  <a:srgbClr val="245473"/>
                </a:solidFill>
                <a:effectLst/>
                <a:latin typeface="+mj-lt"/>
              </a:rPr>
              <a:t>Dr.</a:t>
            </a:r>
            <a:r>
              <a:rPr lang="en-GB" sz="2200" b="0" i="0" dirty="0">
                <a:solidFill>
                  <a:srgbClr val="245473"/>
                </a:solidFill>
                <a:effectLst/>
                <a:latin typeface="+mj-lt"/>
              </a:rPr>
              <a:t> Daniel Goleman shares the  fascinating science basis for leadership development in the Brainpower video series. In this excerpt, </a:t>
            </a:r>
            <a:r>
              <a:rPr lang="en-GB" sz="2200" b="0" i="0" dirty="0" err="1">
                <a:solidFill>
                  <a:srgbClr val="245473"/>
                </a:solidFill>
                <a:effectLst/>
                <a:latin typeface="+mj-lt"/>
              </a:rPr>
              <a:t>Dr.</a:t>
            </a:r>
            <a:r>
              <a:rPr lang="en-GB" sz="2200" b="0" i="0" dirty="0">
                <a:solidFill>
                  <a:srgbClr val="245473"/>
                </a:solidFill>
                <a:effectLst/>
                <a:latin typeface="+mj-lt"/>
              </a:rPr>
              <a:t> Goleman highlights ways effective leaders employ systems thinking into their business strategy, motivational tactics, and organizational vision.</a:t>
            </a:r>
            <a:endParaRPr lang="en-IE" sz="2200" dirty="0">
              <a:solidFill>
                <a:srgbClr val="245473"/>
              </a:solidFill>
              <a:latin typeface="+mj-lt"/>
            </a:endParaRPr>
          </a:p>
        </p:txBody>
      </p:sp>
    </p:spTree>
    <p:extLst>
      <p:ext uri="{BB962C8B-B14F-4D97-AF65-F5344CB8AC3E}">
        <p14:creationId xmlns:p14="http://schemas.microsoft.com/office/powerpoint/2010/main" val="1523509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332612" y="-163286"/>
            <a:ext cx="9821959" cy="1582271"/>
          </a:xfrm>
        </p:spPr>
        <p:txBody>
          <a:bodyPr/>
          <a:lstStyle/>
          <a:p>
            <a:r>
              <a:rPr lang="en-GB" b="1" dirty="0"/>
              <a:t>What you will learn from Module 06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983867"/>
            <a:ext cx="10729959" cy="5416868"/>
          </a:xfrm>
          <a:prstGeom prst="rect">
            <a:avLst/>
          </a:prstGeom>
          <a:noFill/>
        </p:spPr>
        <p:txBody>
          <a:bodyPr wrap="square">
            <a:spAutoFit/>
          </a:bodyPr>
          <a:lstStyle/>
          <a:p>
            <a:r>
              <a:rPr lang="en-GB" sz="2200" dirty="0">
                <a:solidFill>
                  <a:schemeClr val="bg1"/>
                </a:solidFill>
                <a:latin typeface="+mj-lt"/>
              </a:rPr>
              <a:t>In this Module, y</a:t>
            </a:r>
            <a:r>
              <a:rPr lang="en-IE" sz="2200" dirty="0" err="1">
                <a:solidFill>
                  <a:schemeClr val="bg1"/>
                </a:solidFill>
                <a:latin typeface="+mj-lt"/>
              </a:rPr>
              <a:t>ou</a:t>
            </a:r>
            <a:r>
              <a:rPr lang="en-IE" sz="2200" dirty="0">
                <a:solidFill>
                  <a:schemeClr val="bg1"/>
                </a:solidFill>
                <a:latin typeface="+mj-lt"/>
              </a:rPr>
              <a:t> will benefit from learning to </a:t>
            </a:r>
          </a:p>
          <a:p>
            <a:endParaRPr lang="en-IE" sz="2200" dirty="0">
              <a:solidFill>
                <a:schemeClr val="bg1"/>
              </a:solidFill>
              <a:latin typeface="+mj-lt"/>
            </a:endParaRPr>
          </a:p>
          <a:p>
            <a:pPr marL="285750" indent="-285750">
              <a:buFont typeface="Arial" panose="020B0604020202020204" pitchFamily="34" charset="0"/>
              <a:buChar char="•"/>
            </a:pPr>
            <a:r>
              <a:rPr lang="en-GB" sz="2200" dirty="0">
                <a:solidFill>
                  <a:schemeClr val="bg1"/>
                </a:solidFill>
                <a:latin typeface="+mj-lt"/>
              </a:rPr>
              <a:t>Understand leadership in crisis, the myths and the reality</a:t>
            </a:r>
          </a:p>
          <a:p>
            <a:pPr marL="285750" indent="-285750">
              <a:buFont typeface="Arial" panose="020B0604020202020204" pitchFamily="34" charset="0"/>
              <a:buChar char="•"/>
            </a:pPr>
            <a:r>
              <a:rPr lang="en-GB" sz="2200" dirty="0">
                <a:solidFill>
                  <a:schemeClr val="bg1"/>
                </a:solidFill>
                <a:latin typeface="+mj-lt"/>
              </a:rPr>
              <a:t>Differentiate between leadership versus management </a:t>
            </a:r>
          </a:p>
          <a:p>
            <a:pPr marL="285750" indent="-285750">
              <a:buFont typeface="Arial" panose="020B0604020202020204" pitchFamily="34" charset="0"/>
              <a:buChar char="•"/>
            </a:pPr>
            <a:r>
              <a:rPr lang="en-GB" sz="2200" dirty="0">
                <a:solidFill>
                  <a:schemeClr val="bg1"/>
                </a:solidFill>
                <a:latin typeface="+mj-lt"/>
              </a:rPr>
              <a:t>Benefit from 5 important tips for leading in crisis</a:t>
            </a:r>
          </a:p>
          <a:p>
            <a:pPr marL="285750" indent="-285750">
              <a:buFont typeface="Arial" panose="020B0604020202020204" pitchFamily="34" charset="0"/>
              <a:buChar char="•"/>
            </a:pPr>
            <a:r>
              <a:rPr lang="en-GB" sz="2200" dirty="0">
                <a:solidFill>
                  <a:schemeClr val="bg1"/>
                </a:solidFill>
                <a:latin typeface="+mj-lt"/>
              </a:rPr>
              <a:t>Understand different management styles and decision making processes</a:t>
            </a:r>
          </a:p>
          <a:p>
            <a:pPr marL="285750" indent="-285750">
              <a:buFont typeface="Arial" panose="020B0604020202020204" pitchFamily="34" charset="0"/>
              <a:buChar char="•"/>
            </a:pPr>
            <a:r>
              <a:rPr lang="en-GB" sz="2200" dirty="0">
                <a:solidFill>
                  <a:schemeClr val="bg1"/>
                </a:solidFill>
                <a:latin typeface="+mj-lt"/>
              </a:rPr>
              <a:t>Determine personality profiles</a:t>
            </a:r>
          </a:p>
          <a:p>
            <a:pPr marL="285750" indent="-285750">
              <a:buFont typeface="Arial" panose="020B0604020202020204" pitchFamily="34" charset="0"/>
              <a:buChar char="•"/>
            </a:pPr>
            <a:r>
              <a:rPr lang="en-GB" sz="2200" dirty="0">
                <a:solidFill>
                  <a:schemeClr val="bg1"/>
                </a:solidFill>
                <a:latin typeface="+mj-lt"/>
              </a:rPr>
              <a:t>Upskill in the guiding principles of leadership in crisis</a:t>
            </a:r>
          </a:p>
          <a:p>
            <a:pPr marL="285750" indent="-285750">
              <a:buFont typeface="Arial" panose="020B0604020202020204" pitchFamily="34" charset="0"/>
              <a:buChar char="•"/>
            </a:pPr>
            <a:r>
              <a:rPr lang="en-GB" sz="2200" dirty="0">
                <a:solidFill>
                  <a:schemeClr val="bg1"/>
                </a:solidFill>
                <a:latin typeface="+mj-lt"/>
              </a:rPr>
              <a:t>Understand the importance and skills of business crisis communication</a:t>
            </a:r>
          </a:p>
          <a:p>
            <a:pPr marL="285750" indent="-285750">
              <a:buFont typeface="Arial" panose="020B0604020202020204" pitchFamily="34" charset="0"/>
              <a:buChar char="•"/>
            </a:pPr>
            <a:endParaRPr lang="en-GB" sz="2200" dirty="0">
              <a:solidFill>
                <a:schemeClr val="bg1"/>
              </a:solidFill>
              <a:latin typeface="+mj-lt"/>
            </a:endParaRPr>
          </a:p>
          <a:p>
            <a:r>
              <a:rPr lang="en-GB" sz="2200" dirty="0">
                <a:solidFill>
                  <a:schemeClr val="bg1"/>
                </a:solidFill>
                <a:latin typeface="+mj-lt"/>
              </a:rPr>
              <a:t>And finally, you will learn about motivating employees in crisis. Given, our teams </a:t>
            </a:r>
          </a:p>
          <a:p>
            <a:r>
              <a:rPr lang="en-GB" sz="2200" dirty="0">
                <a:solidFill>
                  <a:schemeClr val="bg1"/>
                </a:solidFill>
                <a:latin typeface="+mj-lt"/>
              </a:rPr>
              <a:t>and talent need to be a key part of crisis management,  you will upskill in key                              motivation theories from which motivation </a:t>
            </a:r>
            <a:r>
              <a:rPr lang="en-GB" sz="2200" dirty="0" err="1">
                <a:solidFill>
                  <a:schemeClr val="bg1"/>
                </a:solidFill>
                <a:latin typeface="+mj-lt"/>
              </a:rPr>
              <a:t>approachs</a:t>
            </a:r>
            <a:r>
              <a:rPr lang="en-GB" sz="2200" dirty="0">
                <a:solidFill>
                  <a:schemeClr val="bg1"/>
                </a:solidFill>
                <a:latin typeface="+mj-lt"/>
              </a:rPr>
              <a:t> in crisis can be framed. </a:t>
            </a:r>
            <a:endParaRPr lang="en-GB" sz="4000" dirty="0"/>
          </a:p>
          <a:p>
            <a:endParaRPr lang="en-GB" sz="2000" dirty="0">
              <a:solidFill>
                <a:schemeClr val="bg1"/>
              </a:solidFill>
            </a:endParaRPr>
          </a:p>
          <a:p>
            <a:endParaRPr lang="en-GB" sz="2000" dirty="0">
              <a:solidFill>
                <a:schemeClr val="bg1"/>
              </a:solidFill>
            </a:endParaRPr>
          </a:p>
          <a:p>
            <a:endParaRPr lang="en-IE" sz="2000" dirty="0">
              <a:solidFill>
                <a:schemeClr val="bg1"/>
              </a:solidFill>
            </a:endParaRPr>
          </a:p>
        </p:txBody>
      </p:sp>
    </p:spTree>
    <p:extLst>
      <p:ext uri="{BB962C8B-B14F-4D97-AF65-F5344CB8AC3E}">
        <p14:creationId xmlns:p14="http://schemas.microsoft.com/office/powerpoint/2010/main" val="22450977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99525" y="461187"/>
            <a:ext cx="11339697" cy="697353"/>
          </a:xfrm>
        </p:spPr>
        <p:txBody>
          <a:bodyPr>
            <a:normAutofit/>
          </a:bodyPr>
          <a:lstStyle/>
          <a:p>
            <a:r>
              <a:rPr lang="en-GB" dirty="0"/>
              <a:t>Demonstrating Leadership</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13756" y="1970953"/>
            <a:ext cx="5084397" cy="512221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Novel crises can test leadership capability, decision making and strategic thinking abilities.</a:t>
            </a:r>
          </a:p>
          <a:p>
            <a:pPr algn="l">
              <a:lnSpc>
                <a:spcPct val="100000"/>
              </a:lnSpc>
              <a:spcBef>
                <a:spcPts val="600"/>
              </a:spcBef>
            </a:pPr>
            <a:r>
              <a:rPr lang="en-GB" altLang="de-DE" sz="2000" dirty="0">
                <a:solidFill>
                  <a:srgbClr val="245473"/>
                </a:solidFill>
                <a:latin typeface="+mj-lt"/>
              </a:rPr>
              <a:t>During a crisis, stakeholders should be engaged and interactions with them (and possibly the media) to articulate the situation and to share your intended actions plan is strategic. Leaders can use crises as an opportunity to build stronger partnerships and ask for help if needed.</a:t>
            </a:r>
          </a:p>
          <a:p>
            <a:pPr algn="l">
              <a:lnSpc>
                <a:spcPct val="100000"/>
              </a:lnSpc>
              <a:spcBef>
                <a:spcPts val="600"/>
              </a:spcBef>
            </a:pPr>
            <a:r>
              <a:rPr lang="en-GB" altLang="de-DE" sz="2000" dirty="0">
                <a:solidFill>
                  <a:srgbClr val="245473"/>
                </a:solidFill>
                <a:latin typeface="+mj-lt"/>
              </a:rPr>
              <a:t>Your team expects you to provide strong support and guidance and your confidence in the process is a mark of continuity for your team and true leadership skills are required. The following are tips for leaders in crisis management:</a:t>
            </a:r>
          </a:p>
          <a:p>
            <a:pPr algn="l">
              <a:lnSpc>
                <a:spcPts val="1500"/>
              </a:lnSpc>
              <a:spcBef>
                <a:spcPts val="600"/>
              </a:spcBef>
            </a:pPr>
            <a:endParaRPr lang="en-GB" sz="1400" dirty="0">
              <a:latin typeface="+mj-lt"/>
              <a:sym typeface="Wingdings" panose="05000000000000000000" pitchFamily="2" charset="2"/>
            </a:endParaRPr>
          </a:p>
        </p:txBody>
      </p:sp>
      <p:sp>
        <p:nvSpPr>
          <p:cNvPr id="8" name="Rectangle 1">
            <a:extLst>
              <a:ext uri="{FF2B5EF4-FFF2-40B4-BE49-F238E27FC236}">
                <a16:creationId xmlns:a16="http://schemas.microsoft.com/office/drawing/2014/main" xmlns="" id="{B36F7671-7601-4308-A8AA-5E51AB76BBC2}"/>
              </a:ext>
            </a:extLst>
          </p:cNvPr>
          <p:cNvSpPr/>
          <p:nvPr/>
        </p:nvSpPr>
        <p:spPr>
          <a:xfrm>
            <a:off x="5436748" y="1927875"/>
            <a:ext cx="710509" cy="3939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9" name="Rectangle 2">
            <a:extLst>
              <a:ext uri="{FF2B5EF4-FFF2-40B4-BE49-F238E27FC236}">
                <a16:creationId xmlns:a16="http://schemas.microsoft.com/office/drawing/2014/main" xmlns="" id="{E66D0F70-FEE3-4389-A54A-26E1CD5DDA9A}"/>
              </a:ext>
            </a:extLst>
          </p:cNvPr>
          <p:cNvSpPr/>
          <p:nvPr/>
        </p:nvSpPr>
        <p:spPr>
          <a:xfrm>
            <a:off x="5436748" y="2402612"/>
            <a:ext cx="710509" cy="3939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0" name="Rectangle 3">
            <a:extLst>
              <a:ext uri="{FF2B5EF4-FFF2-40B4-BE49-F238E27FC236}">
                <a16:creationId xmlns:a16="http://schemas.microsoft.com/office/drawing/2014/main" xmlns="" id="{9A6E80D8-C921-4CD8-9AAC-51F298DC2E9D}"/>
              </a:ext>
            </a:extLst>
          </p:cNvPr>
          <p:cNvSpPr/>
          <p:nvPr/>
        </p:nvSpPr>
        <p:spPr>
          <a:xfrm>
            <a:off x="5436748" y="2877348"/>
            <a:ext cx="710509" cy="3939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1" name="Rectangle 4">
            <a:extLst>
              <a:ext uri="{FF2B5EF4-FFF2-40B4-BE49-F238E27FC236}">
                <a16:creationId xmlns:a16="http://schemas.microsoft.com/office/drawing/2014/main" xmlns="" id="{D24711B8-F396-448B-B88F-88BCFFB41D5E}"/>
              </a:ext>
            </a:extLst>
          </p:cNvPr>
          <p:cNvSpPr/>
          <p:nvPr/>
        </p:nvSpPr>
        <p:spPr>
          <a:xfrm>
            <a:off x="5436748" y="3352083"/>
            <a:ext cx="710509" cy="39393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2" name="Rectangle 5">
            <a:extLst>
              <a:ext uri="{FF2B5EF4-FFF2-40B4-BE49-F238E27FC236}">
                <a16:creationId xmlns:a16="http://schemas.microsoft.com/office/drawing/2014/main" xmlns="" id="{AA9AA97C-A636-4315-8D01-4EEC0A2D8B05}"/>
              </a:ext>
            </a:extLst>
          </p:cNvPr>
          <p:cNvSpPr/>
          <p:nvPr/>
        </p:nvSpPr>
        <p:spPr>
          <a:xfrm>
            <a:off x="5436748" y="3826820"/>
            <a:ext cx="710509" cy="3939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13" name="TextBox 6">
            <a:extLst>
              <a:ext uri="{FF2B5EF4-FFF2-40B4-BE49-F238E27FC236}">
                <a16:creationId xmlns:a16="http://schemas.microsoft.com/office/drawing/2014/main" xmlns="" id="{D783DB51-2818-4F2A-93B1-7DBA6C8B2D2D}"/>
              </a:ext>
            </a:extLst>
          </p:cNvPr>
          <p:cNvSpPr txBox="1"/>
          <p:nvPr/>
        </p:nvSpPr>
        <p:spPr>
          <a:xfrm>
            <a:off x="5564088" y="1731053"/>
            <a:ext cx="494071" cy="756233"/>
          </a:xfrm>
          <a:prstGeom prst="rect">
            <a:avLst/>
          </a:prstGeom>
          <a:noFill/>
        </p:spPr>
        <p:txBody>
          <a:bodyPr wrap="square" rtlCol="0" anchor="ctr">
            <a:spAutoFit/>
          </a:bodyPr>
          <a:lstStyle/>
          <a:p>
            <a:pPr algn="ctr"/>
            <a:r>
              <a:rPr lang="en-GB" sz="4314" b="1">
                <a:solidFill>
                  <a:schemeClr val="bg1"/>
                </a:solidFill>
                <a:latin typeface="+mj-lt"/>
                <a:cs typeface="Poppins" pitchFamily="2" charset="77"/>
              </a:rPr>
              <a:t>A</a:t>
            </a:r>
            <a:endParaRPr lang="en-GB" sz="4314" b="1" dirty="0">
              <a:solidFill>
                <a:schemeClr val="bg1"/>
              </a:solidFill>
              <a:latin typeface="+mj-lt"/>
              <a:cs typeface="Poppins" pitchFamily="2" charset="77"/>
            </a:endParaRPr>
          </a:p>
        </p:txBody>
      </p:sp>
      <p:sp>
        <p:nvSpPr>
          <p:cNvPr id="14" name="TextBox 7">
            <a:extLst>
              <a:ext uri="{FF2B5EF4-FFF2-40B4-BE49-F238E27FC236}">
                <a16:creationId xmlns:a16="http://schemas.microsoft.com/office/drawing/2014/main" xmlns="" id="{5386C107-2099-48D7-A9FB-B75F13107370}"/>
              </a:ext>
            </a:extLst>
          </p:cNvPr>
          <p:cNvSpPr txBox="1"/>
          <p:nvPr/>
        </p:nvSpPr>
        <p:spPr>
          <a:xfrm>
            <a:off x="5652775" y="2231561"/>
            <a:ext cx="372001" cy="756233"/>
          </a:xfrm>
          <a:prstGeom prst="rect">
            <a:avLst/>
          </a:prstGeom>
          <a:noFill/>
        </p:spPr>
        <p:txBody>
          <a:bodyPr wrap="square" rtlCol="0" anchor="ctr">
            <a:spAutoFit/>
          </a:bodyPr>
          <a:lstStyle/>
          <a:p>
            <a:pPr algn="ctr"/>
            <a:r>
              <a:rPr lang="en-GB" sz="4314" b="1">
                <a:solidFill>
                  <a:schemeClr val="bg1"/>
                </a:solidFill>
                <a:latin typeface="+mj-lt"/>
                <a:cs typeface="Poppins" pitchFamily="2" charset="77"/>
              </a:rPr>
              <a:t>B</a:t>
            </a:r>
            <a:endParaRPr lang="en-GB" sz="4314" b="1" dirty="0">
              <a:solidFill>
                <a:schemeClr val="bg1"/>
              </a:solidFill>
              <a:latin typeface="+mj-lt"/>
              <a:cs typeface="Poppins" pitchFamily="2" charset="77"/>
            </a:endParaRPr>
          </a:p>
        </p:txBody>
      </p:sp>
      <p:sp>
        <p:nvSpPr>
          <p:cNvPr id="15" name="TextBox 8">
            <a:extLst>
              <a:ext uri="{FF2B5EF4-FFF2-40B4-BE49-F238E27FC236}">
                <a16:creationId xmlns:a16="http://schemas.microsoft.com/office/drawing/2014/main" xmlns="" id="{4C60720B-E0AF-4489-A0CA-988C11DBDCB6}"/>
              </a:ext>
            </a:extLst>
          </p:cNvPr>
          <p:cNvSpPr txBox="1"/>
          <p:nvPr/>
        </p:nvSpPr>
        <p:spPr>
          <a:xfrm>
            <a:off x="5652778" y="2706298"/>
            <a:ext cx="372000" cy="756233"/>
          </a:xfrm>
          <a:prstGeom prst="rect">
            <a:avLst/>
          </a:prstGeom>
          <a:noFill/>
        </p:spPr>
        <p:txBody>
          <a:bodyPr wrap="square" rtlCol="0" anchor="ctr">
            <a:spAutoFit/>
          </a:bodyPr>
          <a:lstStyle/>
          <a:p>
            <a:pPr algn="ctr"/>
            <a:r>
              <a:rPr lang="en-GB" sz="4314" b="1">
                <a:solidFill>
                  <a:schemeClr val="bg1"/>
                </a:solidFill>
                <a:latin typeface="+mj-lt"/>
                <a:cs typeface="Poppins" pitchFamily="2" charset="77"/>
              </a:rPr>
              <a:t>C</a:t>
            </a:r>
            <a:endParaRPr lang="en-GB" sz="4314" b="1" dirty="0">
              <a:solidFill>
                <a:schemeClr val="bg1"/>
              </a:solidFill>
              <a:latin typeface="+mj-lt"/>
              <a:cs typeface="Poppins" pitchFamily="2" charset="77"/>
            </a:endParaRPr>
          </a:p>
        </p:txBody>
      </p:sp>
      <p:sp>
        <p:nvSpPr>
          <p:cNvPr id="17" name="TextBox 9">
            <a:extLst>
              <a:ext uri="{FF2B5EF4-FFF2-40B4-BE49-F238E27FC236}">
                <a16:creationId xmlns:a16="http://schemas.microsoft.com/office/drawing/2014/main" xmlns="" id="{A247064C-95DE-4509-A66F-8CA1056298AE}"/>
              </a:ext>
            </a:extLst>
          </p:cNvPr>
          <p:cNvSpPr txBox="1"/>
          <p:nvPr/>
        </p:nvSpPr>
        <p:spPr>
          <a:xfrm>
            <a:off x="5632741" y="3181034"/>
            <a:ext cx="403398" cy="756233"/>
          </a:xfrm>
          <a:prstGeom prst="rect">
            <a:avLst/>
          </a:prstGeom>
          <a:noFill/>
        </p:spPr>
        <p:txBody>
          <a:bodyPr wrap="square" rtlCol="0" anchor="ctr">
            <a:spAutoFit/>
          </a:bodyPr>
          <a:lstStyle/>
          <a:p>
            <a:pPr algn="ctr"/>
            <a:r>
              <a:rPr lang="en-GB" sz="4314" b="1">
                <a:solidFill>
                  <a:schemeClr val="bg1"/>
                </a:solidFill>
                <a:latin typeface="+mj-lt"/>
                <a:cs typeface="Poppins" pitchFamily="2" charset="77"/>
              </a:rPr>
              <a:t>D</a:t>
            </a:r>
            <a:endParaRPr lang="en-GB" sz="4314" b="1" dirty="0">
              <a:solidFill>
                <a:schemeClr val="bg1"/>
              </a:solidFill>
              <a:latin typeface="+mj-lt"/>
              <a:cs typeface="Poppins" pitchFamily="2" charset="77"/>
            </a:endParaRPr>
          </a:p>
        </p:txBody>
      </p:sp>
      <p:sp>
        <p:nvSpPr>
          <p:cNvPr id="18" name="TextBox 10">
            <a:extLst>
              <a:ext uri="{FF2B5EF4-FFF2-40B4-BE49-F238E27FC236}">
                <a16:creationId xmlns:a16="http://schemas.microsoft.com/office/drawing/2014/main" xmlns="" id="{C35AB775-5F1B-4BAA-85E9-CD2320D30560}"/>
              </a:ext>
            </a:extLst>
          </p:cNvPr>
          <p:cNvSpPr txBox="1"/>
          <p:nvPr/>
        </p:nvSpPr>
        <p:spPr>
          <a:xfrm>
            <a:off x="5665601" y="3655770"/>
            <a:ext cx="351906" cy="756233"/>
          </a:xfrm>
          <a:prstGeom prst="rect">
            <a:avLst/>
          </a:prstGeom>
          <a:noFill/>
        </p:spPr>
        <p:txBody>
          <a:bodyPr wrap="square" rtlCol="0" anchor="ctr">
            <a:spAutoFit/>
          </a:bodyPr>
          <a:lstStyle/>
          <a:p>
            <a:pPr algn="ctr"/>
            <a:r>
              <a:rPr lang="en-GB" sz="4314" b="1">
                <a:solidFill>
                  <a:schemeClr val="bg1"/>
                </a:solidFill>
                <a:latin typeface="+mj-lt"/>
                <a:cs typeface="Poppins" pitchFamily="2" charset="77"/>
              </a:rPr>
              <a:t>E</a:t>
            </a:r>
            <a:endParaRPr lang="en-GB" sz="4314" b="1" dirty="0">
              <a:solidFill>
                <a:schemeClr val="bg1"/>
              </a:solidFill>
              <a:latin typeface="+mj-lt"/>
              <a:cs typeface="Poppins" pitchFamily="2" charset="77"/>
            </a:endParaRPr>
          </a:p>
        </p:txBody>
      </p:sp>
      <p:sp>
        <p:nvSpPr>
          <p:cNvPr id="19" name="Rectangle 13">
            <a:extLst>
              <a:ext uri="{FF2B5EF4-FFF2-40B4-BE49-F238E27FC236}">
                <a16:creationId xmlns:a16="http://schemas.microsoft.com/office/drawing/2014/main" xmlns="" id="{F78A84BD-924A-4599-A88C-CC21199F4D1F}"/>
              </a:ext>
            </a:extLst>
          </p:cNvPr>
          <p:cNvSpPr/>
          <p:nvPr/>
        </p:nvSpPr>
        <p:spPr>
          <a:xfrm>
            <a:off x="6347285" y="1927875"/>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20" name="Rectangle 14">
            <a:extLst>
              <a:ext uri="{FF2B5EF4-FFF2-40B4-BE49-F238E27FC236}">
                <a16:creationId xmlns:a16="http://schemas.microsoft.com/office/drawing/2014/main" xmlns="" id="{2B8D9076-21C2-4E58-B0EB-51999431CB92}"/>
              </a:ext>
            </a:extLst>
          </p:cNvPr>
          <p:cNvSpPr/>
          <p:nvPr/>
        </p:nvSpPr>
        <p:spPr>
          <a:xfrm>
            <a:off x="6347285" y="2402612"/>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21" name="Rectangle 15">
            <a:extLst>
              <a:ext uri="{FF2B5EF4-FFF2-40B4-BE49-F238E27FC236}">
                <a16:creationId xmlns:a16="http://schemas.microsoft.com/office/drawing/2014/main" xmlns="" id="{D55A5FC5-A3A5-4989-A8FD-982F6B0EA33A}"/>
              </a:ext>
            </a:extLst>
          </p:cNvPr>
          <p:cNvSpPr/>
          <p:nvPr/>
        </p:nvSpPr>
        <p:spPr>
          <a:xfrm>
            <a:off x="6347285" y="2877348"/>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22" name="Rectangle 16">
            <a:extLst>
              <a:ext uri="{FF2B5EF4-FFF2-40B4-BE49-F238E27FC236}">
                <a16:creationId xmlns:a16="http://schemas.microsoft.com/office/drawing/2014/main" xmlns="" id="{340E0175-BD94-49F2-A560-D0D856BA4488}"/>
              </a:ext>
            </a:extLst>
          </p:cNvPr>
          <p:cNvSpPr/>
          <p:nvPr/>
        </p:nvSpPr>
        <p:spPr>
          <a:xfrm>
            <a:off x="6347285" y="3352083"/>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23" name="Rectangle 17">
            <a:extLst>
              <a:ext uri="{FF2B5EF4-FFF2-40B4-BE49-F238E27FC236}">
                <a16:creationId xmlns:a16="http://schemas.microsoft.com/office/drawing/2014/main" xmlns="" id="{051B6735-F4AB-4919-99B0-F084C0DD15F0}"/>
              </a:ext>
            </a:extLst>
          </p:cNvPr>
          <p:cNvSpPr/>
          <p:nvPr/>
        </p:nvSpPr>
        <p:spPr>
          <a:xfrm>
            <a:off x="6347285" y="3826820"/>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24" name="TextBox 18">
            <a:extLst>
              <a:ext uri="{FF2B5EF4-FFF2-40B4-BE49-F238E27FC236}">
                <a16:creationId xmlns:a16="http://schemas.microsoft.com/office/drawing/2014/main" xmlns="" id="{B2B33C6C-8AA0-44BE-B0A9-6E03A98D25B4}"/>
              </a:ext>
            </a:extLst>
          </p:cNvPr>
          <p:cNvSpPr txBox="1"/>
          <p:nvPr/>
        </p:nvSpPr>
        <p:spPr>
          <a:xfrm>
            <a:off x="6501879" y="1940176"/>
            <a:ext cx="4176557"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Deliver performance, consistently</a:t>
            </a:r>
          </a:p>
        </p:txBody>
      </p:sp>
      <p:sp>
        <p:nvSpPr>
          <p:cNvPr id="25" name="TextBox 20">
            <a:extLst>
              <a:ext uri="{FF2B5EF4-FFF2-40B4-BE49-F238E27FC236}">
                <a16:creationId xmlns:a16="http://schemas.microsoft.com/office/drawing/2014/main" xmlns="" id="{6D6FAB35-8EE7-4057-A4BE-783D60B76901}"/>
              </a:ext>
            </a:extLst>
          </p:cNvPr>
          <p:cNvSpPr txBox="1"/>
          <p:nvPr/>
        </p:nvSpPr>
        <p:spPr>
          <a:xfrm>
            <a:off x="6504302" y="2425435"/>
            <a:ext cx="4376582"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Display a positive attitude, always</a:t>
            </a:r>
          </a:p>
        </p:txBody>
      </p:sp>
      <p:sp>
        <p:nvSpPr>
          <p:cNvPr id="26" name="TextBox 21">
            <a:extLst>
              <a:ext uri="{FF2B5EF4-FFF2-40B4-BE49-F238E27FC236}">
                <a16:creationId xmlns:a16="http://schemas.microsoft.com/office/drawing/2014/main" xmlns="" id="{60C64F1B-AD62-4E4D-B05E-E9316676E26A}"/>
              </a:ext>
            </a:extLst>
          </p:cNvPr>
          <p:cNvSpPr txBox="1"/>
          <p:nvPr/>
        </p:nvSpPr>
        <p:spPr>
          <a:xfrm>
            <a:off x="6589416" y="2889648"/>
            <a:ext cx="4376581"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Be a team player and ‘follower’</a:t>
            </a:r>
          </a:p>
        </p:txBody>
      </p:sp>
      <p:sp>
        <p:nvSpPr>
          <p:cNvPr id="27" name="TextBox 22">
            <a:extLst>
              <a:ext uri="{FF2B5EF4-FFF2-40B4-BE49-F238E27FC236}">
                <a16:creationId xmlns:a16="http://schemas.microsoft.com/office/drawing/2014/main" xmlns="" id="{F7422C02-E5E3-4279-ADBD-36AD81618995}"/>
              </a:ext>
            </a:extLst>
          </p:cNvPr>
          <p:cNvSpPr txBox="1"/>
          <p:nvPr/>
        </p:nvSpPr>
        <p:spPr>
          <a:xfrm>
            <a:off x="6514705" y="3364384"/>
            <a:ext cx="4376584"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Volunteer to lead projects and join initiatives</a:t>
            </a:r>
          </a:p>
        </p:txBody>
      </p:sp>
      <p:sp>
        <p:nvSpPr>
          <p:cNvPr id="30" name="TextBox 23">
            <a:extLst>
              <a:ext uri="{FF2B5EF4-FFF2-40B4-BE49-F238E27FC236}">
                <a16:creationId xmlns:a16="http://schemas.microsoft.com/office/drawing/2014/main" xmlns="" id="{225F60C5-4BDD-400E-91BC-637A9E1E2048}"/>
              </a:ext>
            </a:extLst>
          </p:cNvPr>
          <p:cNvSpPr txBox="1"/>
          <p:nvPr/>
        </p:nvSpPr>
        <p:spPr>
          <a:xfrm>
            <a:off x="6514705" y="3839120"/>
            <a:ext cx="3273707"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Become a well-rounded generalist</a:t>
            </a:r>
          </a:p>
        </p:txBody>
      </p:sp>
      <p:sp>
        <p:nvSpPr>
          <p:cNvPr id="31" name="Rectangle 2">
            <a:extLst>
              <a:ext uri="{FF2B5EF4-FFF2-40B4-BE49-F238E27FC236}">
                <a16:creationId xmlns:a16="http://schemas.microsoft.com/office/drawing/2014/main" xmlns="" id="{3D092A85-649C-4050-B107-973706FC4E38}"/>
              </a:ext>
            </a:extLst>
          </p:cNvPr>
          <p:cNvSpPr/>
          <p:nvPr/>
        </p:nvSpPr>
        <p:spPr>
          <a:xfrm>
            <a:off x="5439848" y="4311515"/>
            <a:ext cx="710509" cy="3939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2" name="Rectangle 3">
            <a:extLst>
              <a:ext uri="{FF2B5EF4-FFF2-40B4-BE49-F238E27FC236}">
                <a16:creationId xmlns:a16="http://schemas.microsoft.com/office/drawing/2014/main" xmlns="" id="{F9B29255-A93A-465A-B9F2-8278A6EC04F5}"/>
              </a:ext>
            </a:extLst>
          </p:cNvPr>
          <p:cNvSpPr/>
          <p:nvPr/>
        </p:nvSpPr>
        <p:spPr>
          <a:xfrm>
            <a:off x="5439848" y="4786250"/>
            <a:ext cx="710509" cy="3939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3" name="Rectangle 4">
            <a:extLst>
              <a:ext uri="{FF2B5EF4-FFF2-40B4-BE49-F238E27FC236}">
                <a16:creationId xmlns:a16="http://schemas.microsoft.com/office/drawing/2014/main" xmlns="" id="{BA736423-5201-40C5-A4B0-ED61F30FA0A7}"/>
              </a:ext>
            </a:extLst>
          </p:cNvPr>
          <p:cNvSpPr/>
          <p:nvPr/>
        </p:nvSpPr>
        <p:spPr>
          <a:xfrm>
            <a:off x="5439848" y="5260986"/>
            <a:ext cx="710509" cy="39393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4" name="Rectangle 5">
            <a:extLst>
              <a:ext uri="{FF2B5EF4-FFF2-40B4-BE49-F238E27FC236}">
                <a16:creationId xmlns:a16="http://schemas.microsoft.com/office/drawing/2014/main" xmlns="" id="{E36C26B7-73FC-4DA8-9092-DC71D9BCE98D}"/>
              </a:ext>
            </a:extLst>
          </p:cNvPr>
          <p:cNvSpPr/>
          <p:nvPr/>
        </p:nvSpPr>
        <p:spPr>
          <a:xfrm>
            <a:off x="5439848" y="5735723"/>
            <a:ext cx="710509" cy="3939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35" name="TextBox 7">
            <a:extLst>
              <a:ext uri="{FF2B5EF4-FFF2-40B4-BE49-F238E27FC236}">
                <a16:creationId xmlns:a16="http://schemas.microsoft.com/office/drawing/2014/main" xmlns="" id="{F363569B-E1DE-436F-B8FC-BF8BE7C910A9}"/>
              </a:ext>
            </a:extLst>
          </p:cNvPr>
          <p:cNvSpPr txBox="1"/>
          <p:nvPr/>
        </p:nvSpPr>
        <p:spPr>
          <a:xfrm>
            <a:off x="5675914" y="4140464"/>
            <a:ext cx="340602" cy="756233"/>
          </a:xfrm>
          <a:prstGeom prst="rect">
            <a:avLst/>
          </a:prstGeom>
          <a:noFill/>
        </p:spPr>
        <p:txBody>
          <a:bodyPr wrap="square" rtlCol="0" anchor="ctr">
            <a:spAutoFit/>
          </a:bodyPr>
          <a:lstStyle/>
          <a:p>
            <a:pPr algn="ctr"/>
            <a:r>
              <a:rPr lang="en-GB" sz="4314" b="1">
                <a:solidFill>
                  <a:schemeClr val="bg1"/>
                </a:solidFill>
                <a:latin typeface="+mj-lt"/>
                <a:cs typeface="Poppins" pitchFamily="2" charset="77"/>
              </a:rPr>
              <a:t>F</a:t>
            </a:r>
            <a:endParaRPr lang="en-GB" sz="4314" b="1" dirty="0">
              <a:solidFill>
                <a:schemeClr val="bg1"/>
              </a:solidFill>
              <a:latin typeface="+mj-lt"/>
              <a:cs typeface="Poppins" pitchFamily="2" charset="77"/>
            </a:endParaRPr>
          </a:p>
        </p:txBody>
      </p:sp>
      <p:sp>
        <p:nvSpPr>
          <p:cNvPr id="36" name="TextBox 8">
            <a:extLst>
              <a:ext uri="{FF2B5EF4-FFF2-40B4-BE49-F238E27FC236}">
                <a16:creationId xmlns:a16="http://schemas.microsoft.com/office/drawing/2014/main" xmlns="" id="{69EC3CE4-AC87-4724-9AE5-3D91654EBEA7}"/>
              </a:ext>
            </a:extLst>
          </p:cNvPr>
          <p:cNvSpPr txBox="1"/>
          <p:nvPr/>
        </p:nvSpPr>
        <p:spPr>
          <a:xfrm>
            <a:off x="5588607" y="4597454"/>
            <a:ext cx="410934" cy="756233"/>
          </a:xfrm>
          <a:prstGeom prst="rect">
            <a:avLst/>
          </a:prstGeom>
          <a:noFill/>
        </p:spPr>
        <p:txBody>
          <a:bodyPr wrap="square" rtlCol="0" anchor="ctr">
            <a:spAutoFit/>
          </a:bodyPr>
          <a:lstStyle/>
          <a:p>
            <a:pPr algn="ctr"/>
            <a:r>
              <a:rPr lang="en-GB" sz="4314" b="1" dirty="0">
                <a:solidFill>
                  <a:schemeClr val="bg1"/>
                </a:solidFill>
                <a:latin typeface="+mj-lt"/>
                <a:cs typeface="Poppins" pitchFamily="2" charset="77"/>
              </a:rPr>
              <a:t>G</a:t>
            </a:r>
          </a:p>
        </p:txBody>
      </p:sp>
      <p:sp>
        <p:nvSpPr>
          <p:cNvPr id="37" name="TextBox 9">
            <a:extLst>
              <a:ext uri="{FF2B5EF4-FFF2-40B4-BE49-F238E27FC236}">
                <a16:creationId xmlns:a16="http://schemas.microsoft.com/office/drawing/2014/main" xmlns="" id="{D8138A71-B11E-4502-A01C-CD5FA275BC37}"/>
              </a:ext>
            </a:extLst>
          </p:cNvPr>
          <p:cNvSpPr txBox="1"/>
          <p:nvPr/>
        </p:nvSpPr>
        <p:spPr>
          <a:xfrm>
            <a:off x="5632633" y="5089937"/>
            <a:ext cx="408422" cy="756233"/>
          </a:xfrm>
          <a:prstGeom prst="rect">
            <a:avLst/>
          </a:prstGeom>
          <a:noFill/>
        </p:spPr>
        <p:txBody>
          <a:bodyPr wrap="square" rtlCol="0" anchor="ctr">
            <a:spAutoFit/>
          </a:bodyPr>
          <a:lstStyle/>
          <a:p>
            <a:pPr algn="ctr"/>
            <a:r>
              <a:rPr lang="en-GB" sz="4314" b="1">
                <a:solidFill>
                  <a:schemeClr val="bg1"/>
                </a:solidFill>
                <a:latin typeface="+mj-lt"/>
                <a:cs typeface="Poppins" pitchFamily="2" charset="77"/>
              </a:rPr>
              <a:t>H</a:t>
            </a:r>
            <a:endParaRPr lang="en-GB" sz="4314" b="1" dirty="0">
              <a:solidFill>
                <a:schemeClr val="bg1"/>
              </a:solidFill>
              <a:latin typeface="+mj-lt"/>
              <a:cs typeface="Poppins" pitchFamily="2" charset="77"/>
            </a:endParaRPr>
          </a:p>
        </p:txBody>
      </p:sp>
      <p:sp>
        <p:nvSpPr>
          <p:cNvPr id="38" name="TextBox 10">
            <a:extLst>
              <a:ext uri="{FF2B5EF4-FFF2-40B4-BE49-F238E27FC236}">
                <a16:creationId xmlns:a16="http://schemas.microsoft.com/office/drawing/2014/main" xmlns="" id="{3A5CE3FB-C24C-4714-80AD-4C77E96268EA}"/>
              </a:ext>
            </a:extLst>
          </p:cNvPr>
          <p:cNvSpPr txBox="1"/>
          <p:nvPr/>
        </p:nvSpPr>
        <p:spPr>
          <a:xfrm>
            <a:off x="5734422" y="5564672"/>
            <a:ext cx="248923" cy="756233"/>
          </a:xfrm>
          <a:prstGeom prst="rect">
            <a:avLst/>
          </a:prstGeom>
          <a:noFill/>
        </p:spPr>
        <p:txBody>
          <a:bodyPr wrap="square" rtlCol="0" anchor="ctr">
            <a:spAutoFit/>
          </a:bodyPr>
          <a:lstStyle/>
          <a:p>
            <a:pPr algn="ctr"/>
            <a:r>
              <a:rPr lang="en-GB" sz="4314" b="1">
                <a:solidFill>
                  <a:schemeClr val="bg1"/>
                </a:solidFill>
                <a:latin typeface="+mj-lt"/>
                <a:cs typeface="Poppins" pitchFamily="2" charset="77"/>
              </a:rPr>
              <a:t>I</a:t>
            </a:r>
            <a:endParaRPr lang="en-GB" sz="4314" b="1" dirty="0">
              <a:solidFill>
                <a:schemeClr val="bg1"/>
              </a:solidFill>
              <a:latin typeface="+mj-lt"/>
              <a:cs typeface="Poppins" pitchFamily="2" charset="77"/>
            </a:endParaRPr>
          </a:p>
        </p:txBody>
      </p:sp>
      <p:sp>
        <p:nvSpPr>
          <p:cNvPr id="39" name="Rectangle 14">
            <a:extLst>
              <a:ext uri="{FF2B5EF4-FFF2-40B4-BE49-F238E27FC236}">
                <a16:creationId xmlns:a16="http://schemas.microsoft.com/office/drawing/2014/main" xmlns="" id="{95736C3A-7A45-401A-93B3-5F24E0E0FAD6}"/>
              </a:ext>
            </a:extLst>
          </p:cNvPr>
          <p:cNvSpPr/>
          <p:nvPr/>
        </p:nvSpPr>
        <p:spPr>
          <a:xfrm>
            <a:off x="6350385" y="4311515"/>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40" name="Rectangle 15">
            <a:extLst>
              <a:ext uri="{FF2B5EF4-FFF2-40B4-BE49-F238E27FC236}">
                <a16:creationId xmlns:a16="http://schemas.microsoft.com/office/drawing/2014/main" xmlns="" id="{FB0283B3-65A6-4518-A3BA-2D93725B7E6A}"/>
              </a:ext>
            </a:extLst>
          </p:cNvPr>
          <p:cNvSpPr/>
          <p:nvPr/>
        </p:nvSpPr>
        <p:spPr>
          <a:xfrm>
            <a:off x="6350385" y="4786250"/>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41" name="Rectangle 16">
            <a:extLst>
              <a:ext uri="{FF2B5EF4-FFF2-40B4-BE49-F238E27FC236}">
                <a16:creationId xmlns:a16="http://schemas.microsoft.com/office/drawing/2014/main" xmlns="" id="{84C7735B-855F-4CBA-B406-896A445AD6E3}"/>
              </a:ext>
            </a:extLst>
          </p:cNvPr>
          <p:cNvSpPr/>
          <p:nvPr/>
        </p:nvSpPr>
        <p:spPr>
          <a:xfrm>
            <a:off x="6350385" y="5260986"/>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42" name="Rectangle 17">
            <a:extLst>
              <a:ext uri="{FF2B5EF4-FFF2-40B4-BE49-F238E27FC236}">
                <a16:creationId xmlns:a16="http://schemas.microsoft.com/office/drawing/2014/main" xmlns="" id="{8E0FE63D-712C-45D8-A582-749F1C994EEA}"/>
              </a:ext>
            </a:extLst>
          </p:cNvPr>
          <p:cNvSpPr/>
          <p:nvPr/>
        </p:nvSpPr>
        <p:spPr>
          <a:xfrm>
            <a:off x="6350385" y="5735723"/>
            <a:ext cx="5061776" cy="39393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bg2">
                  <a:lumMod val="20000"/>
                  <a:lumOff val="80000"/>
                </a:schemeClr>
              </a:solidFill>
              <a:latin typeface="+mj-lt"/>
            </a:endParaRPr>
          </a:p>
        </p:txBody>
      </p:sp>
      <p:sp>
        <p:nvSpPr>
          <p:cNvPr id="43" name="TextBox 20">
            <a:extLst>
              <a:ext uri="{FF2B5EF4-FFF2-40B4-BE49-F238E27FC236}">
                <a16:creationId xmlns:a16="http://schemas.microsoft.com/office/drawing/2014/main" xmlns="" id="{155EB3C4-62E7-4A14-B42E-FA1178D62BEA}"/>
              </a:ext>
            </a:extLst>
          </p:cNvPr>
          <p:cNvSpPr txBox="1"/>
          <p:nvPr/>
        </p:nvSpPr>
        <p:spPr>
          <a:xfrm>
            <a:off x="6589416" y="4323814"/>
            <a:ext cx="4721674"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Own your failures/mistakes…and learn from them</a:t>
            </a:r>
          </a:p>
        </p:txBody>
      </p:sp>
      <p:sp>
        <p:nvSpPr>
          <p:cNvPr id="44" name="TextBox 21">
            <a:extLst>
              <a:ext uri="{FF2B5EF4-FFF2-40B4-BE49-F238E27FC236}">
                <a16:creationId xmlns:a16="http://schemas.microsoft.com/office/drawing/2014/main" xmlns="" id="{9EDFA010-CB17-41ED-BCA3-5229B8B86EEA}"/>
              </a:ext>
            </a:extLst>
          </p:cNvPr>
          <p:cNvSpPr txBox="1"/>
          <p:nvPr/>
        </p:nvSpPr>
        <p:spPr>
          <a:xfrm>
            <a:off x="6374843" y="4809075"/>
            <a:ext cx="5225766"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Think strategically, and see the big picture at every turn</a:t>
            </a:r>
          </a:p>
        </p:txBody>
      </p:sp>
      <p:sp>
        <p:nvSpPr>
          <p:cNvPr id="45" name="TextBox 22">
            <a:extLst>
              <a:ext uri="{FF2B5EF4-FFF2-40B4-BE49-F238E27FC236}">
                <a16:creationId xmlns:a16="http://schemas.microsoft.com/office/drawing/2014/main" xmlns="" id="{603FCFBB-2C14-432D-978D-89813DE17257}"/>
              </a:ext>
            </a:extLst>
          </p:cNvPr>
          <p:cNvSpPr txBox="1"/>
          <p:nvPr/>
        </p:nvSpPr>
        <p:spPr>
          <a:xfrm>
            <a:off x="6607943" y="5300145"/>
            <a:ext cx="4373484"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Watch others, assess, listen, learn</a:t>
            </a:r>
          </a:p>
        </p:txBody>
      </p:sp>
      <p:sp>
        <p:nvSpPr>
          <p:cNvPr id="46" name="TextBox 23">
            <a:extLst>
              <a:ext uri="{FF2B5EF4-FFF2-40B4-BE49-F238E27FC236}">
                <a16:creationId xmlns:a16="http://schemas.microsoft.com/office/drawing/2014/main" xmlns="" id="{6279543A-8A80-4102-95C9-C785A7DD49AA}"/>
              </a:ext>
            </a:extLst>
          </p:cNvPr>
          <p:cNvSpPr txBox="1"/>
          <p:nvPr/>
        </p:nvSpPr>
        <p:spPr>
          <a:xfrm>
            <a:off x="6690490" y="5748023"/>
            <a:ext cx="2002103" cy="369332"/>
          </a:xfrm>
          <a:prstGeom prst="rect">
            <a:avLst/>
          </a:prstGeom>
          <a:noFill/>
        </p:spPr>
        <p:txBody>
          <a:bodyPr wrap="square" rtlCol="0" anchor="ctr">
            <a:spAutoFit/>
          </a:bodyPr>
          <a:lstStyle/>
          <a:p>
            <a:r>
              <a:rPr lang="en-GB" b="1" dirty="0">
                <a:solidFill>
                  <a:schemeClr val="tx2"/>
                </a:solidFill>
                <a:latin typeface="+mj-lt"/>
                <a:cs typeface="Poppins" pitchFamily="2" charset="77"/>
              </a:rPr>
              <a:t>Be self aware</a:t>
            </a:r>
          </a:p>
        </p:txBody>
      </p:sp>
    </p:spTree>
    <p:extLst>
      <p:ext uri="{BB962C8B-B14F-4D97-AF65-F5344CB8AC3E}">
        <p14:creationId xmlns:p14="http://schemas.microsoft.com/office/powerpoint/2010/main" val="24515143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42171" y="678182"/>
            <a:ext cx="8852375" cy="697353"/>
          </a:xfrm>
        </p:spPr>
        <p:txBody>
          <a:bodyPr>
            <a:normAutofit/>
          </a:bodyPr>
          <a:lstStyle/>
          <a:p>
            <a:r>
              <a:rPr lang="en-GB" dirty="0"/>
              <a:t>Worth thinking about</a:t>
            </a:r>
          </a:p>
        </p:txBody>
      </p:sp>
      <p:sp>
        <p:nvSpPr>
          <p:cNvPr id="38" name="TextBox 10">
            <a:extLst>
              <a:ext uri="{FF2B5EF4-FFF2-40B4-BE49-F238E27FC236}">
                <a16:creationId xmlns:a16="http://schemas.microsoft.com/office/drawing/2014/main" xmlns="" id="{3A5CE3FB-C24C-4714-80AD-4C77E96268EA}"/>
              </a:ext>
            </a:extLst>
          </p:cNvPr>
          <p:cNvSpPr txBox="1"/>
          <p:nvPr/>
        </p:nvSpPr>
        <p:spPr>
          <a:xfrm>
            <a:off x="3788662" y="5785808"/>
            <a:ext cx="247184" cy="400110"/>
          </a:xfrm>
          <a:prstGeom prst="rect">
            <a:avLst/>
          </a:prstGeom>
          <a:noFill/>
        </p:spPr>
        <p:txBody>
          <a:bodyPr wrap="none" rtlCol="0" anchor="ctr">
            <a:spAutoFit/>
          </a:bodyPr>
          <a:lstStyle/>
          <a:p>
            <a:pPr algn="ctr"/>
            <a:r>
              <a:rPr lang="en-GB" sz="2000" b="1">
                <a:solidFill>
                  <a:schemeClr val="bg1"/>
                </a:solidFill>
                <a:latin typeface="+mj-lt"/>
                <a:cs typeface="Poppins" pitchFamily="2" charset="77"/>
              </a:rPr>
              <a:t>I</a:t>
            </a:r>
            <a:endParaRPr lang="en-GB" sz="2000" b="1" dirty="0">
              <a:solidFill>
                <a:schemeClr val="bg1"/>
              </a:solidFill>
              <a:latin typeface="+mj-lt"/>
              <a:cs typeface="Poppins" pitchFamily="2" charset="77"/>
            </a:endParaRPr>
          </a:p>
        </p:txBody>
      </p:sp>
      <p:grpSp>
        <p:nvGrpSpPr>
          <p:cNvPr id="47" name="Group 138">
            <a:extLst>
              <a:ext uri="{FF2B5EF4-FFF2-40B4-BE49-F238E27FC236}">
                <a16:creationId xmlns:a16="http://schemas.microsoft.com/office/drawing/2014/main" xmlns="" id="{445DC89D-0740-4317-B442-EE0F5A301AC3}"/>
              </a:ext>
            </a:extLst>
          </p:cNvPr>
          <p:cNvGrpSpPr/>
          <p:nvPr/>
        </p:nvGrpSpPr>
        <p:grpSpPr>
          <a:xfrm>
            <a:off x="4679070" y="2320043"/>
            <a:ext cx="2636283" cy="3895654"/>
            <a:chOff x="8704441" y="2571694"/>
            <a:chExt cx="7028256" cy="10385705"/>
          </a:xfrm>
        </p:grpSpPr>
        <p:sp>
          <p:nvSpPr>
            <p:cNvPr id="48" name="Shape 34173">
              <a:extLst>
                <a:ext uri="{FF2B5EF4-FFF2-40B4-BE49-F238E27FC236}">
                  <a16:creationId xmlns:a16="http://schemas.microsoft.com/office/drawing/2014/main" xmlns="" id="{09C51924-F555-4E4A-890F-54E9819330FD}"/>
                </a:ext>
              </a:extLst>
            </p:cNvPr>
            <p:cNvSpPr/>
            <p:nvPr/>
          </p:nvSpPr>
          <p:spPr>
            <a:xfrm>
              <a:off x="8704441" y="4977041"/>
              <a:ext cx="795138" cy="696056"/>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9" name="Shape 34174">
              <a:extLst>
                <a:ext uri="{FF2B5EF4-FFF2-40B4-BE49-F238E27FC236}">
                  <a16:creationId xmlns:a16="http://schemas.microsoft.com/office/drawing/2014/main" xmlns="" id="{9E1A7A08-F86C-4E75-8B89-E56EB8B69B03}"/>
                </a:ext>
              </a:extLst>
            </p:cNvPr>
            <p:cNvSpPr/>
            <p:nvPr/>
          </p:nvSpPr>
          <p:spPr>
            <a:xfrm>
              <a:off x="13207711" y="5129396"/>
              <a:ext cx="316260" cy="632520"/>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0" name="Shape 34175">
              <a:extLst>
                <a:ext uri="{FF2B5EF4-FFF2-40B4-BE49-F238E27FC236}">
                  <a16:creationId xmlns:a16="http://schemas.microsoft.com/office/drawing/2014/main" xmlns="" id="{ABF6EDEB-53CF-47E7-BBB6-D59C3C0E132F}"/>
                </a:ext>
              </a:extLst>
            </p:cNvPr>
            <p:cNvSpPr/>
            <p:nvPr/>
          </p:nvSpPr>
          <p:spPr>
            <a:xfrm>
              <a:off x="13346915" y="6245061"/>
              <a:ext cx="528722" cy="46619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1" name="Shape 34176">
              <a:extLst>
                <a:ext uri="{FF2B5EF4-FFF2-40B4-BE49-F238E27FC236}">
                  <a16:creationId xmlns:a16="http://schemas.microsoft.com/office/drawing/2014/main" xmlns="" id="{D7C9F238-DAD9-4E94-A63A-66DD98DDCE3F}"/>
                </a:ext>
              </a:extLst>
            </p:cNvPr>
            <p:cNvSpPr/>
            <p:nvPr/>
          </p:nvSpPr>
          <p:spPr>
            <a:xfrm>
              <a:off x="10903238" y="7779831"/>
              <a:ext cx="984814" cy="88519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2" name="Shape 34177">
              <a:extLst>
                <a:ext uri="{FF2B5EF4-FFF2-40B4-BE49-F238E27FC236}">
                  <a16:creationId xmlns:a16="http://schemas.microsoft.com/office/drawing/2014/main" xmlns="" id="{87BB9778-D4BD-49BA-9673-B1D168A4E04D}"/>
                </a:ext>
              </a:extLst>
            </p:cNvPr>
            <p:cNvSpPr/>
            <p:nvPr/>
          </p:nvSpPr>
          <p:spPr>
            <a:xfrm>
              <a:off x="11708307" y="11472461"/>
              <a:ext cx="584792" cy="503796"/>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3" name="Shape 34178">
              <a:extLst>
                <a:ext uri="{FF2B5EF4-FFF2-40B4-BE49-F238E27FC236}">
                  <a16:creationId xmlns:a16="http://schemas.microsoft.com/office/drawing/2014/main" xmlns="" id="{A14DFCCC-CAE9-4DE6-A098-6325C4C97065}"/>
                </a:ext>
              </a:extLst>
            </p:cNvPr>
            <p:cNvSpPr/>
            <p:nvPr/>
          </p:nvSpPr>
          <p:spPr>
            <a:xfrm>
              <a:off x="14474664" y="3452446"/>
              <a:ext cx="701272" cy="992744"/>
            </a:xfrm>
            <a:custGeom>
              <a:avLst/>
              <a:gdLst/>
              <a:ahLst/>
              <a:cxnLst>
                <a:cxn ang="0">
                  <a:pos x="wd2" y="hd2"/>
                </a:cxn>
                <a:cxn ang="5400000">
                  <a:pos x="wd2" y="hd2"/>
                </a:cxn>
                <a:cxn ang="10800000">
                  <a:pos x="wd2" y="hd2"/>
                </a:cxn>
                <a:cxn ang="16200000">
                  <a:pos x="wd2" y="hd2"/>
                </a:cxn>
              </a:cxnLst>
              <a:rect l="0" t="0" r="r" b="b"/>
              <a:pathLst>
                <a:path w="21183" h="21600" extrusionOk="0">
                  <a:moveTo>
                    <a:pt x="6837" y="0"/>
                  </a:moveTo>
                  <a:lnTo>
                    <a:pt x="6304" y="11896"/>
                  </a:lnTo>
                  <a:lnTo>
                    <a:pt x="10115" y="11984"/>
                  </a:lnTo>
                  <a:lnTo>
                    <a:pt x="10387" y="5819"/>
                  </a:lnTo>
                  <a:cubicBezTo>
                    <a:pt x="10807" y="5990"/>
                    <a:pt x="11286" y="6091"/>
                    <a:pt x="11799" y="6080"/>
                  </a:cubicBezTo>
                  <a:cubicBezTo>
                    <a:pt x="12816" y="6059"/>
                    <a:pt x="13721" y="5638"/>
                    <a:pt x="14293" y="5029"/>
                  </a:cubicBezTo>
                  <a:cubicBezTo>
                    <a:pt x="14344" y="4975"/>
                    <a:pt x="14392" y="4920"/>
                    <a:pt x="14437" y="4864"/>
                  </a:cubicBezTo>
                  <a:cubicBezTo>
                    <a:pt x="15870" y="5413"/>
                    <a:pt x="17048" y="6141"/>
                    <a:pt x="17879" y="7040"/>
                  </a:cubicBezTo>
                  <a:cubicBezTo>
                    <a:pt x="19250" y="8523"/>
                    <a:pt x="19623" y="10355"/>
                    <a:pt x="18956" y="12341"/>
                  </a:cubicBezTo>
                  <a:cubicBezTo>
                    <a:pt x="17917" y="15436"/>
                    <a:pt x="14349" y="17736"/>
                    <a:pt x="10109" y="18168"/>
                  </a:cubicBezTo>
                  <a:lnTo>
                    <a:pt x="10109" y="16337"/>
                  </a:lnTo>
                  <a:lnTo>
                    <a:pt x="12811" y="16337"/>
                  </a:lnTo>
                  <a:lnTo>
                    <a:pt x="12811" y="15424"/>
                  </a:lnTo>
                  <a:lnTo>
                    <a:pt x="2958" y="15424"/>
                  </a:lnTo>
                  <a:lnTo>
                    <a:pt x="2958" y="16337"/>
                  </a:lnTo>
                  <a:lnTo>
                    <a:pt x="5665" y="16337"/>
                  </a:lnTo>
                  <a:lnTo>
                    <a:pt x="5665" y="19312"/>
                  </a:lnTo>
                  <a:lnTo>
                    <a:pt x="0" y="19312"/>
                  </a:lnTo>
                  <a:lnTo>
                    <a:pt x="0" y="21600"/>
                  </a:lnTo>
                  <a:lnTo>
                    <a:pt x="15769" y="21600"/>
                  </a:lnTo>
                  <a:lnTo>
                    <a:pt x="15769" y="19312"/>
                  </a:lnTo>
                  <a:lnTo>
                    <a:pt x="11820" y="19312"/>
                  </a:lnTo>
                  <a:cubicBezTo>
                    <a:pt x="16159" y="18468"/>
                    <a:pt x="19703" y="15947"/>
                    <a:pt x="20805" y="12664"/>
                  </a:cubicBezTo>
                  <a:cubicBezTo>
                    <a:pt x="21600" y="10296"/>
                    <a:pt x="21135" y="8089"/>
                    <a:pt x="19462" y="6280"/>
                  </a:cubicBezTo>
                  <a:cubicBezTo>
                    <a:pt x="18352" y="5079"/>
                    <a:pt x="16769" y="4131"/>
                    <a:pt x="14820" y="3462"/>
                  </a:cubicBezTo>
                  <a:cubicBezTo>
                    <a:pt x="14558" y="2431"/>
                    <a:pt x="13305" y="1647"/>
                    <a:pt x="11799" y="1647"/>
                  </a:cubicBezTo>
                  <a:cubicBezTo>
                    <a:pt x="11359" y="1647"/>
                    <a:pt x="10947" y="1715"/>
                    <a:pt x="10568" y="1835"/>
                  </a:cubicBezTo>
                  <a:lnTo>
                    <a:pt x="10642" y="88"/>
                  </a:lnTo>
                  <a:lnTo>
                    <a:pt x="6837" y="0"/>
                  </a:lnTo>
                  <a:close/>
                  <a:moveTo>
                    <a:pt x="11799" y="3017"/>
                  </a:moveTo>
                  <a:cubicBezTo>
                    <a:pt x="12376" y="3012"/>
                    <a:pt x="12879" y="3300"/>
                    <a:pt x="12982" y="3708"/>
                  </a:cubicBezTo>
                  <a:cubicBezTo>
                    <a:pt x="13088" y="4130"/>
                    <a:pt x="12736" y="4539"/>
                    <a:pt x="12167" y="4660"/>
                  </a:cubicBezTo>
                  <a:cubicBezTo>
                    <a:pt x="12051" y="4688"/>
                    <a:pt x="11928" y="4706"/>
                    <a:pt x="11799" y="4706"/>
                  </a:cubicBezTo>
                  <a:cubicBezTo>
                    <a:pt x="11152" y="4706"/>
                    <a:pt x="10625" y="4326"/>
                    <a:pt x="10626" y="3862"/>
                  </a:cubicBezTo>
                  <a:cubicBezTo>
                    <a:pt x="10628" y="3397"/>
                    <a:pt x="11153" y="3023"/>
                    <a:pt x="11799" y="3017"/>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4" name="Shape 34179">
              <a:extLst>
                <a:ext uri="{FF2B5EF4-FFF2-40B4-BE49-F238E27FC236}">
                  <a16:creationId xmlns:a16="http://schemas.microsoft.com/office/drawing/2014/main" xmlns="" id="{BD513B30-E5AF-4C52-964B-40CBE128B97A}"/>
                </a:ext>
              </a:extLst>
            </p:cNvPr>
            <p:cNvSpPr/>
            <p:nvPr/>
          </p:nvSpPr>
          <p:spPr>
            <a:xfrm>
              <a:off x="13573878" y="4409128"/>
              <a:ext cx="1096094" cy="1213368"/>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5" name="Shape 34180">
              <a:extLst>
                <a:ext uri="{FF2B5EF4-FFF2-40B4-BE49-F238E27FC236}">
                  <a16:creationId xmlns:a16="http://schemas.microsoft.com/office/drawing/2014/main" xmlns="" id="{69C63612-F7CC-47BC-B3E5-7E5DB78EBE19}"/>
                </a:ext>
              </a:extLst>
            </p:cNvPr>
            <p:cNvSpPr/>
            <p:nvPr/>
          </p:nvSpPr>
          <p:spPr>
            <a:xfrm>
              <a:off x="12366664" y="11330119"/>
              <a:ext cx="843804" cy="99274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6" name="Shape 34181">
              <a:extLst>
                <a:ext uri="{FF2B5EF4-FFF2-40B4-BE49-F238E27FC236}">
                  <a16:creationId xmlns:a16="http://schemas.microsoft.com/office/drawing/2014/main" xmlns="" id="{7FA0BDEA-F15E-4CFE-A31E-3CDA6F7B062C}"/>
                </a:ext>
              </a:extLst>
            </p:cNvPr>
            <p:cNvSpPr/>
            <p:nvPr/>
          </p:nvSpPr>
          <p:spPr>
            <a:xfrm>
              <a:off x="14244181" y="7303221"/>
              <a:ext cx="622050" cy="541076"/>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097" y="15438"/>
                  </a:lnTo>
                  <a:lnTo>
                    <a:pt x="5592" y="20234"/>
                  </a:lnTo>
                  <a:cubicBezTo>
                    <a:pt x="5592" y="20234"/>
                    <a:pt x="0" y="21600"/>
                    <a:pt x="0" y="21600"/>
                  </a:cubicBezTo>
                  <a:close/>
                  <a:moveTo>
                    <a:pt x="6275" y="19576"/>
                  </a:moveTo>
                  <a:lnTo>
                    <a:pt x="2779" y="14780"/>
                  </a:lnTo>
                  <a:lnTo>
                    <a:pt x="14944" y="3046"/>
                  </a:lnTo>
                  <a:lnTo>
                    <a:pt x="18443" y="7840"/>
                  </a:lnTo>
                  <a:cubicBezTo>
                    <a:pt x="18443" y="7840"/>
                    <a:pt x="6275" y="19576"/>
                    <a:pt x="6275" y="19576"/>
                  </a:cubicBezTo>
                  <a:close/>
                  <a:moveTo>
                    <a:pt x="19138" y="7167"/>
                  </a:moveTo>
                  <a:lnTo>
                    <a:pt x="15640" y="2373"/>
                  </a:lnTo>
                  <a:lnTo>
                    <a:pt x="18101" y="0"/>
                  </a:lnTo>
                  <a:lnTo>
                    <a:pt x="21600" y="4794"/>
                  </a:lnTo>
                  <a:cubicBezTo>
                    <a:pt x="21600" y="4794"/>
                    <a:pt x="19138" y="7167"/>
                    <a:pt x="19138" y="716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7" name="Shape 34182">
              <a:extLst>
                <a:ext uri="{FF2B5EF4-FFF2-40B4-BE49-F238E27FC236}">
                  <a16:creationId xmlns:a16="http://schemas.microsoft.com/office/drawing/2014/main" xmlns="" id="{CC479463-51E5-4CA8-999B-BB5ABDC86BD3}"/>
                </a:ext>
              </a:extLst>
            </p:cNvPr>
            <p:cNvSpPr/>
            <p:nvPr/>
          </p:nvSpPr>
          <p:spPr>
            <a:xfrm>
              <a:off x="13576635" y="6759701"/>
              <a:ext cx="580114" cy="809692"/>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8" name="Shape 34183">
              <a:extLst>
                <a:ext uri="{FF2B5EF4-FFF2-40B4-BE49-F238E27FC236}">
                  <a16:creationId xmlns:a16="http://schemas.microsoft.com/office/drawing/2014/main" xmlns="" id="{F77B964E-CDE9-42FD-8453-C6FE66636522}"/>
                </a:ext>
              </a:extLst>
            </p:cNvPr>
            <p:cNvSpPr/>
            <p:nvPr/>
          </p:nvSpPr>
          <p:spPr>
            <a:xfrm>
              <a:off x="11615391" y="7089790"/>
              <a:ext cx="617918" cy="68403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9" name="Shape 34184">
              <a:extLst>
                <a:ext uri="{FF2B5EF4-FFF2-40B4-BE49-F238E27FC236}">
                  <a16:creationId xmlns:a16="http://schemas.microsoft.com/office/drawing/2014/main" xmlns="" id="{CB09C3F6-430F-48B8-A85E-71EB748AE385}"/>
                </a:ext>
              </a:extLst>
            </p:cNvPr>
            <p:cNvSpPr/>
            <p:nvPr/>
          </p:nvSpPr>
          <p:spPr>
            <a:xfrm>
              <a:off x="13088735" y="3291417"/>
              <a:ext cx="651942" cy="595766"/>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0" name="Shape 34185">
              <a:extLst>
                <a:ext uri="{FF2B5EF4-FFF2-40B4-BE49-F238E27FC236}">
                  <a16:creationId xmlns:a16="http://schemas.microsoft.com/office/drawing/2014/main" xmlns="" id="{507DC338-70E4-405C-B8CF-7B4BD2BF70F4}"/>
                </a:ext>
              </a:extLst>
            </p:cNvPr>
            <p:cNvSpPr/>
            <p:nvPr/>
          </p:nvSpPr>
          <p:spPr>
            <a:xfrm>
              <a:off x="12303465" y="7118398"/>
              <a:ext cx="457434" cy="615446"/>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1" name="Shape 34186">
              <a:extLst>
                <a:ext uri="{FF2B5EF4-FFF2-40B4-BE49-F238E27FC236}">
                  <a16:creationId xmlns:a16="http://schemas.microsoft.com/office/drawing/2014/main" xmlns="" id="{80D43361-4F55-4A63-8FC6-C795F6F3EBDD}"/>
                </a:ext>
              </a:extLst>
            </p:cNvPr>
            <p:cNvSpPr/>
            <p:nvPr/>
          </p:nvSpPr>
          <p:spPr>
            <a:xfrm>
              <a:off x="10902474" y="3745209"/>
              <a:ext cx="602468" cy="782846"/>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2" name="Shape 34187">
              <a:extLst>
                <a:ext uri="{FF2B5EF4-FFF2-40B4-BE49-F238E27FC236}">
                  <a16:creationId xmlns:a16="http://schemas.microsoft.com/office/drawing/2014/main" xmlns="" id="{015C2A5F-ACD0-413F-9D91-3826FD463410}"/>
                </a:ext>
              </a:extLst>
            </p:cNvPr>
            <p:cNvSpPr/>
            <p:nvPr/>
          </p:nvSpPr>
          <p:spPr>
            <a:xfrm>
              <a:off x="9646332" y="5299667"/>
              <a:ext cx="648460" cy="459644"/>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3" name="Shape 34188">
              <a:extLst>
                <a:ext uri="{FF2B5EF4-FFF2-40B4-BE49-F238E27FC236}">
                  <a16:creationId xmlns:a16="http://schemas.microsoft.com/office/drawing/2014/main" xmlns="" id="{15D64E36-76C7-4FF0-9BEC-40BD22CD97F0}"/>
                </a:ext>
              </a:extLst>
            </p:cNvPr>
            <p:cNvSpPr/>
            <p:nvPr/>
          </p:nvSpPr>
          <p:spPr>
            <a:xfrm>
              <a:off x="14782759" y="5213711"/>
              <a:ext cx="949938" cy="458576"/>
            </a:xfrm>
            <a:custGeom>
              <a:avLst/>
              <a:gdLst/>
              <a:ahLst/>
              <a:cxnLst>
                <a:cxn ang="0">
                  <a:pos x="wd2" y="hd2"/>
                </a:cxn>
                <a:cxn ang="5400000">
                  <a:pos x="wd2" y="hd2"/>
                </a:cxn>
                <a:cxn ang="10800000">
                  <a:pos x="wd2" y="hd2"/>
                </a:cxn>
                <a:cxn ang="16200000">
                  <a:pos x="wd2" y="hd2"/>
                </a:cxn>
              </a:cxnLst>
              <a:rect l="0" t="0" r="r" b="b"/>
              <a:pathLst>
                <a:path w="21600" h="21600" extrusionOk="0">
                  <a:moveTo>
                    <a:pt x="470" y="21600"/>
                  </a:moveTo>
                  <a:cubicBezTo>
                    <a:pt x="3196" y="21301"/>
                    <a:pt x="4520" y="17446"/>
                    <a:pt x="5606" y="13579"/>
                  </a:cubicBezTo>
                  <a:cubicBezTo>
                    <a:pt x="6868" y="17109"/>
                    <a:pt x="8385" y="20522"/>
                    <a:pt x="11056" y="20229"/>
                  </a:cubicBezTo>
                  <a:cubicBezTo>
                    <a:pt x="13700" y="19938"/>
                    <a:pt x="15043" y="16273"/>
                    <a:pt x="16113" y="12527"/>
                  </a:cubicBezTo>
                  <a:cubicBezTo>
                    <a:pt x="17383" y="16099"/>
                    <a:pt x="18898" y="19587"/>
                    <a:pt x="21600" y="19290"/>
                  </a:cubicBezTo>
                  <a:lnTo>
                    <a:pt x="21545" y="16807"/>
                  </a:lnTo>
                  <a:cubicBezTo>
                    <a:pt x="19258" y="17058"/>
                    <a:pt x="18061" y="13947"/>
                    <a:pt x="16772" y="10222"/>
                  </a:cubicBezTo>
                  <a:cubicBezTo>
                    <a:pt x="17878" y="6171"/>
                    <a:pt x="18899" y="2735"/>
                    <a:pt x="21214" y="2481"/>
                  </a:cubicBezTo>
                  <a:lnTo>
                    <a:pt x="21142" y="0"/>
                  </a:lnTo>
                  <a:cubicBezTo>
                    <a:pt x="18416" y="300"/>
                    <a:pt x="17080" y="4165"/>
                    <a:pt x="15994" y="8031"/>
                  </a:cubicBezTo>
                  <a:cubicBezTo>
                    <a:pt x="14732" y="4504"/>
                    <a:pt x="13210" y="1123"/>
                    <a:pt x="10541" y="1416"/>
                  </a:cubicBezTo>
                  <a:cubicBezTo>
                    <a:pt x="7892" y="1708"/>
                    <a:pt x="6571" y="5362"/>
                    <a:pt x="5501" y="9116"/>
                  </a:cubicBezTo>
                  <a:cubicBezTo>
                    <a:pt x="4229" y="5537"/>
                    <a:pt x="2706" y="2023"/>
                    <a:pt x="0" y="2320"/>
                  </a:cubicBezTo>
                  <a:cubicBezTo>
                    <a:pt x="0" y="2320"/>
                    <a:pt x="67" y="4802"/>
                    <a:pt x="67" y="4802"/>
                  </a:cubicBezTo>
                  <a:cubicBezTo>
                    <a:pt x="2361" y="4550"/>
                    <a:pt x="3548" y="7681"/>
                    <a:pt x="4841" y="11421"/>
                  </a:cubicBezTo>
                  <a:cubicBezTo>
                    <a:pt x="3737" y="15462"/>
                    <a:pt x="2709" y="18874"/>
                    <a:pt x="399" y="19128"/>
                  </a:cubicBezTo>
                  <a:lnTo>
                    <a:pt x="470" y="21600"/>
                  </a:lnTo>
                  <a:close/>
                  <a:moveTo>
                    <a:pt x="571" y="17516"/>
                  </a:moveTo>
                  <a:cubicBezTo>
                    <a:pt x="973" y="17463"/>
                    <a:pt x="1323" y="17289"/>
                    <a:pt x="1641" y="17020"/>
                  </a:cubicBezTo>
                  <a:cubicBezTo>
                    <a:pt x="1641" y="17020"/>
                    <a:pt x="1387" y="6572"/>
                    <a:pt x="1387" y="6572"/>
                  </a:cubicBezTo>
                  <a:cubicBezTo>
                    <a:pt x="1058" y="6378"/>
                    <a:pt x="699" y="6290"/>
                    <a:pt x="296" y="6330"/>
                  </a:cubicBezTo>
                  <a:lnTo>
                    <a:pt x="571" y="17516"/>
                  </a:lnTo>
                  <a:close/>
                  <a:moveTo>
                    <a:pt x="2649" y="15637"/>
                  </a:moveTo>
                  <a:cubicBezTo>
                    <a:pt x="3008" y="15009"/>
                    <a:pt x="3317" y="14212"/>
                    <a:pt x="3611" y="13297"/>
                  </a:cubicBezTo>
                  <a:lnTo>
                    <a:pt x="3530" y="9777"/>
                  </a:lnTo>
                  <a:cubicBezTo>
                    <a:pt x="3194" y="8935"/>
                    <a:pt x="2849" y="8211"/>
                    <a:pt x="2462" y="7671"/>
                  </a:cubicBezTo>
                  <a:lnTo>
                    <a:pt x="2649" y="15637"/>
                  </a:lnTo>
                  <a:close/>
                  <a:moveTo>
                    <a:pt x="6265" y="11274"/>
                  </a:moveTo>
                  <a:cubicBezTo>
                    <a:pt x="7335" y="7383"/>
                    <a:pt x="8366" y="4144"/>
                    <a:pt x="10612" y="3897"/>
                  </a:cubicBezTo>
                  <a:cubicBezTo>
                    <a:pt x="12876" y="3648"/>
                    <a:pt x="14062" y="6687"/>
                    <a:pt x="15336" y="10361"/>
                  </a:cubicBezTo>
                  <a:cubicBezTo>
                    <a:pt x="14269" y="14240"/>
                    <a:pt x="13242" y="17500"/>
                    <a:pt x="11001" y="17746"/>
                  </a:cubicBezTo>
                  <a:cubicBezTo>
                    <a:pt x="8738" y="17995"/>
                    <a:pt x="7539" y="14948"/>
                    <a:pt x="6265" y="11274"/>
                  </a:cubicBezTo>
                  <a:close/>
                  <a:moveTo>
                    <a:pt x="8019" y="13315"/>
                  </a:moveTo>
                  <a:cubicBezTo>
                    <a:pt x="8416" y="14295"/>
                    <a:pt x="8827" y="15128"/>
                    <a:pt x="9287" y="15750"/>
                  </a:cubicBezTo>
                  <a:lnTo>
                    <a:pt x="9038" y="6172"/>
                  </a:lnTo>
                  <a:cubicBezTo>
                    <a:pt x="8613" y="6892"/>
                    <a:pt x="8251" y="7817"/>
                    <a:pt x="7906" y="8878"/>
                  </a:cubicBezTo>
                  <a:lnTo>
                    <a:pt x="8019" y="13315"/>
                  </a:lnTo>
                  <a:close/>
                  <a:moveTo>
                    <a:pt x="10389" y="16077"/>
                  </a:moveTo>
                  <a:cubicBezTo>
                    <a:pt x="10611" y="16140"/>
                    <a:pt x="10842" y="16161"/>
                    <a:pt x="11095" y="16128"/>
                  </a:cubicBezTo>
                  <a:cubicBezTo>
                    <a:pt x="11223" y="16112"/>
                    <a:pt x="11344" y="16080"/>
                    <a:pt x="11463" y="16041"/>
                  </a:cubicBezTo>
                  <a:lnTo>
                    <a:pt x="11227" y="5045"/>
                  </a:lnTo>
                  <a:cubicBezTo>
                    <a:pt x="11108" y="5036"/>
                    <a:pt x="10985" y="5039"/>
                    <a:pt x="10857" y="5056"/>
                  </a:cubicBezTo>
                  <a:cubicBezTo>
                    <a:pt x="10605" y="5088"/>
                    <a:pt x="10374" y="5166"/>
                    <a:pt x="10157" y="5285"/>
                  </a:cubicBezTo>
                  <a:lnTo>
                    <a:pt x="10389" y="16077"/>
                  </a:lnTo>
                  <a:close/>
                  <a:moveTo>
                    <a:pt x="12594" y="15655"/>
                  </a:moveTo>
                  <a:cubicBezTo>
                    <a:pt x="12999" y="15123"/>
                    <a:pt x="13343" y="14414"/>
                    <a:pt x="13661" y="13573"/>
                  </a:cubicBezTo>
                  <a:lnTo>
                    <a:pt x="13528" y="7680"/>
                  </a:lnTo>
                  <a:cubicBezTo>
                    <a:pt x="13173" y="6920"/>
                    <a:pt x="12798" y="6300"/>
                    <a:pt x="12371" y="5869"/>
                  </a:cubicBezTo>
                  <a:lnTo>
                    <a:pt x="12594" y="15655"/>
                  </a:lnTo>
                  <a:close/>
                  <a:moveTo>
                    <a:pt x="18081" y="11798"/>
                  </a:moveTo>
                  <a:cubicBezTo>
                    <a:pt x="18416" y="12578"/>
                    <a:pt x="18758" y="13235"/>
                    <a:pt x="19139" y="13718"/>
                  </a:cubicBezTo>
                  <a:lnTo>
                    <a:pt x="18884" y="6051"/>
                  </a:lnTo>
                  <a:cubicBezTo>
                    <a:pt x="18541" y="6694"/>
                    <a:pt x="18245" y="7495"/>
                    <a:pt x="17967" y="8411"/>
                  </a:cubicBezTo>
                  <a:lnTo>
                    <a:pt x="18081" y="11798"/>
                  </a:lnTo>
                  <a:close/>
                  <a:moveTo>
                    <a:pt x="20486" y="14708"/>
                  </a:moveTo>
                  <a:cubicBezTo>
                    <a:pt x="20804" y="14878"/>
                    <a:pt x="21150" y="14947"/>
                    <a:pt x="21538" y="14889"/>
                  </a:cubicBezTo>
                  <a:lnTo>
                    <a:pt x="21229" y="4150"/>
                  </a:lnTo>
                  <a:cubicBezTo>
                    <a:pt x="20842" y="4223"/>
                    <a:pt x="20502" y="4409"/>
                    <a:pt x="20197" y="4684"/>
                  </a:cubicBezTo>
                  <a:cubicBezTo>
                    <a:pt x="20197" y="4684"/>
                    <a:pt x="20486" y="14708"/>
                    <a:pt x="20486" y="147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4" name="Shape 34189">
              <a:extLst>
                <a:ext uri="{FF2B5EF4-FFF2-40B4-BE49-F238E27FC236}">
                  <a16:creationId xmlns:a16="http://schemas.microsoft.com/office/drawing/2014/main" xmlns="" id="{4DE8BEAF-7A0E-4B22-8F76-2F748EE4D29B}"/>
                </a:ext>
              </a:extLst>
            </p:cNvPr>
            <p:cNvSpPr/>
            <p:nvPr/>
          </p:nvSpPr>
          <p:spPr>
            <a:xfrm>
              <a:off x="12966315" y="3935732"/>
              <a:ext cx="606684"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5" name="Shape 34190">
              <a:extLst>
                <a:ext uri="{FF2B5EF4-FFF2-40B4-BE49-F238E27FC236}">
                  <a16:creationId xmlns:a16="http://schemas.microsoft.com/office/drawing/2014/main" xmlns="" id="{2090DCD0-CEBA-434C-A28F-C10457C628AF}"/>
                </a:ext>
              </a:extLst>
            </p:cNvPr>
            <p:cNvSpPr/>
            <p:nvPr/>
          </p:nvSpPr>
          <p:spPr>
            <a:xfrm>
              <a:off x="8736613" y="4207504"/>
              <a:ext cx="967678" cy="820704"/>
            </a:xfrm>
            <a:custGeom>
              <a:avLst/>
              <a:gdLst/>
              <a:ahLst/>
              <a:cxnLst>
                <a:cxn ang="0">
                  <a:pos x="wd2" y="hd2"/>
                </a:cxn>
                <a:cxn ang="5400000">
                  <a:pos x="wd2" y="hd2"/>
                </a:cxn>
                <a:cxn ang="10800000">
                  <a:pos x="wd2" y="hd2"/>
                </a:cxn>
                <a:cxn ang="16200000">
                  <a:pos x="wd2" y="hd2"/>
                </a:cxn>
              </a:cxnLst>
              <a:rect l="0" t="0" r="r" b="b"/>
              <a:pathLst>
                <a:path w="21275" h="21218" extrusionOk="0">
                  <a:moveTo>
                    <a:pt x="17160" y="16531"/>
                  </a:moveTo>
                  <a:lnTo>
                    <a:pt x="3281" y="10266"/>
                  </a:lnTo>
                  <a:lnTo>
                    <a:pt x="6158" y="1453"/>
                  </a:lnTo>
                  <a:lnTo>
                    <a:pt x="20037" y="7718"/>
                  </a:lnTo>
                  <a:cubicBezTo>
                    <a:pt x="20037" y="7718"/>
                    <a:pt x="17160" y="16531"/>
                    <a:pt x="17160" y="16531"/>
                  </a:cubicBezTo>
                  <a:close/>
                  <a:moveTo>
                    <a:pt x="20480" y="6363"/>
                  </a:moveTo>
                  <a:lnTo>
                    <a:pt x="6600" y="98"/>
                  </a:lnTo>
                  <a:cubicBezTo>
                    <a:pt x="5961" y="-191"/>
                    <a:pt x="5246" y="183"/>
                    <a:pt x="5001" y="931"/>
                  </a:cubicBezTo>
                  <a:cubicBezTo>
                    <a:pt x="5001" y="931"/>
                    <a:pt x="1682" y="11100"/>
                    <a:pt x="1694" y="11105"/>
                  </a:cubicBezTo>
                  <a:lnTo>
                    <a:pt x="17862" y="18403"/>
                  </a:lnTo>
                  <a:cubicBezTo>
                    <a:pt x="17874" y="18409"/>
                    <a:pt x="21194" y="8240"/>
                    <a:pt x="21194" y="8240"/>
                  </a:cubicBezTo>
                  <a:cubicBezTo>
                    <a:pt x="21438" y="7492"/>
                    <a:pt x="21118" y="6651"/>
                    <a:pt x="20480" y="6363"/>
                  </a:cubicBezTo>
                  <a:close/>
                  <a:moveTo>
                    <a:pt x="16989" y="21121"/>
                  </a:moveTo>
                  <a:lnTo>
                    <a:pt x="797" y="13812"/>
                  </a:lnTo>
                  <a:cubicBezTo>
                    <a:pt x="157" y="13523"/>
                    <a:pt x="-162" y="12683"/>
                    <a:pt x="83" y="11934"/>
                  </a:cubicBezTo>
                  <a:lnTo>
                    <a:pt x="304" y="11256"/>
                  </a:lnTo>
                  <a:lnTo>
                    <a:pt x="7822" y="14649"/>
                  </a:lnTo>
                  <a:lnTo>
                    <a:pt x="7600" y="15327"/>
                  </a:lnTo>
                  <a:lnTo>
                    <a:pt x="11070" y="16893"/>
                  </a:lnTo>
                  <a:lnTo>
                    <a:pt x="11291" y="16216"/>
                  </a:lnTo>
                  <a:lnTo>
                    <a:pt x="18810" y="19609"/>
                  </a:lnTo>
                  <a:lnTo>
                    <a:pt x="18588" y="20287"/>
                  </a:lnTo>
                  <a:cubicBezTo>
                    <a:pt x="18344" y="21036"/>
                    <a:pt x="17627" y="21409"/>
                    <a:pt x="16989" y="21121"/>
                  </a:cubicBezTo>
                  <a:cubicBezTo>
                    <a:pt x="16989" y="21121"/>
                    <a:pt x="16989" y="21121"/>
                    <a:pt x="16989" y="2112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6" name="Shape 34191">
              <a:extLst>
                <a:ext uri="{FF2B5EF4-FFF2-40B4-BE49-F238E27FC236}">
                  <a16:creationId xmlns:a16="http://schemas.microsoft.com/office/drawing/2014/main" xmlns="" id="{81DC5877-FE6C-4D99-8248-A6CCDCC58DC6}"/>
                </a:ext>
              </a:extLst>
            </p:cNvPr>
            <p:cNvSpPr/>
            <p:nvPr/>
          </p:nvSpPr>
          <p:spPr>
            <a:xfrm>
              <a:off x="12884222" y="7775447"/>
              <a:ext cx="606686" cy="867474"/>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7" name="Shape 34192">
              <a:extLst>
                <a:ext uri="{FF2B5EF4-FFF2-40B4-BE49-F238E27FC236}">
                  <a16:creationId xmlns:a16="http://schemas.microsoft.com/office/drawing/2014/main" xmlns="" id="{DC2349CE-378D-4A6C-9DF3-079704DEBFF3}"/>
                </a:ext>
              </a:extLst>
            </p:cNvPr>
            <p:cNvSpPr/>
            <p:nvPr/>
          </p:nvSpPr>
          <p:spPr>
            <a:xfrm>
              <a:off x="9950402" y="3061775"/>
              <a:ext cx="885232" cy="1041484"/>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8" name="Shape 34193">
              <a:extLst>
                <a:ext uri="{FF2B5EF4-FFF2-40B4-BE49-F238E27FC236}">
                  <a16:creationId xmlns:a16="http://schemas.microsoft.com/office/drawing/2014/main" xmlns="" id="{7F55A1DF-CE33-4ED5-BA43-82133126B5C2}"/>
                </a:ext>
              </a:extLst>
            </p:cNvPr>
            <p:cNvSpPr/>
            <p:nvPr/>
          </p:nvSpPr>
          <p:spPr>
            <a:xfrm>
              <a:off x="11615551" y="3334957"/>
              <a:ext cx="818520" cy="818520"/>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9" name="Shape 34194">
              <a:extLst>
                <a:ext uri="{FF2B5EF4-FFF2-40B4-BE49-F238E27FC236}">
                  <a16:creationId xmlns:a16="http://schemas.microsoft.com/office/drawing/2014/main" xmlns="" id="{A9149A35-915C-4796-81D9-ED9F558F388C}"/>
                </a:ext>
              </a:extLst>
            </p:cNvPr>
            <p:cNvSpPr/>
            <p:nvPr/>
          </p:nvSpPr>
          <p:spPr>
            <a:xfrm>
              <a:off x="14592598" y="6234099"/>
              <a:ext cx="850388" cy="976334"/>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0" name="Shape 34195">
              <a:extLst>
                <a:ext uri="{FF2B5EF4-FFF2-40B4-BE49-F238E27FC236}">
                  <a16:creationId xmlns:a16="http://schemas.microsoft.com/office/drawing/2014/main" xmlns="" id="{4E5B0DED-8847-465B-916E-3DD49435533A}"/>
                </a:ext>
              </a:extLst>
            </p:cNvPr>
            <p:cNvSpPr/>
            <p:nvPr/>
          </p:nvSpPr>
          <p:spPr>
            <a:xfrm>
              <a:off x="13429434" y="7344882"/>
              <a:ext cx="433382" cy="479750"/>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1" name="Shape 34196">
              <a:extLst>
                <a:ext uri="{FF2B5EF4-FFF2-40B4-BE49-F238E27FC236}">
                  <a16:creationId xmlns:a16="http://schemas.microsoft.com/office/drawing/2014/main" xmlns="" id="{B3784106-762D-42A2-BD0A-26F11E8C06FE}"/>
                </a:ext>
              </a:extLst>
            </p:cNvPr>
            <p:cNvSpPr/>
            <p:nvPr/>
          </p:nvSpPr>
          <p:spPr>
            <a:xfrm>
              <a:off x="12395982" y="2571694"/>
              <a:ext cx="1203272" cy="672004"/>
            </a:xfrm>
            <a:custGeom>
              <a:avLst/>
              <a:gdLst/>
              <a:ahLst/>
              <a:cxnLst>
                <a:cxn ang="0">
                  <a:pos x="wd2" y="hd2"/>
                </a:cxn>
                <a:cxn ang="5400000">
                  <a:pos x="wd2" y="hd2"/>
                </a:cxn>
                <a:cxn ang="10800000">
                  <a:pos x="wd2" y="hd2"/>
                </a:cxn>
                <a:cxn ang="16200000">
                  <a:pos x="wd2" y="hd2"/>
                </a:cxn>
              </a:cxnLst>
              <a:rect l="0" t="0" r="r" b="b"/>
              <a:pathLst>
                <a:path w="21600" h="21600" extrusionOk="0">
                  <a:moveTo>
                    <a:pt x="0" y="15895"/>
                  </a:moveTo>
                  <a:cubicBezTo>
                    <a:pt x="2602" y="16630"/>
                    <a:pt x="4225" y="13961"/>
                    <a:pt x="5624" y="11197"/>
                  </a:cubicBezTo>
                  <a:cubicBezTo>
                    <a:pt x="6473" y="14530"/>
                    <a:pt x="7574" y="17859"/>
                    <a:pt x="10123" y="18579"/>
                  </a:cubicBezTo>
                  <a:cubicBezTo>
                    <a:pt x="12646" y="19291"/>
                    <a:pt x="14269" y="16784"/>
                    <a:pt x="15641" y="14112"/>
                  </a:cubicBezTo>
                  <a:cubicBezTo>
                    <a:pt x="16494" y="17483"/>
                    <a:pt x="17585" y="20872"/>
                    <a:pt x="20164" y="21600"/>
                  </a:cubicBezTo>
                  <a:lnTo>
                    <a:pt x="20353" y="19555"/>
                  </a:lnTo>
                  <a:cubicBezTo>
                    <a:pt x="18170" y="18939"/>
                    <a:pt x="17341" y="15971"/>
                    <a:pt x="16486" y="12469"/>
                  </a:cubicBezTo>
                  <a:cubicBezTo>
                    <a:pt x="17922" y="9562"/>
                    <a:pt x="19218" y="7126"/>
                    <a:pt x="21427" y="7750"/>
                  </a:cubicBezTo>
                  <a:lnTo>
                    <a:pt x="21600" y="5701"/>
                  </a:lnTo>
                  <a:cubicBezTo>
                    <a:pt x="18998" y="4966"/>
                    <a:pt x="17363" y="7639"/>
                    <a:pt x="15964" y="10403"/>
                  </a:cubicBezTo>
                  <a:cubicBezTo>
                    <a:pt x="15115" y="7072"/>
                    <a:pt x="14006" y="3768"/>
                    <a:pt x="11458" y="3048"/>
                  </a:cubicBezTo>
                  <a:cubicBezTo>
                    <a:pt x="8930" y="2335"/>
                    <a:pt x="7330" y="4841"/>
                    <a:pt x="5956" y="7519"/>
                  </a:cubicBezTo>
                  <a:cubicBezTo>
                    <a:pt x="5103" y="4143"/>
                    <a:pt x="4006" y="730"/>
                    <a:pt x="1424" y="0"/>
                  </a:cubicBezTo>
                  <a:cubicBezTo>
                    <a:pt x="1424" y="0"/>
                    <a:pt x="1247" y="2048"/>
                    <a:pt x="1247" y="2048"/>
                  </a:cubicBezTo>
                  <a:cubicBezTo>
                    <a:pt x="3436" y="2666"/>
                    <a:pt x="4253" y="5647"/>
                    <a:pt x="5111" y="9162"/>
                  </a:cubicBezTo>
                  <a:cubicBezTo>
                    <a:pt x="3678" y="12062"/>
                    <a:pt x="2378" y="14476"/>
                    <a:pt x="172" y="13853"/>
                  </a:cubicBezTo>
                  <a:lnTo>
                    <a:pt x="0" y="15895"/>
                  </a:lnTo>
                  <a:close/>
                  <a:moveTo>
                    <a:pt x="491" y="12600"/>
                  </a:moveTo>
                  <a:cubicBezTo>
                    <a:pt x="875" y="12701"/>
                    <a:pt x="1223" y="12685"/>
                    <a:pt x="1549" y="12580"/>
                  </a:cubicBezTo>
                  <a:cubicBezTo>
                    <a:pt x="1549" y="12580"/>
                    <a:pt x="2321" y="3967"/>
                    <a:pt x="2321" y="3967"/>
                  </a:cubicBezTo>
                  <a:cubicBezTo>
                    <a:pt x="2030" y="3690"/>
                    <a:pt x="1699" y="3489"/>
                    <a:pt x="1315" y="3377"/>
                  </a:cubicBezTo>
                  <a:lnTo>
                    <a:pt x="491" y="12600"/>
                  </a:lnTo>
                  <a:close/>
                  <a:moveTo>
                    <a:pt x="2634" y="11814"/>
                  </a:moveTo>
                  <a:cubicBezTo>
                    <a:pt x="3034" y="11431"/>
                    <a:pt x="3403" y="10892"/>
                    <a:pt x="3769" y="10250"/>
                  </a:cubicBezTo>
                  <a:lnTo>
                    <a:pt x="4033" y="7350"/>
                  </a:lnTo>
                  <a:cubicBezTo>
                    <a:pt x="3797" y="6543"/>
                    <a:pt x="3542" y="5828"/>
                    <a:pt x="3229" y="5249"/>
                  </a:cubicBezTo>
                  <a:lnTo>
                    <a:pt x="2634" y="11814"/>
                  </a:lnTo>
                  <a:close/>
                  <a:moveTo>
                    <a:pt x="6469" y="9554"/>
                  </a:moveTo>
                  <a:cubicBezTo>
                    <a:pt x="7855" y="6764"/>
                    <a:pt x="9142" y="4492"/>
                    <a:pt x="11285" y="5097"/>
                  </a:cubicBezTo>
                  <a:cubicBezTo>
                    <a:pt x="13446" y="5708"/>
                    <a:pt x="14271" y="8612"/>
                    <a:pt x="15117" y="12067"/>
                  </a:cubicBezTo>
                  <a:cubicBezTo>
                    <a:pt x="13735" y="14848"/>
                    <a:pt x="12450" y="17138"/>
                    <a:pt x="10312" y="16534"/>
                  </a:cubicBezTo>
                  <a:cubicBezTo>
                    <a:pt x="8151" y="15924"/>
                    <a:pt x="7315" y="13008"/>
                    <a:pt x="6469" y="9554"/>
                  </a:cubicBezTo>
                  <a:close/>
                  <a:moveTo>
                    <a:pt x="7926" y="11848"/>
                  </a:moveTo>
                  <a:cubicBezTo>
                    <a:pt x="8206" y="12791"/>
                    <a:pt x="8514" y="13618"/>
                    <a:pt x="8887" y="14290"/>
                  </a:cubicBezTo>
                  <a:lnTo>
                    <a:pt x="9579" y="6388"/>
                  </a:lnTo>
                  <a:cubicBezTo>
                    <a:pt x="9109" y="6822"/>
                    <a:pt x="8677" y="7447"/>
                    <a:pt x="8249" y="8189"/>
                  </a:cubicBezTo>
                  <a:lnTo>
                    <a:pt x="7926" y="11848"/>
                  </a:lnTo>
                  <a:close/>
                  <a:moveTo>
                    <a:pt x="9896" y="14953"/>
                  </a:moveTo>
                  <a:cubicBezTo>
                    <a:pt x="10099" y="15084"/>
                    <a:pt x="10315" y="15184"/>
                    <a:pt x="10557" y="15248"/>
                  </a:cubicBezTo>
                  <a:cubicBezTo>
                    <a:pt x="10679" y="15281"/>
                    <a:pt x="10797" y="15298"/>
                    <a:pt x="10912" y="15309"/>
                  </a:cubicBezTo>
                  <a:lnTo>
                    <a:pt x="11755" y="6255"/>
                  </a:lnTo>
                  <a:cubicBezTo>
                    <a:pt x="11643" y="6205"/>
                    <a:pt x="11527" y="6163"/>
                    <a:pt x="11404" y="6131"/>
                  </a:cubicBezTo>
                  <a:cubicBezTo>
                    <a:pt x="11163" y="6066"/>
                    <a:pt x="10938" y="6048"/>
                    <a:pt x="10721" y="6066"/>
                  </a:cubicBezTo>
                  <a:lnTo>
                    <a:pt x="9896" y="14953"/>
                  </a:lnTo>
                  <a:close/>
                  <a:moveTo>
                    <a:pt x="12018" y="15401"/>
                  </a:moveTo>
                  <a:cubicBezTo>
                    <a:pt x="12451" y="15112"/>
                    <a:pt x="12844" y="14657"/>
                    <a:pt x="13226" y="14085"/>
                  </a:cubicBezTo>
                  <a:lnTo>
                    <a:pt x="13671" y="9231"/>
                  </a:lnTo>
                  <a:cubicBezTo>
                    <a:pt x="13409" y="8483"/>
                    <a:pt x="13115" y="7842"/>
                    <a:pt x="12755" y="7338"/>
                  </a:cubicBezTo>
                  <a:lnTo>
                    <a:pt x="12018" y="15401"/>
                  </a:lnTo>
                  <a:close/>
                  <a:moveTo>
                    <a:pt x="17569" y="14225"/>
                  </a:moveTo>
                  <a:cubicBezTo>
                    <a:pt x="17809" y="14981"/>
                    <a:pt x="18068" y="15640"/>
                    <a:pt x="18381" y="16171"/>
                  </a:cubicBezTo>
                  <a:lnTo>
                    <a:pt x="18883" y="9826"/>
                  </a:lnTo>
                  <a:cubicBezTo>
                    <a:pt x="18496" y="10227"/>
                    <a:pt x="18140" y="10774"/>
                    <a:pt x="17789" y="11421"/>
                  </a:cubicBezTo>
                  <a:lnTo>
                    <a:pt x="17569" y="14225"/>
                  </a:lnTo>
                  <a:close/>
                  <a:moveTo>
                    <a:pt x="19556" y="17463"/>
                  </a:moveTo>
                  <a:cubicBezTo>
                    <a:pt x="19840" y="17716"/>
                    <a:pt x="20160" y="17896"/>
                    <a:pt x="20532" y="17987"/>
                  </a:cubicBezTo>
                  <a:lnTo>
                    <a:pt x="21280" y="9117"/>
                  </a:lnTo>
                  <a:cubicBezTo>
                    <a:pt x="20907" y="9037"/>
                    <a:pt x="20569" y="9067"/>
                    <a:pt x="20254" y="9182"/>
                  </a:cubicBezTo>
                  <a:cubicBezTo>
                    <a:pt x="20254" y="9182"/>
                    <a:pt x="19556" y="17463"/>
                    <a:pt x="19556" y="1746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2" name="Shape 34197">
              <a:extLst>
                <a:ext uri="{FF2B5EF4-FFF2-40B4-BE49-F238E27FC236}">
                  <a16:creationId xmlns:a16="http://schemas.microsoft.com/office/drawing/2014/main" xmlns="" id="{A2E52E28-4743-433D-8551-9F5C6B09A9F2}"/>
                </a:ext>
              </a:extLst>
            </p:cNvPr>
            <p:cNvSpPr/>
            <p:nvPr/>
          </p:nvSpPr>
          <p:spPr>
            <a:xfrm>
              <a:off x="13886540" y="2993820"/>
              <a:ext cx="578410" cy="610580"/>
            </a:xfrm>
            <a:custGeom>
              <a:avLst/>
              <a:gdLst/>
              <a:ahLst/>
              <a:cxnLst>
                <a:cxn ang="0">
                  <a:pos x="wd2" y="hd2"/>
                </a:cxn>
                <a:cxn ang="5400000">
                  <a:pos x="wd2" y="hd2"/>
                </a:cxn>
                <a:cxn ang="10800000">
                  <a:pos x="wd2" y="hd2"/>
                </a:cxn>
                <a:cxn ang="16200000">
                  <a:pos x="wd2" y="hd2"/>
                </a:cxn>
              </a:cxnLst>
              <a:rect l="0" t="0" r="r" b="b"/>
              <a:pathLst>
                <a:path w="21272" h="21285" extrusionOk="0">
                  <a:moveTo>
                    <a:pt x="7646" y="529"/>
                  </a:moveTo>
                  <a:cubicBezTo>
                    <a:pt x="7990" y="7"/>
                    <a:pt x="8716" y="-158"/>
                    <a:pt x="9266" y="168"/>
                  </a:cubicBezTo>
                  <a:lnTo>
                    <a:pt x="20724" y="6954"/>
                  </a:lnTo>
                  <a:cubicBezTo>
                    <a:pt x="21274" y="7280"/>
                    <a:pt x="21435" y="7971"/>
                    <a:pt x="21091" y="8493"/>
                  </a:cubicBezTo>
                  <a:lnTo>
                    <a:pt x="13003" y="20763"/>
                  </a:lnTo>
                  <a:cubicBezTo>
                    <a:pt x="12659" y="21284"/>
                    <a:pt x="11938" y="21442"/>
                    <a:pt x="11388" y="21116"/>
                  </a:cubicBezTo>
                  <a:lnTo>
                    <a:pt x="8398" y="19345"/>
                  </a:lnTo>
                  <a:lnTo>
                    <a:pt x="10574" y="16044"/>
                  </a:lnTo>
                  <a:cubicBezTo>
                    <a:pt x="10918" y="15523"/>
                    <a:pt x="10752" y="14839"/>
                    <a:pt x="10202" y="14513"/>
                  </a:cubicBezTo>
                  <a:lnTo>
                    <a:pt x="8206" y="13331"/>
                  </a:lnTo>
                  <a:cubicBezTo>
                    <a:pt x="7656" y="13006"/>
                    <a:pt x="6935" y="13163"/>
                    <a:pt x="6591" y="13685"/>
                  </a:cubicBezTo>
                  <a:lnTo>
                    <a:pt x="4415" y="16986"/>
                  </a:lnTo>
                  <a:lnTo>
                    <a:pt x="1926" y="15512"/>
                  </a:lnTo>
                  <a:cubicBezTo>
                    <a:pt x="1376" y="15186"/>
                    <a:pt x="1202" y="14498"/>
                    <a:pt x="1545" y="13976"/>
                  </a:cubicBezTo>
                  <a:lnTo>
                    <a:pt x="552" y="13387"/>
                  </a:lnTo>
                  <a:cubicBezTo>
                    <a:pt x="2" y="13062"/>
                    <a:pt x="-165" y="12378"/>
                    <a:pt x="179" y="11857"/>
                  </a:cubicBezTo>
                  <a:lnTo>
                    <a:pt x="7646" y="529"/>
                  </a:lnTo>
                  <a:close/>
                  <a:moveTo>
                    <a:pt x="8332" y="1585"/>
                  </a:moveTo>
                  <a:lnTo>
                    <a:pt x="1799" y="11496"/>
                  </a:lnTo>
                  <a:cubicBezTo>
                    <a:pt x="1799" y="11496"/>
                    <a:pt x="1170" y="12444"/>
                    <a:pt x="2166" y="13034"/>
                  </a:cubicBezTo>
                  <a:lnTo>
                    <a:pt x="9326" y="2173"/>
                  </a:lnTo>
                  <a:cubicBezTo>
                    <a:pt x="9498" y="1913"/>
                    <a:pt x="9416" y="1577"/>
                    <a:pt x="9141" y="1414"/>
                  </a:cubicBezTo>
                  <a:cubicBezTo>
                    <a:pt x="8866" y="1251"/>
                    <a:pt x="8504" y="1324"/>
                    <a:pt x="8332" y="1585"/>
                  </a:cubicBezTo>
                  <a:close/>
                  <a:moveTo>
                    <a:pt x="6784" y="14449"/>
                  </a:moveTo>
                  <a:cubicBezTo>
                    <a:pt x="7128" y="13927"/>
                    <a:pt x="7849" y="13769"/>
                    <a:pt x="8399" y="14095"/>
                  </a:cubicBezTo>
                  <a:lnTo>
                    <a:pt x="9393" y="14684"/>
                  </a:lnTo>
                  <a:cubicBezTo>
                    <a:pt x="9943" y="15010"/>
                    <a:pt x="10109" y="15693"/>
                    <a:pt x="9766" y="16215"/>
                  </a:cubicBezTo>
                  <a:lnTo>
                    <a:pt x="7897" y="19049"/>
                  </a:lnTo>
                  <a:cubicBezTo>
                    <a:pt x="7554" y="19570"/>
                    <a:pt x="6827" y="19735"/>
                    <a:pt x="6277" y="19410"/>
                  </a:cubicBezTo>
                  <a:lnTo>
                    <a:pt x="5284" y="18821"/>
                  </a:lnTo>
                  <a:cubicBezTo>
                    <a:pt x="4733" y="18495"/>
                    <a:pt x="4572" y="17804"/>
                    <a:pt x="4916" y="17283"/>
                  </a:cubicBezTo>
                  <a:lnTo>
                    <a:pt x="6784" y="14449"/>
                  </a:lnTo>
                  <a:close/>
                  <a:moveTo>
                    <a:pt x="7465" y="15512"/>
                  </a:moveTo>
                  <a:cubicBezTo>
                    <a:pt x="7293" y="15773"/>
                    <a:pt x="7369" y="16116"/>
                    <a:pt x="7645" y="16279"/>
                  </a:cubicBezTo>
                  <a:cubicBezTo>
                    <a:pt x="7920" y="16442"/>
                    <a:pt x="8287" y="16362"/>
                    <a:pt x="8459" y="16101"/>
                  </a:cubicBezTo>
                  <a:cubicBezTo>
                    <a:pt x="8630" y="15840"/>
                    <a:pt x="8546" y="15492"/>
                    <a:pt x="8271" y="15329"/>
                  </a:cubicBezTo>
                  <a:cubicBezTo>
                    <a:pt x="7995" y="15166"/>
                    <a:pt x="7637" y="15251"/>
                    <a:pt x="7465" y="1551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3" name="Shape 34198">
              <a:extLst>
                <a:ext uri="{FF2B5EF4-FFF2-40B4-BE49-F238E27FC236}">
                  <a16:creationId xmlns:a16="http://schemas.microsoft.com/office/drawing/2014/main" xmlns="" id="{4FDD96D6-C5EB-45BA-905B-AFD22F78758C}"/>
                </a:ext>
              </a:extLst>
            </p:cNvPr>
            <p:cNvSpPr/>
            <p:nvPr/>
          </p:nvSpPr>
          <p:spPr>
            <a:xfrm>
              <a:off x="10894630" y="2650276"/>
              <a:ext cx="621486" cy="960340"/>
            </a:xfrm>
            <a:custGeom>
              <a:avLst/>
              <a:gdLst/>
              <a:ahLst/>
              <a:cxnLst>
                <a:cxn ang="0">
                  <a:pos x="wd2" y="hd2"/>
                </a:cxn>
                <a:cxn ang="5400000">
                  <a:pos x="wd2" y="hd2"/>
                </a:cxn>
                <a:cxn ang="10800000">
                  <a:pos x="wd2" y="hd2"/>
                </a:cxn>
                <a:cxn ang="16200000">
                  <a:pos x="wd2" y="hd2"/>
                </a:cxn>
              </a:cxnLst>
              <a:rect l="0" t="0" r="r" b="b"/>
              <a:pathLst>
                <a:path w="21220" h="21353" extrusionOk="0">
                  <a:moveTo>
                    <a:pt x="15021" y="3564"/>
                  </a:moveTo>
                  <a:lnTo>
                    <a:pt x="1858" y="5543"/>
                  </a:lnTo>
                  <a:lnTo>
                    <a:pt x="6199" y="17788"/>
                  </a:lnTo>
                  <a:lnTo>
                    <a:pt x="19362" y="15809"/>
                  </a:lnTo>
                  <a:cubicBezTo>
                    <a:pt x="19362" y="15809"/>
                    <a:pt x="15021" y="3564"/>
                    <a:pt x="15021" y="3564"/>
                  </a:cubicBezTo>
                  <a:close/>
                  <a:moveTo>
                    <a:pt x="10139" y="2364"/>
                  </a:moveTo>
                  <a:lnTo>
                    <a:pt x="5438" y="3070"/>
                  </a:lnTo>
                  <a:cubicBezTo>
                    <a:pt x="5178" y="3109"/>
                    <a:pt x="5016" y="3278"/>
                    <a:pt x="5076" y="3447"/>
                  </a:cubicBezTo>
                  <a:cubicBezTo>
                    <a:pt x="5136" y="3616"/>
                    <a:pt x="5395" y="3722"/>
                    <a:pt x="5655" y="3683"/>
                  </a:cubicBezTo>
                  <a:lnTo>
                    <a:pt x="10356" y="2976"/>
                  </a:lnTo>
                  <a:cubicBezTo>
                    <a:pt x="10615" y="2937"/>
                    <a:pt x="10777" y="2768"/>
                    <a:pt x="10717" y="2599"/>
                  </a:cubicBezTo>
                  <a:cubicBezTo>
                    <a:pt x="10657" y="2430"/>
                    <a:pt x="10398" y="2325"/>
                    <a:pt x="10139" y="2364"/>
                  </a:cubicBezTo>
                  <a:close/>
                  <a:moveTo>
                    <a:pt x="14119" y="19177"/>
                  </a:moveTo>
                  <a:cubicBezTo>
                    <a:pt x="14897" y="19060"/>
                    <a:pt x="15383" y="18554"/>
                    <a:pt x="15204" y="18046"/>
                  </a:cubicBezTo>
                  <a:cubicBezTo>
                    <a:pt x="15024" y="17539"/>
                    <a:pt x="14246" y="17223"/>
                    <a:pt x="13468" y="17340"/>
                  </a:cubicBezTo>
                  <a:cubicBezTo>
                    <a:pt x="12689" y="17457"/>
                    <a:pt x="12203" y="17963"/>
                    <a:pt x="12383" y="18470"/>
                  </a:cubicBezTo>
                  <a:cubicBezTo>
                    <a:pt x="12563" y="18978"/>
                    <a:pt x="13340" y="19294"/>
                    <a:pt x="14119" y="19177"/>
                  </a:cubicBezTo>
                  <a:close/>
                  <a:moveTo>
                    <a:pt x="19724" y="19624"/>
                  </a:moveTo>
                  <a:lnTo>
                    <a:pt x="8442" y="21320"/>
                  </a:lnTo>
                  <a:cubicBezTo>
                    <a:pt x="7403" y="21476"/>
                    <a:pt x="6367" y="21054"/>
                    <a:pt x="6127" y="20378"/>
                  </a:cubicBezTo>
                  <a:lnTo>
                    <a:pt x="50" y="3235"/>
                  </a:lnTo>
                  <a:cubicBezTo>
                    <a:pt x="-190" y="2559"/>
                    <a:pt x="458" y="1884"/>
                    <a:pt x="1496" y="1728"/>
                  </a:cubicBezTo>
                  <a:lnTo>
                    <a:pt x="12778" y="32"/>
                  </a:lnTo>
                  <a:cubicBezTo>
                    <a:pt x="13817" y="-124"/>
                    <a:pt x="14853" y="298"/>
                    <a:pt x="15093" y="974"/>
                  </a:cubicBezTo>
                  <a:lnTo>
                    <a:pt x="21170" y="18117"/>
                  </a:lnTo>
                  <a:cubicBezTo>
                    <a:pt x="21410" y="18793"/>
                    <a:pt x="20762" y="19468"/>
                    <a:pt x="19724" y="1962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4" name="Shape 34199">
              <a:extLst>
                <a:ext uri="{FF2B5EF4-FFF2-40B4-BE49-F238E27FC236}">
                  <a16:creationId xmlns:a16="http://schemas.microsoft.com/office/drawing/2014/main" xmlns="" id="{F0F1BAA8-F1D0-4DD8-B301-775A694F35A4}"/>
                </a:ext>
              </a:extLst>
            </p:cNvPr>
            <p:cNvSpPr/>
            <p:nvPr/>
          </p:nvSpPr>
          <p:spPr>
            <a:xfrm>
              <a:off x="11662409" y="2578131"/>
              <a:ext cx="539930" cy="685716"/>
            </a:xfrm>
            <a:custGeom>
              <a:avLst/>
              <a:gdLst/>
              <a:ahLst/>
              <a:cxnLst>
                <a:cxn ang="0">
                  <a:pos x="wd2" y="hd2"/>
                </a:cxn>
                <a:cxn ang="5400000">
                  <a:pos x="wd2" y="hd2"/>
                </a:cxn>
                <a:cxn ang="10800000">
                  <a:pos x="wd2" y="hd2"/>
                </a:cxn>
                <a:cxn ang="16200000">
                  <a:pos x="wd2" y="hd2"/>
                </a:cxn>
              </a:cxnLst>
              <a:rect l="0" t="0" r="r" b="b"/>
              <a:pathLst>
                <a:path w="21600" h="21600" extrusionOk="0">
                  <a:moveTo>
                    <a:pt x="0" y="837"/>
                  </a:moveTo>
                  <a:lnTo>
                    <a:pt x="1844" y="21600"/>
                  </a:lnTo>
                  <a:lnTo>
                    <a:pt x="21600" y="20512"/>
                  </a:lnTo>
                  <a:lnTo>
                    <a:pt x="20076" y="3352"/>
                  </a:lnTo>
                  <a:lnTo>
                    <a:pt x="15202" y="0"/>
                  </a:lnTo>
                  <a:lnTo>
                    <a:pt x="0" y="837"/>
                  </a:lnTo>
                  <a:close/>
                  <a:moveTo>
                    <a:pt x="6705" y="5273"/>
                  </a:moveTo>
                  <a:lnTo>
                    <a:pt x="13900" y="4876"/>
                  </a:lnTo>
                  <a:lnTo>
                    <a:pt x="13951" y="5450"/>
                  </a:lnTo>
                  <a:lnTo>
                    <a:pt x="6756" y="5846"/>
                  </a:lnTo>
                  <a:lnTo>
                    <a:pt x="6705" y="5273"/>
                  </a:lnTo>
                  <a:close/>
                  <a:moveTo>
                    <a:pt x="3609" y="11120"/>
                  </a:moveTo>
                  <a:lnTo>
                    <a:pt x="18000" y="10328"/>
                  </a:lnTo>
                  <a:lnTo>
                    <a:pt x="18049" y="10884"/>
                  </a:lnTo>
                  <a:lnTo>
                    <a:pt x="3658" y="11677"/>
                  </a:lnTo>
                  <a:lnTo>
                    <a:pt x="3609" y="11120"/>
                  </a:lnTo>
                  <a:close/>
                  <a:moveTo>
                    <a:pt x="3859" y="13936"/>
                  </a:moveTo>
                  <a:lnTo>
                    <a:pt x="18250" y="13144"/>
                  </a:lnTo>
                  <a:lnTo>
                    <a:pt x="18301" y="13717"/>
                  </a:lnTo>
                  <a:lnTo>
                    <a:pt x="3910" y="14509"/>
                  </a:lnTo>
                  <a:lnTo>
                    <a:pt x="3859" y="13936"/>
                  </a:lnTo>
                  <a:close/>
                  <a:moveTo>
                    <a:pt x="4109" y="16753"/>
                  </a:moveTo>
                  <a:lnTo>
                    <a:pt x="11305" y="16357"/>
                  </a:lnTo>
                  <a:lnTo>
                    <a:pt x="11356" y="16930"/>
                  </a:lnTo>
                  <a:lnTo>
                    <a:pt x="4160" y="17326"/>
                  </a:lnTo>
                  <a:lnTo>
                    <a:pt x="4109" y="16753"/>
                  </a:ln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5" name="Shape 34200">
              <a:extLst>
                <a:ext uri="{FF2B5EF4-FFF2-40B4-BE49-F238E27FC236}">
                  <a16:creationId xmlns:a16="http://schemas.microsoft.com/office/drawing/2014/main" xmlns="" id="{508CC605-D869-40A2-B8C7-AD9AFA692D9C}"/>
                </a:ext>
              </a:extLst>
            </p:cNvPr>
            <p:cNvSpPr/>
            <p:nvPr/>
          </p:nvSpPr>
          <p:spPr>
            <a:xfrm>
              <a:off x="12531620" y="6289836"/>
              <a:ext cx="641868" cy="650244"/>
            </a:xfrm>
            <a:custGeom>
              <a:avLst/>
              <a:gdLst/>
              <a:ahLst/>
              <a:cxnLst>
                <a:cxn ang="0">
                  <a:pos x="wd2" y="hd2"/>
                </a:cxn>
                <a:cxn ang="5400000">
                  <a:pos x="wd2" y="hd2"/>
                </a:cxn>
                <a:cxn ang="10800000">
                  <a:pos x="wd2" y="hd2"/>
                </a:cxn>
                <a:cxn ang="16200000">
                  <a:pos x="wd2" y="hd2"/>
                </a:cxn>
              </a:cxnLst>
              <a:rect l="0" t="0" r="r" b="b"/>
              <a:pathLst>
                <a:path w="21273" h="21600" extrusionOk="0">
                  <a:moveTo>
                    <a:pt x="0" y="8656"/>
                  </a:moveTo>
                  <a:lnTo>
                    <a:pt x="3891" y="13472"/>
                  </a:lnTo>
                  <a:cubicBezTo>
                    <a:pt x="3891" y="13472"/>
                    <a:pt x="5113" y="13644"/>
                    <a:pt x="5432" y="12623"/>
                  </a:cubicBezTo>
                  <a:cubicBezTo>
                    <a:pt x="5784" y="11492"/>
                    <a:pt x="7687" y="9934"/>
                    <a:pt x="9148" y="11824"/>
                  </a:cubicBezTo>
                  <a:cubicBezTo>
                    <a:pt x="10609" y="13713"/>
                    <a:pt x="9118" y="15051"/>
                    <a:pt x="7911" y="15308"/>
                  </a:cubicBezTo>
                  <a:cubicBezTo>
                    <a:pt x="6818" y="15541"/>
                    <a:pt x="6446" y="16635"/>
                    <a:pt x="6446" y="16635"/>
                  </a:cubicBezTo>
                  <a:lnTo>
                    <a:pt x="10458" y="21600"/>
                  </a:lnTo>
                  <a:lnTo>
                    <a:pt x="14739" y="18125"/>
                  </a:lnTo>
                  <a:cubicBezTo>
                    <a:pt x="14739" y="18125"/>
                    <a:pt x="14656" y="17235"/>
                    <a:pt x="13766" y="16921"/>
                  </a:cubicBezTo>
                  <a:cubicBezTo>
                    <a:pt x="12685" y="16541"/>
                    <a:pt x="11239" y="14858"/>
                    <a:pt x="13261" y="13217"/>
                  </a:cubicBezTo>
                  <a:cubicBezTo>
                    <a:pt x="15282" y="11577"/>
                    <a:pt x="16620" y="13268"/>
                    <a:pt x="16756" y="14619"/>
                  </a:cubicBezTo>
                  <a:cubicBezTo>
                    <a:pt x="16858" y="15631"/>
                    <a:pt x="17668" y="15748"/>
                    <a:pt x="17668" y="15748"/>
                  </a:cubicBezTo>
                  <a:lnTo>
                    <a:pt x="21273" y="12822"/>
                  </a:lnTo>
                  <a:cubicBezTo>
                    <a:pt x="21273" y="12822"/>
                    <a:pt x="18291" y="9357"/>
                    <a:pt x="17693" y="8295"/>
                  </a:cubicBezTo>
                  <a:cubicBezTo>
                    <a:pt x="17052" y="7158"/>
                    <a:pt x="18759" y="6911"/>
                    <a:pt x="19060" y="6845"/>
                  </a:cubicBezTo>
                  <a:cubicBezTo>
                    <a:pt x="20796" y="6467"/>
                    <a:pt x="21600" y="4760"/>
                    <a:pt x="20175" y="2996"/>
                  </a:cubicBezTo>
                  <a:cubicBezTo>
                    <a:pt x="18749" y="1232"/>
                    <a:pt x="16519" y="2306"/>
                    <a:pt x="16165" y="3733"/>
                  </a:cubicBezTo>
                  <a:cubicBezTo>
                    <a:pt x="15902" y="4793"/>
                    <a:pt x="15415" y="5326"/>
                    <a:pt x="14915" y="4919"/>
                  </a:cubicBezTo>
                  <a:cubicBezTo>
                    <a:pt x="13746" y="3966"/>
                    <a:pt x="10665" y="0"/>
                    <a:pt x="10665" y="0"/>
                  </a:cubicBezTo>
                  <a:lnTo>
                    <a:pt x="7285" y="2743"/>
                  </a:lnTo>
                  <a:cubicBezTo>
                    <a:pt x="7285" y="2743"/>
                    <a:pt x="7256" y="4048"/>
                    <a:pt x="8291" y="4295"/>
                  </a:cubicBezTo>
                  <a:cubicBezTo>
                    <a:pt x="9849" y="4668"/>
                    <a:pt x="10626" y="6514"/>
                    <a:pt x="9021" y="7816"/>
                  </a:cubicBezTo>
                  <a:cubicBezTo>
                    <a:pt x="7417" y="9118"/>
                    <a:pt x="5847" y="8156"/>
                    <a:pt x="5733" y="6515"/>
                  </a:cubicBezTo>
                  <a:cubicBezTo>
                    <a:pt x="5669" y="5595"/>
                    <a:pt x="4421" y="5079"/>
                    <a:pt x="4421" y="5079"/>
                  </a:cubicBezTo>
                  <a:cubicBezTo>
                    <a:pt x="4421" y="5079"/>
                    <a:pt x="0" y="8656"/>
                    <a:pt x="0" y="865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6" name="Shape 34201">
              <a:extLst>
                <a:ext uri="{FF2B5EF4-FFF2-40B4-BE49-F238E27FC236}">
                  <a16:creationId xmlns:a16="http://schemas.microsoft.com/office/drawing/2014/main" xmlns="" id="{0D73537B-6575-4218-9CD2-E1DCA57CAC12}"/>
                </a:ext>
              </a:extLst>
            </p:cNvPr>
            <p:cNvSpPr/>
            <p:nvPr/>
          </p:nvSpPr>
          <p:spPr>
            <a:xfrm>
              <a:off x="11981887" y="4201963"/>
              <a:ext cx="441404" cy="383974"/>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7" name="Shape 34202">
              <a:extLst>
                <a:ext uri="{FF2B5EF4-FFF2-40B4-BE49-F238E27FC236}">
                  <a16:creationId xmlns:a16="http://schemas.microsoft.com/office/drawing/2014/main" xmlns="" id="{6ED114F1-8288-4819-8EDB-F7F86FA213FB}"/>
                </a:ext>
              </a:extLst>
            </p:cNvPr>
            <p:cNvSpPr/>
            <p:nvPr/>
          </p:nvSpPr>
          <p:spPr>
            <a:xfrm>
              <a:off x="11678186" y="10413681"/>
              <a:ext cx="681752" cy="44600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8" name="Shape 34203">
              <a:extLst>
                <a:ext uri="{FF2B5EF4-FFF2-40B4-BE49-F238E27FC236}">
                  <a16:creationId xmlns:a16="http://schemas.microsoft.com/office/drawing/2014/main" xmlns="" id="{C186A008-A25E-4325-BFDE-428A853840AA}"/>
                </a:ext>
              </a:extLst>
            </p:cNvPr>
            <p:cNvSpPr/>
            <p:nvPr/>
          </p:nvSpPr>
          <p:spPr>
            <a:xfrm>
              <a:off x="13517964" y="3878275"/>
              <a:ext cx="745620" cy="528512"/>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9" name="Shape 34204">
              <a:extLst>
                <a:ext uri="{FF2B5EF4-FFF2-40B4-BE49-F238E27FC236}">
                  <a16:creationId xmlns:a16="http://schemas.microsoft.com/office/drawing/2014/main" xmlns="" id="{CBF5A80E-B896-43BE-B4F5-09B3F27E6C0D}"/>
                </a:ext>
              </a:extLst>
            </p:cNvPr>
            <p:cNvSpPr/>
            <p:nvPr/>
          </p:nvSpPr>
          <p:spPr>
            <a:xfrm>
              <a:off x="10622816" y="11265327"/>
              <a:ext cx="446006" cy="446008"/>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0" name="Shape 34205">
              <a:extLst>
                <a:ext uri="{FF2B5EF4-FFF2-40B4-BE49-F238E27FC236}">
                  <a16:creationId xmlns:a16="http://schemas.microsoft.com/office/drawing/2014/main" xmlns="" id="{CB19296D-5ADF-425C-85B5-1622917ACA5B}"/>
                </a:ext>
              </a:extLst>
            </p:cNvPr>
            <p:cNvSpPr/>
            <p:nvPr/>
          </p:nvSpPr>
          <p:spPr>
            <a:xfrm>
              <a:off x="11074336" y="12293991"/>
              <a:ext cx="529370" cy="550146"/>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1" name="Shape 34206">
              <a:extLst>
                <a:ext uri="{FF2B5EF4-FFF2-40B4-BE49-F238E27FC236}">
                  <a16:creationId xmlns:a16="http://schemas.microsoft.com/office/drawing/2014/main" xmlns="" id="{56847D55-59DC-4048-AFC3-2779176FF9F2}"/>
                </a:ext>
              </a:extLst>
            </p:cNvPr>
            <p:cNvSpPr/>
            <p:nvPr/>
          </p:nvSpPr>
          <p:spPr>
            <a:xfrm>
              <a:off x="10836598" y="8678073"/>
              <a:ext cx="776072" cy="459642"/>
            </a:xfrm>
            <a:custGeom>
              <a:avLst/>
              <a:gdLst/>
              <a:ahLst/>
              <a:cxnLst>
                <a:cxn ang="0">
                  <a:pos x="wd2" y="hd2"/>
                </a:cxn>
                <a:cxn ang="5400000">
                  <a:pos x="wd2" y="hd2"/>
                </a:cxn>
                <a:cxn ang="10800000">
                  <a:pos x="wd2" y="hd2"/>
                </a:cxn>
                <a:cxn ang="16200000">
                  <a:pos x="wd2" y="hd2"/>
                </a:cxn>
              </a:cxnLst>
              <a:rect l="0" t="0" r="r" b="b"/>
              <a:pathLst>
                <a:path w="21428" h="21311" extrusionOk="0">
                  <a:moveTo>
                    <a:pt x="3736" y="4687"/>
                  </a:moveTo>
                  <a:lnTo>
                    <a:pt x="4986" y="19624"/>
                  </a:lnTo>
                  <a:lnTo>
                    <a:pt x="17693" y="16625"/>
                  </a:lnTo>
                  <a:lnTo>
                    <a:pt x="16443" y="1688"/>
                  </a:lnTo>
                  <a:cubicBezTo>
                    <a:pt x="16443" y="1688"/>
                    <a:pt x="3736" y="4687"/>
                    <a:pt x="3736" y="4687"/>
                  </a:cubicBezTo>
                  <a:close/>
                  <a:moveTo>
                    <a:pt x="2231" y="9938"/>
                  </a:moveTo>
                  <a:lnTo>
                    <a:pt x="2678" y="15273"/>
                  </a:lnTo>
                  <a:cubicBezTo>
                    <a:pt x="2702" y="15567"/>
                    <a:pt x="2864" y="15772"/>
                    <a:pt x="3040" y="15731"/>
                  </a:cubicBezTo>
                  <a:cubicBezTo>
                    <a:pt x="3215" y="15690"/>
                    <a:pt x="3338" y="15417"/>
                    <a:pt x="3313" y="15123"/>
                  </a:cubicBezTo>
                  <a:lnTo>
                    <a:pt x="2867" y="9788"/>
                  </a:lnTo>
                  <a:cubicBezTo>
                    <a:pt x="2842" y="9494"/>
                    <a:pt x="2680" y="9288"/>
                    <a:pt x="2504" y="9330"/>
                  </a:cubicBezTo>
                  <a:cubicBezTo>
                    <a:pt x="2329" y="9371"/>
                    <a:pt x="2207" y="9644"/>
                    <a:pt x="2231" y="9938"/>
                  </a:cubicBezTo>
                  <a:close/>
                  <a:moveTo>
                    <a:pt x="19564" y="8023"/>
                  </a:moveTo>
                  <a:cubicBezTo>
                    <a:pt x="19490" y="7140"/>
                    <a:pt x="19004" y="6524"/>
                    <a:pt x="18477" y="6648"/>
                  </a:cubicBezTo>
                  <a:cubicBezTo>
                    <a:pt x="17951" y="6772"/>
                    <a:pt x="17584" y="7590"/>
                    <a:pt x="17658" y="8473"/>
                  </a:cubicBezTo>
                  <a:cubicBezTo>
                    <a:pt x="17732" y="9357"/>
                    <a:pt x="18219" y="9973"/>
                    <a:pt x="18745" y="9849"/>
                  </a:cubicBezTo>
                  <a:cubicBezTo>
                    <a:pt x="19272" y="9724"/>
                    <a:pt x="19638" y="8907"/>
                    <a:pt x="19564" y="8023"/>
                  </a:cubicBezTo>
                  <a:close/>
                  <a:moveTo>
                    <a:pt x="20344" y="1856"/>
                  </a:moveTo>
                  <a:lnTo>
                    <a:pt x="21415" y="14658"/>
                  </a:lnTo>
                  <a:cubicBezTo>
                    <a:pt x="21514" y="15837"/>
                    <a:pt x="21025" y="16926"/>
                    <a:pt x="20323" y="17092"/>
                  </a:cubicBezTo>
                  <a:lnTo>
                    <a:pt x="2533" y="21290"/>
                  </a:lnTo>
                  <a:cubicBezTo>
                    <a:pt x="1832" y="21456"/>
                    <a:pt x="1183" y="20635"/>
                    <a:pt x="1084" y="19456"/>
                  </a:cubicBezTo>
                  <a:lnTo>
                    <a:pt x="13" y="6654"/>
                  </a:lnTo>
                  <a:cubicBezTo>
                    <a:pt x="-86" y="5475"/>
                    <a:pt x="403" y="4386"/>
                    <a:pt x="1105" y="4220"/>
                  </a:cubicBezTo>
                  <a:lnTo>
                    <a:pt x="18895" y="22"/>
                  </a:lnTo>
                  <a:cubicBezTo>
                    <a:pt x="19596" y="-144"/>
                    <a:pt x="20245" y="677"/>
                    <a:pt x="20344" y="1856"/>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2" name="Shape 34207">
              <a:extLst>
                <a:ext uri="{FF2B5EF4-FFF2-40B4-BE49-F238E27FC236}">
                  <a16:creationId xmlns:a16="http://schemas.microsoft.com/office/drawing/2014/main" xmlns="" id="{F69CA82F-E49B-42A4-AF8C-392B232AC858}"/>
                </a:ext>
              </a:extLst>
            </p:cNvPr>
            <p:cNvSpPr/>
            <p:nvPr/>
          </p:nvSpPr>
          <p:spPr>
            <a:xfrm>
              <a:off x="12300451" y="8958670"/>
              <a:ext cx="694132" cy="637746"/>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3" name="Shape 34208">
              <a:extLst>
                <a:ext uri="{FF2B5EF4-FFF2-40B4-BE49-F238E27FC236}">
                  <a16:creationId xmlns:a16="http://schemas.microsoft.com/office/drawing/2014/main" xmlns="" id="{C7B3BADB-6261-479F-A1E3-E58426E78621}"/>
                </a:ext>
              </a:extLst>
            </p:cNvPr>
            <p:cNvSpPr/>
            <p:nvPr/>
          </p:nvSpPr>
          <p:spPr>
            <a:xfrm>
              <a:off x="11569660" y="9038623"/>
              <a:ext cx="297614" cy="32945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4" name="Shape 34209">
              <a:extLst>
                <a:ext uri="{FF2B5EF4-FFF2-40B4-BE49-F238E27FC236}">
                  <a16:creationId xmlns:a16="http://schemas.microsoft.com/office/drawing/2014/main" xmlns="" id="{71CB8CE5-485E-4051-9214-70AAFB9BF30C}"/>
                </a:ext>
              </a:extLst>
            </p:cNvPr>
            <p:cNvSpPr/>
            <p:nvPr/>
          </p:nvSpPr>
          <p:spPr>
            <a:xfrm>
              <a:off x="13028438" y="8411802"/>
              <a:ext cx="415194" cy="47975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5" name="Shape 34210">
              <a:extLst>
                <a:ext uri="{FF2B5EF4-FFF2-40B4-BE49-F238E27FC236}">
                  <a16:creationId xmlns:a16="http://schemas.microsoft.com/office/drawing/2014/main" xmlns="" id="{330F5A92-6F8F-4CEF-9676-6C8E3382B1B5}"/>
                </a:ext>
              </a:extLst>
            </p:cNvPr>
            <p:cNvSpPr/>
            <p:nvPr/>
          </p:nvSpPr>
          <p:spPr>
            <a:xfrm>
              <a:off x="9694005" y="5957329"/>
              <a:ext cx="377264" cy="351174"/>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6" name="Shape 34211">
              <a:extLst>
                <a:ext uri="{FF2B5EF4-FFF2-40B4-BE49-F238E27FC236}">
                  <a16:creationId xmlns:a16="http://schemas.microsoft.com/office/drawing/2014/main" xmlns="" id="{4CB49352-5A63-43E3-840B-ED6FAA075F29}"/>
                </a:ext>
              </a:extLst>
            </p:cNvPr>
            <p:cNvSpPr/>
            <p:nvPr/>
          </p:nvSpPr>
          <p:spPr>
            <a:xfrm>
              <a:off x="10312910" y="3971892"/>
              <a:ext cx="478390" cy="684028"/>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7" name="Shape 34212">
              <a:extLst>
                <a:ext uri="{FF2B5EF4-FFF2-40B4-BE49-F238E27FC236}">
                  <a16:creationId xmlns:a16="http://schemas.microsoft.com/office/drawing/2014/main" xmlns="" id="{9870AB70-0B32-4722-8AC6-D7A6553B9C48}"/>
                </a:ext>
              </a:extLst>
            </p:cNvPr>
            <p:cNvSpPr/>
            <p:nvPr/>
          </p:nvSpPr>
          <p:spPr>
            <a:xfrm>
              <a:off x="9175496" y="3615262"/>
              <a:ext cx="674788" cy="478306"/>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8" name="Shape 34213">
              <a:extLst>
                <a:ext uri="{FF2B5EF4-FFF2-40B4-BE49-F238E27FC236}">
                  <a16:creationId xmlns:a16="http://schemas.microsoft.com/office/drawing/2014/main" xmlns="" id="{98E4A175-AAAA-4B36-A8DC-24A145969E99}"/>
                </a:ext>
              </a:extLst>
            </p:cNvPr>
            <p:cNvSpPr/>
            <p:nvPr/>
          </p:nvSpPr>
          <p:spPr>
            <a:xfrm>
              <a:off x="14822081" y="4439957"/>
              <a:ext cx="756136" cy="659706"/>
            </a:xfrm>
            <a:custGeom>
              <a:avLst/>
              <a:gdLst/>
              <a:ahLst/>
              <a:cxnLst>
                <a:cxn ang="0">
                  <a:pos x="wd2" y="hd2"/>
                </a:cxn>
                <a:cxn ang="5400000">
                  <a:pos x="wd2" y="hd2"/>
                </a:cxn>
                <a:cxn ang="10800000">
                  <a:pos x="wd2" y="hd2"/>
                </a:cxn>
                <a:cxn ang="16200000">
                  <a:pos x="wd2" y="hd2"/>
                </a:cxn>
              </a:cxnLst>
              <a:rect l="0" t="0" r="r" b="b"/>
              <a:pathLst>
                <a:path w="21600" h="21600" extrusionOk="0">
                  <a:moveTo>
                    <a:pt x="6294" y="3457"/>
                  </a:moveTo>
                  <a:lnTo>
                    <a:pt x="148" y="16086"/>
                  </a:lnTo>
                  <a:lnTo>
                    <a:pt x="0" y="16165"/>
                  </a:lnTo>
                  <a:lnTo>
                    <a:pt x="1008" y="21600"/>
                  </a:lnTo>
                  <a:lnTo>
                    <a:pt x="10415" y="19280"/>
                  </a:lnTo>
                  <a:lnTo>
                    <a:pt x="10816" y="21443"/>
                  </a:lnTo>
                  <a:lnTo>
                    <a:pt x="12402" y="20369"/>
                  </a:lnTo>
                  <a:lnTo>
                    <a:pt x="14220" y="20613"/>
                  </a:lnTo>
                  <a:lnTo>
                    <a:pt x="13819" y="18450"/>
                  </a:lnTo>
                  <a:lnTo>
                    <a:pt x="17113" y="17634"/>
                  </a:lnTo>
                  <a:lnTo>
                    <a:pt x="17471" y="17546"/>
                  </a:lnTo>
                  <a:lnTo>
                    <a:pt x="21600" y="5952"/>
                  </a:lnTo>
                  <a:lnTo>
                    <a:pt x="20486" y="14"/>
                  </a:lnTo>
                  <a:cubicBezTo>
                    <a:pt x="20486" y="14"/>
                    <a:pt x="20484" y="0"/>
                    <a:pt x="20484" y="0"/>
                  </a:cubicBezTo>
                  <a:lnTo>
                    <a:pt x="6294" y="3457"/>
                  </a:lnTo>
                  <a:close/>
                  <a:moveTo>
                    <a:pt x="19860" y="1754"/>
                  </a:moveTo>
                  <a:cubicBezTo>
                    <a:pt x="19941" y="2188"/>
                    <a:pt x="20020" y="2621"/>
                    <a:pt x="20101" y="3055"/>
                  </a:cubicBezTo>
                  <a:cubicBezTo>
                    <a:pt x="20278" y="3996"/>
                    <a:pt x="20448" y="4934"/>
                    <a:pt x="20624" y="5875"/>
                  </a:cubicBezTo>
                  <a:lnTo>
                    <a:pt x="16762" y="16617"/>
                  </a:lnTo>
                  <a:lnTo>
                    <a:pt x="13623" y="17396"/>
                  </a:lnTo>
                  <a:lnTo>
                    <a:pt x="13219" y="15220"/>
                  </a:lnTo>
                  <a:cubicBezTo>
                    <a:pt x="13219" y="15220"/>
                    <a:pt x="9815" y="16049"/>
                    <a:pt x="9815" y="16049"/>
                  </a:cubicBezTo>
                  <a:lnTo>
                    <a:pt x="10222" y="18239"/>
                  </a:lnTo>
                  <a:lnTo>
                    <a:pt x="1723" y="20338"/>
                  </a:lnTo>
                  <a:lnTo>
                    <a:pt x="908" y="15944"/>
                  </a:lnTo>
                  <a:lnTo>
                    <a:pt x="16076" y="12248"/>
                  </a:lnTo>
                  <a:cubicBezTo>
                    <a:pt x="16076" y="12249"/>
                    <a:pt x="18931" y="4332"/>
                    <a:pt x="19860" y="1754"/>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9" name="Shape 34214">
              <a:extLst>
                <a:ext uri="{FF2B5EF4-FFF2-40B4-BE49-F238E27FC236}">
                  <a16:creationId xmlns:a16="http://schemas.microsoft.com/office/drawing/2014/main" xmlns="" id="{6C2AFAF9-E6E3-46DF-BF78-D75705BB3CC2}"/>
                </a:ext>
              </a:extLst>
            </p:cNvPr>
            <p:cNvSpPr/>
            <p:nvPr/>
          </p:nvSpPr>
          <p:spPr>
            <a:xfrm>
              <a:off x="12406836" y="10620127"/>
              <a:ext cx="516758" cy="57204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0" name="Shape 34215">
              <a:extLst>
                <a:ext uri="{FF2B5EF4-FFF2-40B4-BE49-F238E27FC236}">
                  <a16:creationId xmlns:a16="http://schemas.microsoft.com/office/drawing/2014/main" xmlns="" id="{CA9BC2A6-0A26-4EB8-A19A-46FDD30D0946}"/>
                </a:ext>
              </a:extLst>
            </p:cNvPr>
            <p:cNvSpPr/>
            <p:nvPr/>
          </p:nvSpPr>
          <p:spPr>
            <a:xfrm>
              <a:off x="15192453" y="5780593"/>
              <a:ext cx="475406" cy="475406"/>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91" name="Shape 34216">
              <a:extLst>
                <a:ext uri="{FF2B5EF4-FFF2-40B4-BE49-F238E27FC236}">
                  <a16:creationId xmlns:a16="http://schemas.microsoft.com/office/drawing/2014/main" xmlns="" id="{D0C033D3-DE11-46B3-B1FC-D5B0AB40F468}"/>
                </a:ext>
              </a:extLst>
            </p:cNvPr>
            <p:cNvSpPr/>
            <p:nvPr/>
          </p:nvSpPr>
          <p:spPr>
            <a:xfrm>
              <a:off x="11916931" y="8191128"/>
              <a:ext cx="792292" cy="544702"/>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20097" tIns="20097" rIns="20097" bIns="20097" numCol="1" anchor="b">
              <a:noAutofit/>
            </a:bodyPr>
            <a:lstStyle/>
            <a:p>
              <a:endParaRPr lang="en-GB" sz="1899" dirty="0">
                <a:latin typeface="Lato Light" panose="020F0502020204030203" pitchFamily="34" charset="0"/>
              </a:endParaRPr>
            </a:p>
          </p:txBody>
        </p:sp>
        <p:sp>
          <p:nvSpPr>
            <p:cNvPr id="92" name="Shape 34217">
              <a:extLst>
                <a:ext uri="{FF2B5EF4-FFF2-40B4-BE49-F238E27FC236}">
                  <a16:creationId xmlns:a16="http://schemas.microsoft.com/office/drawing/2014/main" xmlns="" id="{1C10F15B-27B6-4FB8-99C2-D8D512A0BA49}"/>
                </a:ext>
              </a:extLst>
            </p:cNvPr>
            <p:cNvSpPr/>
            <p:nvPr/>
          </p:nvSpPr>
          <p:spPr>
            <a:xfrm>
              <a:off x="12395335" y="3740451"/>
              <a:ext cx="693544" cy="915782"/>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accent1"/>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93" name="Shape 34218">
              <a:extLst>
                <a:ext uri="{FF2B5EF4-FFF2-40B4-BE49-F238E27FC236}">
                  <a16:creationId xmlns:a16="http://schemas.microsoft.com/office/drawing/2014/main" xmlns="" id="{F2C20725-008A-40AE-91A9-E64C2699C92A}"/>
                </a:ext>
              </a:extLst>
            </p:cNvPr>
            <p:cNvSpPr/>
            <p:nvPr/>
          </p:nvSpPr>
          <p:spPr>
            <a:xfrm>
              <a:off x="11932702" y="12638103"/>
              <a:ext cx="408708" cy="303434"/>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837" y="8637"/>
                  </a:lnTo>
                  <a:lnTo>
                    <a:pt x="17837" y="12781"/>
                  </a:lnTo>
                  <a:cubicBezTo>
                    <a:pt x="17837" y="13798"/>
                    <a:pt x="17539" y="14723"/>
                    <a:pt x="17049" y="15392"/>
                  </a:cubicBezTo>
                  <a:cubicBezTo>
                    <a:pt x="16550" y="16075"/>
                    <a:pt x="15855" y="16492"/>
                    <a:pt x="15079" y="16478"/>
                  </a:cubicBezTo>
                  <a:lnTo>
                    <a:pt x="9158" y="16478"/>
                  </a:lnTo>
                  <a:lnTo>
                    <a:pt x="9158" y="17810"/>
                  </a:lnTo>
                  <a:cubicBezTo>
                    <a:pt x="9158" y="18368"/>
                    <a:pt x="9328" y="18874"/>
                    <a:pt x="9602" y="19240"/>
                  </a:cubicBezTo>
                  <a:cubicBezTo>
                    <a:pt x="9876" y="19606"/>
                    <a:pt x="10255" y="19832"/>
                    <a:pt x="10673" y="19832"/>
                  </a:cubicBezTo>
                  <a:lnTo>
                    <a:pt x="16728" y="19832"/>
                  </a:lnTo>
                  <a:lnTo>
                    <a:pt x="19181" y="21600"/>
                  </a:lnTo>
                  <a:lnTo>
                    <a:pt x="19181" y="19832"/>
                  </a:lnTo>
                  <a:lnTo>
                    <a:pt x="20085" y="19832"/>
                  </a:lnTo>
                  <a:cubicBezTo>
                    <a:pt x="20503" y="19832"/>
                    <a:pt x="20882" y="19606"/>
                    <a:pt x="21156" y="19240"/>
                  </a:cubicBezTo>
                  <a:cubicBezTo>
                    <a:pt x="21430" y="18874"/>
                    <a:pt x="21600" y="18368"/>
                    <a:pt x="21600" y="17810"/>
                  </a:cubicBezTo>
                  <a:lnTo>
                    <a:pt x="21600" y="10554"/>
                  </a:lnTo>
                  <a:cubicBezTo>
                    <a:pt x="21600" y="9996"/>
                    <a:pt x="21430" y="9490"/>
                    <a:pt x="21156" y="9125"/>
                  </a:cubicBezTo>
                  <a:cubicBezTo>
                    <a:pt x="20882" y="8759"/>
                    <a:pt x="20503" y="8532"/>
                    <a:pt x="20085" y="8532"/>
                  </a:cubicBezTo>
                  <a:close/>
                  <a:moveTo>
                    <a:pt x="6912" y="15450"/>
                  </a:moveTo>
                  <a:lnTo>
                    <a:pt x="6689" y="15450"/>
                  </a:lnTo>
                  <a:lnTo>
                    <a:pt x="2592" y="18372"/>
                  </a:lnTo>
                  <a:lnTo>
                    <a:pt x="2592" y="15450"/>
                  </a:lnTo>
                  <a:lnTo>
                    <a:pt x="2074" y="15450"/>
                  </a:lnTo>
                  <a:cubicBezTo>
                    <a:pt x="1501" y="15450"/>
                    <a:pt x="983" y="15141"/>
                    <a:pt x="607" y="14640"/>
                  </a:cubicBezTo>
                  <a:cubicBezTo>
                    <a:pt x="232" y="14139"/>
                    <a:pt x="0" y="13447"/>
                    <a:pt x="0" y="12683"/>
                  </a:cubicBezTo>
                  <a:lnTo>
                    <a:pt x="0" y="2767"/>
                  </a:lnTo>
                  <a:cubicBezTo>
                    <a:pt x="0" y="2003"/>
                    <a:pt x="232" y="1311"/>
                    <a:pt x="607" y="811"/>
                  </a:cubicBezTo>
                  <a:cubicBezTo>
                    <a:pt x="983" y="310"/>
                    <a:pt x="1501" y="0"/>
                    <a:pt x="2074" y="0"/>
                  </a:cubicBezTo>
                  <a:lnTo>
                    <a:pt x="15034" y="0"/>
                  </a:lnTo>
                  <a:cubicBezTo>
                    <a:pt x="15606" y="0"/>
                    <a:pt x="16125" y="310"/>
                    <a:pt x="16500" y="811"/>
                  </a:cubicBezTo>
                  <a:cubicBezTo>
                    <a:pt x="16875" y="1311"/>
                    <a:pt x="17107" y="2003"/>
                    <a:pt x="17107" y="2767"/>
                  </a:cubicBezTo>
                  <a:lnTo>
                    <a:pt x="17107" y="4381"/>
                  </a:lnTo>
                  <a:lnTo>
                    <a:pt x="17107" y="8532"/>
                  </a:lnTo>
                  <a:lnTo>
                    <a:pt x="17107" y="12676"/>
                  </a:lnTo>
                  <a:cubicBezTo>
                    <a:pt x="17107" y="13441"/>
                    <a:pt x="16886" y="14134"/>
                    <a:pt x="16522" y="14637"/>
                  </a:cubicBezTo>
                  <a:cubicBezTo>
                    <a:pt x="16159" y="15139"/>
                    <a:pt x="15651" y="15450"/>
                    <a:pt x="15079" y="15450"/>
                  </a:cubicBezTo>
                  <a:lnTo>
                    <a:pt x="9158" y="15450"/>
                  </a:lnTo>
                  <a:lnTo>
                    <a:pt x="6912" y="15450"/>
                  </a:ln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94" name="Shape 34219">
              <a:extLst>
                <a:ext uri="{FF2B5EF4-FFF2-40B4-BE49-F238E27FC236}">
                  <a16:creationId xmlns:a16="http://schemas.microsoft.com/office/drawing/2014/main" xmlns="" id="{5AD8608D-0830-484F-9906-27ED886FE979}"/>
                </a:ext>
              </a:extLst>
            </p:cNvPr>
            <p:cNvSpPr/>
            <p:nvPr/>
          </p:nvSpPr>
          <p:spPr>
            <a:xfrm>
              <a:off x="11196245" y="10659511"/>
              <a:ext cx="389798" cy="479750"/>
            </a:xfrm>
            <a:custGeom>
              <a:avLst/>
              <a:gdLst/>
              <a:ahLst/>
              <a:cxnLst>
                <a:cxn ang="0">
                  <a:pos x="wd2" y="hd2"/>
                </a:cxn>
                <a:cxn ang="5400000">
                  <a:pos x="wd2" y="hd2"/>
                </a:cxn>
                <a:cxn ang="10800000">
                  <a:pos x="wd2" y="hd2"/>
                </a:cxn>
                <a:cxn ang="16200000">
                  <a:pos x="wd2" y="hd2"/>
                </a:cxn>
              </a:cxnLst>
              <a:rect l="0" t="0" r="r" b="b"/>
              <a:pathLst>
                <a:path w="21600" h="21600" extrusionOk="0">
                  <a:moveTo>
                    <a:pt x="831" y="0"/>
                  </a:moveTo>
                  <a:cubicBezTo>
                    <a:pt x="372" y="0"/>
                    <a:pt x="0" y="302"/>
                    <a:pt x="0" y="675"/>
                  </a:cubicBezTo>
                  <a:cubicBezTo>
                    <a:pt x="0" y="1048"/>
                    <a:pt x="372" y="1350"/>
                    <a:pt x="831" y="1350"/>
                  </a:cubicBezTo>
                  <a:lnTo>
                    <a:pt x="20769" y="1350"/>
                  </a:lnTo>
                  <a:cubicBezTo>
                    <a:pt x="21228" y="1350"/>
                    <a:pt x="21600" y="1048"/>
                    <a:pt x="21600" y="675"/>
                  </a:cubicBezTo>
                  <a:cubicBezTo>
                    <a:pt x="21600" y="302"/>
                    <a:pt x="21228" y="0"/>
                    <a:pt x="20769" y="0"/>
                  </a:cubicBezTo>
                  <a:lnTo>
                    <a:pt x="831" y="0"/>
                  </a:lnTo>
                  <a:close/>
                  <a:moveTo>
                    <a:pt x="831" y="2025"/>
                  </a:moveTo>
                  <a:lnTo>
                    <a:pt x="831" y="15525"/>
                  </a:lnTo>
                  <a:cubicBezTo>
                    <a:pt x="831" y="15525"/>
                    <a:pt x="20769" y="15525"/>
                    <a:pt x="20769" y="15525"/>
                  </a:cubicBezTo>
                  <a:lnTo>
                    <a:pt x="20769" y="2025"/>
                  </a:lnTo>
                  <a:lnTo>
                    <a:pt x="831" y="2025"/>
                  </a:lnTo>
                  <a:close/>
                  <a:moveTo>
                    <a:pt x="15785" y="4050"/>
                  </a:moveTo>
                  <a:lnTo>
                    <a:pt x="18277" y="4050"/>
                  </a:lnTo>
                  <a:cubicBezTo>
                    <a:pt x="18277" y="4050"/>
                    <a:pt x="18277" y="13500"/>
                    <a:pt x="18277" y="13500"/>
                  </a:cubicBezTo>
                  <a:lnTo>
                    <a:pt x="15785" y="13500"/>
                  </a:lnTo>
                  <a:lnTo>
                    <a:pt x="15785" y="4050"/>
                  </a:lnTo>
                  <a:close/>
                  <a:moveTo>
                    <a:pt x="7477" y="6750"/>
                  </a:moveTo>
                  <a:lnTo>
                    <a:pt x="9969" y="6750"/>
                  </a:lnTo>
                  <a:cubicBezTo>
                    <a:pt x="9969" y="6750"/>
                    <a:pt x="9969" y="13500"/>
                    <a:pt x="9969" y="13500"/>
                  </a:cubicBezTo>
                  <a:lnTo>
                    <a:pt x="7477" y="13500"/>
                  </a:lnTo>
                  <a:lnTo>
                    <a:pt x="7477" y="6750"/>
                  </a:lnTo>
                  <a:close/>
                  <a:moveTo>
                    <a:pt x="11631" y="8775"/>
                  </a:moveTo>
                  <a:lnTo>
                    <a:pt x="14123" y="8775"/>
                  </a:lnTo>
                  <a:cubicBezTo>
                    <a:pt x="14123" y="8775"/>
                    <a:pt x="14123" y="13500"/>
                    <a:pt x="14123" y="13500"/>
                  </a:cubicBezTo>
                  <a:lnTo>
                    <a:pt x="11631" y="13500"/>
                  </a:lnTo>
                  <a:lnTo>
                    <a:pt x="11631" y="8775"/>
                  </a:lnTo>
                  <a:close/>
                  <a:moveTo>
                    <a:pt x="3323" y="10800"/>
                  </a:moveTo>
                  <a:lnTo>
                    <a:pt x="5815" y="10800"/>
                  </a:lnTo>
                  <a:cubicBezTo>
                    <a:pt x="5815" y="10800"/>
                    <a:pt x="5815" y="13500"/>
                    <a:pt x="5815" y="13500"/>
                  </a:cubicBezTo>
                  <a:lnTo>
                    <a:pt x="3323" y="13500"/>
                  </a:lnTo>
                  <a:lnTo>
                    <a:pt x="3323" y="10800"/>
                  </a:lnTo>
                  <a:close/>
                  <a:moveTo>
                    <a:pt x="3323" y="16200"/>
                  </a:moveTo>
                  <a:lnTo>
                    <a:pt x="1662" y="21600"/>
                  </a:lnTo>
                  <a:lnTo>
                    <a:pt x="3323" y="21600"/>
                  </a:lnTo>
                  <a:lnTo>
                    <a:pt x="4985" y="16200"/>
                  </a:lnTo>
                  <a:cubicBezTo>
                    <a:pt x="4985" y="16200"/>
                    <a:pt x="3323" y="16200"/>
                    <a:pt x="3323" y="16200"/>
                  </a:cubicBezTo>
                  <a:close/>
                  <a:moveTo>
                    <a:pt x="9969" y="16200"/>
                  </a:moveTo>
                  <a:lnTo>
                    <a:pt x="9969" y="21600"/>
                  </a:lnTo>
                  <a:lnTo>
                    <a:pt x="11615" y="21600"/>
                  </a:lnTo>
                  <a:cubicBezTo>
                    <a:pt x="11615" y="21600"/>
                    <a:pt x="11631" y="16200"/>
                    <a:pt x="11631" y="16200"/>
                  </a:cubicBezTo>
                  <a:lnTo>
                    <a:pt x="9969" y="16200"/>
                  </a:lnTo>
                  <a:close/>
                  <a:moveTo>
                    <a:pt x="16615" y="16200"/>
                  </a:moveTo>
                  <a:lnTo>
                    <a:pt x="18277" y="21600"/>
                  </a:lnTo>
                  <a:lnTo>
                    <a:pt x="19938" y="21600"/>
                  </a:lnTo>
                  <a:cubicBezTo>
                    <a:pt x="19938" y="21600"/>
                    <a:pt x="18277" y="16200"/>
                    <a:pt x="18277" y="16200"/>
                  </a:cubicBezTo>
                  <a:lnTo>
                    <a:pt x="16615" y="1620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5" name="Shape 34220">
              <a:extLst>
                <a:ext uri="{FF2B5EF4-FFF2-40B4-BE49-F238E27FC236}">
                  <a16:creationId xmlns:a16="http://schemas.microsoft.com/office/drawing/2014/main" xmlns="" id="{168EC529-3566-4E03-816A-A9F472B6AF32}"/>
                </a:ext>
              </a:extLst>
            </p:cNvPr>
            <p:cNvSpPr/>
            <p:nvPr/>
          </p:nvSpPr>
          <p:spPr>
            <a:xfrm>
              <a:off x="12966575" y="6806559"/>
              <a:ext cx="589416" cy="778290"/>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96" name="Shape 34221">
              <a:extLst>
                <a:ext uri="{FF2B5EF4-FFF2-40B4-BE49-F238E27FC236}">
                  <a16:creationId xmlns:a16="http://schemas.microsoft.com/office/drawing/2014/main" xmlns="" id="{366265F3-988D-4A80-8E62-941B44490CAF}"/>
                </a:ext>
              </a:extLst>
            </p:cNvPr>
            <p:cNvSpPr/>
            <p:nvPr/>
          </p:nvSpPr>
          <p:spPr>
            <a:xfrm>
              <a:off x="11922329" y="9268053"/>
              <a:ext cx="476450" cy="629124"/>
            </a:xfrm>
            <a:custGeom>
              <a:avLst/>
              <a:gdLst/>
              <a:ahLst/>
              <a:cxnLst>
                <a:cxn ang="0">
                  <a:pos x="wd2" y="hd2"/>
                </a:cxn>
                <a:cxn ang="5400000">
                  <a:pos x="wd2" y="hd2"/>
                </a:cxn>
                <a:cxn ang="10800000">
                  <a:pos x="wd2" y="hd2"/>
                </a:cxn>
                <a:cxn ang="16200000">
                  <a:pos x="wd2" y="hd2"/>
                </a:cxn>
              </a:cxnLst>
              <a:rect l="0" t="0" r="r" b="b"/>
              <a:pathLst>
                <a:path w="21350" h="21600" extrusionOk="0">
                  <a:moveTo>
                    <a:pt x="16784" y="1264"/>
                  </a:moveTo>
                  <a:cubicBezTo>
                    <a:pt x="16363" y="1078"/>
                    <a:pt x="15824" y="1189"/>
                    <a:pt x="15581" y="1511"/>
                  </a:cubicBezTo>
                  <a:lnTo>
                    <a:pt x="14280" y="3236"/>
                  </a:lnTo>
                  <a:cubicBezTo>
                    <a:pt x="14867" y="3417"/>
                    <a:pt x="15381" y="3636"/>
                    <a:pt x="15831" y="3874"/>
                  </a:cubicBezTo>
                  <a:lnTo>
                    <a:pt x="17106" y="2185"/>
                  </a:lnTo>
                  <a:cubicBezTo>
                    <a:pt x="17349" y="1863"/>
                    <a:pt x="17205" y="1451"/>
                    <a:pt x="16784" y="1264"/>
                  </a:cubicBezTo>
                  <a:close/>
                  <a:moveTo>
                    <a:pt x="21233" y="4689"/>
                  </a:moveTo>
                  <a:cubicBezTo>
                    <a:pt x="20988" y="4366"/>
                    <a:pt x="20450" y="4256"/>
                    <a:pt x="20028" y="4442"/>
                  </a:cubicBezTo>
                  <a:lnTo>
                    <a:pt x="17841" y="5408"/>
                  </a:lnTo>
                  <a:cubicBezTo>
                    <a:pt x="18203" y="5799"/>
                    <a:pt x="18487" y="6197"/>
                    <a:pt x="18711" y="6581"/>
                  </a:cubicBezTo>
                  <a:lnTo>
                    <a:pt x="20909" y="5610"/>
                  </a:lnTo>
                  <a:cubicBezTo>
                    <a:pt x="21331" y="5423"/>
                    <a:pt x="21475" y="5012"/>
                    <a:pt x="21233" y="4689"/>
                  </a:cubicBezTo>
                  <a:close/>
                  <a:moveTo>
                    <a:pt x="1322" y="4393"/>
                  </a:moveTo>
                  <a:cubicBezTo>
                    <a:pt x="900" y="4207"/>
                    <a:pt x="362" y="4317"/>
                    <a:pt x="118" y="4640"/>
                  </a:cubicBezTo>
                  <a:cubicBezTo>
                    <a:pt x="-125" y="4963"/>
                    <a:pt x="19" y="5375"/>
                    <a:pt x="441" y="5561"/>
                  </a:cubicBezTo>
                  <a:lnTo>
                    <a:pt x="2633" y="6530"/>
                  </a:lnTo>
                  <a:cubicBezTo>
                    <a:pt x="2861" y="6146"/>
                    <a:pt x="3149" y="5751"/>
                    <a:pt x="3514" y="5362"/>
                  </a:cubicBezTo>
                  <a:cubicBezTo>
                    <a:pt x="3514" y="5362"/>
                    <a:pt x="1322" y="4393"/>
                    <a:pt x="1322" y="4393"/>
                  </a:cubicBezTo>
                  <a:close/>
                  <a:moveTo>
                    <a:pt x="5797" y="1483"/>
                  </a:moveTo>
                  <a:cubicBezTo>
                    <a:pt x="5553" y="1160"/>
                    <a:pt x="5015" y="1050"/>
                    <a:pt x="4593" y="1236"/>
                  </a:cubicBezTo>
                  <a:cubicBezTo>
                    <a:pt x="4173" y="1422"/>
                    <a:pt x="4029" y="1834"/>
                    <a:pt x="4272" y="2157"/>
                  </a:cubicBezTo>
                  <a:lnTo>
                    <a:pt x="5544" y="3843"/>
                  </a:lnTo>
                  <a:cubicBezTo>
                    <a:pt x="5997" y="3607"/>
                    <a:pt x="6514" y="3392"/>
                    <a:pt x="7103" y="3215"/>
                  </a:cubicBezTo>
                  <a:cubicBezTo>
                    <a:pt x="7103" y="3215"/>
                    <a:pt x="5797" y="1483"/>
                    <a:pt x="5797" y="1483"/>
                  </a:cubicBezTo>
                  <a:close/>
                  <a:moveTo>
                    <a:pt x="10693" y="0"/>
                  </a:moveTo>
                  <a:cubicBezTo>
                    <a:pt x="10208" y="0"/>
                    <a:pt x="9813" y="302"/>
                    <a:pt x="9813" y="674"/>
                  </a:cubicBezTo>
                  <a:lnTo>
                    <a:pt x="9813" y="2753"/>
                  </a:lnTo>
                  <a:cubicBezTo>
                    <a:pt x="10026" y="2740"/>
                    <a:pt x="11348" y="2744"/>
                    <a:pt x="11574" y="2758"/>
                  </a:cubicBezTo>
                  <a:lnTo>
                    <a:pt x="11574" y="674"/>
                  </a:lnTo>
                  <a:cubicBezTo>
                    <a:pt x="11574" y="302"/>
                    <a:pt x="11180" y="0"/>
                    <a:pt x="10693" y="0"/>
                  </a:cubicBezTo>
                  <a:close/>
                  <a:moveTo>
                    <a:pt x="18428" y="9068"/>
                  </a:moveTo>
                  <a:cubicBezTo>
                    <a:pt x="18228" y="7091"/>
                    <a:pt x="16423" y="3572"/>
                    <a:pt x="10662" y="3572"/>
                  </a:cubicBezTo>
                  <a:cubicBezTo>
                    <a:pt x="10661" y="3572"/>
                    <a:pt x="10660" y="3572"/>
                    <a:pt x="10659" y="3572"/>
                  </a:cubicBezTo>
                  <a:cubicBezTo>
                    <a:pt x="10658" y="3572"/>
                    <a:pt x="10658" y="3572"/>
                    <a:pt x="10657" y="3572"/>
                  </a:cubicBezTo>
                  <a:cubicBezTo>
                    <a:pt x="10656" y="3572"/>
                    <a:pt x="10655" y="3572"/>
                    <a:pt x="10655" y="3572"/>
                  </a:cubicBezTo>
                  <a:cubicBezTo>
                    <a:pt x="10654" y="3572"/>
                    <a:pt x="10653" y="3572"/>
                    <a:pt x="10652" y="3572"/>
                  </a:cubicBezTo>
                  <a:cubicBezTo>
                    <a:pt x="4890" y="3572"/>
                    <a:pt x="3086" y="7091"/>
                    <a:pt x="2886" y="9068"/>
                  </a:cubicBezTo>
                  <a:cubicBezTo>
                    <a:pt x="2715" y="10852"/>
                    <a:pt x="4327" y="12514"/>
                    <a:pt x="4510" y="12775"/>
                  </a:cubicBezTo>
                  <a:cubicBezTo>
                    <a:pt x="4810" y="13201"/>
                    <a:pt x="6695" y="14825"/>
                    <a:pt x="6762" y="15807"/>
                  </a:cubicBezTo>
                  <a:cubicBezTo>
                    <a:pt x="6855" y="17159"/>
                    <a:pt x="7070" y="17195"/>
                    <a:pt x="7930" y="17355"/>
                  </a:cubicBezTo>
                  <a:cubicBezTo>
                    <a:pt x="8807" y="17519"/>
                    <a:pt x="12507" y="17519"/>
                    <a:pt x="13383" y="17355"/>
                  </a:cubicBezTo>
                  <a:cubicBezTo>
                    <a:pt x="14243" y="17195"/>
                    <a:pt x="14459" y="17159"/>
                    <a:pt x="14552" y="15807"/>
                  </a:cubicBezTo>
                  <a:cubicBezTo>
                    <a:pt x="14619" y="14825"/>
                    <a:pt x="16504" y="13201"/>
                    <a:pt x="16803" y="12775"/>
                  </a:cubicBezTo>
                  <a:cubicBezTo>
                    <a:pt x="16987" y="12514"/>
                    <a:pt x="18599" y="10852"/>
                    <a:pt x="18428" y="9068"/>
                  </a:cubicBezTo>
                  <a:close/>
                  <a:moveTo>
                    <a:pt x="13756" y="19204"/>
                  </a:moveTo>
                  <a:cubicBezTo>
                    <a:pt x="13756" y="18991"/>
                    <a:pt x="13530" y="18817"/>
                    <a:pt x="13251" y="18817"/>
                  </a:cubicBezTo>
                  <a:lnTo>
                    <a:pt x="8063" y="18817"/>
                  </a:lnTo>
                  <a:cubicBezTo>
                    <a:pt x="7783" y="18817"/>
                    <a:pt x="7557" y="18991"/>
                    <a:pt x="7557" y="19204"/>
                  </a:cubicBezTo>
                  <a:lnTo>
                    <a:pt x="7557" y="19204"/>
                  </a:lnTo>
                  <a:cubicBezTo>
                    <a:pt x="7557" y="19418"/>
                    <a:pt x="7783" y="19591"/>
                    <a:pt x="8063" y="19591"/>
                  </a:cubicBezTo>
                  <a:lnTo>
                    <a:pt x="13251" y="19591"/>
                  </a:lnTo>
                  <a:cubicBezTo>
                    <a:pt x="13530" y="19591"/>
                    <a:pt x="13756" y="19418"/>
                    <a:pt x="13756" y="19204"/>
                  </a:cubicBezTo>
                  <a:cubicBezTo>
                    <a:pt x="13756" y="19204"/>
                    <a:pt x="13756" y="19204"/>
                    <a:pt x="13756" y="19204"/>
                  </a:cubicBezTo>
                  <a:close/>
                  <a:moveTo>
                    <a:pt x="13756" y="18147"/>
                  </a:moveTo>
                  <a:cubicBezTo>
                    <a:pt x="13756" y="17934"/>
                    <a:pt x="13530" y="17761"/>
                    <a:pt x="13251" y="17761"/>
                  </a:cubicBezTo>
                  <a:lnTo>
                    <a:pt x="8063" y="17761"/>
                  </a:lnTo>
                  <a:cubicBezTo>
                    <a:pt x="7783" y="17761"/>
                    <a:pt x="7557" y="17934"/>
                    <a:pt x="7557" y="18147"/>
                  </a:cubicBezTo>
                  <a:lnTo>
                    <a:pt x="7557" y="18147"/>
                  </a:lnTo>
                  <a:cubicBezTo>
                    <a:pt x="7557" y="18361"/>
                    <a:pt x="7783" y="18535"/>
                    <a:pt x="8063" y="18535"/>
                  </a:cubicBezTo>
                  <a:lnTo>
                    <a:pt x="13251" y="18535"/>
                  </a:lnTo>
                  <a:cubicBezTo>
                    <a:pt x="13530" y="18535"/>
                    <a:pt x="13756" y="18361"/>
                    <a:pt x="13756" y="18147"/>
                  </a:cubicBezTo>
                  <a:cubicBezTo>
                    <a:pt x="13756" y="18147"/>
                    <a:pt x="13756" y="18147"/>
                    <a:pt x="13756" y="18147"/>
                  </a:cubicBezTo>
                  <a:close/>
                  <a:moveTo>
                    <a:pt x="8400" y="19874"/>
                  </a:moveTo>
                  <a:lnTo>
                    <a:pt x="12913" y="19874"/>
                  </a:lnTo>
                  <a:cubicBezTo>
                    <a:pt x="12913" y="20827"/>
                    <a:pt x="11903" y="21600"/>
                    <a:pt x="10657" y="21600"/>
                  </a:cubicBezTo>
                  <a:cubicBezTo>
                    <a:pt x="9411" y="21600"/>
                    <a:pt x="8400" y="20827"/>
                    <a:pt x="8400" y="19874"/>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97" name="Shape 34222">
              <a:extLst>
                <a:ext uri="{FF2B5EF4-FFF2-40B4-BE49-F238E27FC236}">
                  <a16:creationId xmlns:a16="http://schemas.microsoft.com/office/drawing/2014/main" xmlns="" id="{C5DF7A84-0654-44A3-AFAD-ACE546C12F45}"/>
                </a:ext>
              </a:extLst>
            </p:cNvPr>
            <p:cNvSpPr/>
            <p:nvPr/>
          </p:nvSpPr>
          <p:spPr>
            <a:xfrm>
              <a:off x="11993787" y="10946019"/>
              <a:ext cx="447534" cy="447468"/>
            </a:xfrm>
            <a:custGeom>
              <a:avLst/>
              <a:gdLst/>
              <a:ahLst/>
              <a:cxnLst>
                <a:cxn ang="0">
                  <a:pos x="wd2" y="hd2"/>
                </a:cxn>
                <a:cxn ang="5400000">
                  <a:pos x="wd2" y="hd2"/>
                </a:cxn>
                <a:cxn ang="10800000">
                  <a:pos x="wd2" y="hd2"/>
                </a:cxn>
                <a:cxn ang="16200000">
                  <a:pos x="wd2" y="hd2"/>
                </a:cxn>
              </a:cxnLst>
              <a:rect l="0" t="0" r="r" b="b"/>
              <a:pathLst>
                <a:path w="21317" h="21317" extrusionOk="0">
                  <a:moveTo>
                    <a:pt x="7792" y="27"/>
                  </a:moveTo>
                  <a:cubicBezTo>
                    <a:pt x="7372" y="141"/>
                    <a:pt x="7122" y="573"/>
                    <a:pt x="7234" y="993"/>
                  </a:cubicBezTo>
                  <a:lnTo>
                    <a:pt x="7836" y="3244"/>
                  </a:lnTo>
                  <a:cubicBezTo>
                    <a:pt x="8357" y="3022"/>
                    <a:pt x="8864" y="2878"/>
                    <a:pt x="9346" y="2789"/>
                  </a:cubicBezTo>
                  <a:lnTo>
                    <a:pt x="8758" y="585"/>
                  </a:lnTo>
                  <a:cubicBezTo>
                    <a:pt x="8645" y="164"/>
                    <a:pt x="8213" y="-85"/>
                    <a:pt x="7792" y="27"/>
                  </a:cubicBezTo>
                  <a:close/>
                  <a:moveTo>
                    <a:pt x="13442" y="41"/>
                  </a:moveTo>
                  <a:cubicBezTo>
                    <a:pt x="13020" y="-71"/>
                    <a:pt x="12588" y="179"/>
                    <a:pt x="12475" y="600"/>
                  </a:cubicBezTo>
                  <a:lnTo>
                    <a:pt x="11888" y="2784"/>
                  </a:lnTo>
                  <a:cubicBezTo>
                    <a:pt x="12441" y="2878"/>
                    <a:pt x="12949" y="3027"/>
                    <a:pt x="13408" y="3203"/>
                  </a:cubicBezTo>
                  <a:lnTo>
                    <a:pt x="13998" y="1007"/>
                  </a:lnTo>
                  <a:cubicBezTo>
                    <a:pt x="14110" y="585"/>
                    <a:pt x="13862" y="154"/>
                    <a:pt x="13442" y="41"/>
                  </a:cubicBezTo>
                  <a:close/>
                  <a:moveTo>
                    <a:pt x="585" y="12411"/>
                  </a:moveTo>
                  <a:cubicBezTo>
                    <a:pt x="164" y="12524"/>
                    <a:pt x="-86" y="12956"/>
                    <a:pt x="27" y="13377"/>
                  </a:cubicBezTo>
                  <a:cubicBezTo>
                    <a:pt x="139" y="13798"/>
                    <a:pt x="571" y="14047"/>
                    <a:pt x="992" y="13934"/>
                  </a:cubicBezTo>
                  <a:lnTo>
                    <a:pt x="3181" y="13347"/>
                  </a:lnTo>
                  <a:cubicBezTo>
                    <a:pt x="3009" y="12885"/>
                    <a:pt x="2865" y="12376"/>
                    <a:pt x="2775" y="11823"/>
                  </a:cubicBezTo>
                  <a:cubicBezTo>
                    <a:pt x="2775" y="11823"/>
                    <a:pt x="585" y="12411"/>
                    <a:pt x="585" y="12411"/>
                  </a:cubicBezTo>
                  <a:close/>
                  <a:moveTo>
                    <a:pt x="1013" y="7169"/>
                  </a:moveTo>
                  <a:cubicBezTo>
                    <a:pt x="592" y="7056"/>
                    <a:pt x="160" y="7306"/>
                    <a:pt x="47" y="7727"/>
                  </a:cubicBezTo>
                  <a:cubicBezTo>
                    <a:pt x="-66" y="8148"/>
                    <a:pt x="184" y="8580"/>
                    <a:pt x="604" y="8692"/>
                  </a:cubicBezTo>
                  <a:lnTo>
                    <a:pt x="2805" y="9281"/>
                  </a:lnTo>
                  <a:cubicBezTo>
                    <a:pt x="2896" y="8799"/>
                    <a:pt x="3046" y="8293"/>
                    <a:pt x="3273" y="7773"/>
                  </a:cubicBezTo>
                  <a:cubicBezTo>
                    <a:pt x="3273" y="7773"/>
                    <a:pt x="1013" y="7169"/>
                    <a:pt x="1013" y="7169"/>
                  </a:cubicBezTo>
                  <a:close/>
                  <a:moveTo>
                    <a:pt x="2889" y="2841"/>
                  </a:moveTo>
                  <a:cubicBezTo>
                    <a:pt x="2581" y="3148"/>
                    <a:pt x="2580" y="3648"/>
                    <a:pt x="2888" y="3956"/>
                  </a:cubicBezTo>
                  <a:lnTo>
                    <a:pt x="4607" y="5675"/>
                  </a:lnTo>
                  <a:cubicBezTo>
                    <a:pt x="4732" y="5529"/>
                    <a:pt x="5572" y="4695"/>
                    <a:pt x="5727" y="4563"/>
                  </a:cubicBezTo>
                  <a:lnTo>
                    <a:pt x="4004" y="2840"/>
                  </a:lnTo>
                  <a:cubicBezTo>
                    <a:pt x="3696" y="2532"/>
                    <a:pt x="3197" y="2533"/>
                    <a:pt x="2889" y="2841"/>
                  </a:cubicBezTo>
                  <a:close/>
                  <a:moveTo>
                    <a:pt x="15285" y="5439"/>
                  </a:moveTo>
                  <a:cubicBezTo>
                    <a:pt x="13524" y="3930"/>
                    <a:pt x="9472" y="2164"/>
                    <a:pt x="5822" y="5814"/>
                  </a:cubicBezTo>
                  <a:cubicBezTo>
                    <a:pt x="5821" y="5815"/>
                    <a:pt x="5821" y="5815"/>
                    <a:pt x="5821" y="5816"/>
                  </a:cubicBezTo>
                  <a:cubicBezTo>
                    <a:pt x="5820" y="5816"/>
                    <a:pt x="5819" y="5817"/>
                    <a:pt x="5819" y="5817"/>
                  </a:cubicBezTo>
                  <a:cubicBezTo>
                    <a:pt x="5819" y="5818"/>
                    <a:pt x="5818" y="5818"/>
                    <a:pt x="5818" y="5819"/>
                  </a:cubicBezTo>
                  <a:cubicBezTo>
                    <a:pt x="5817" y="5819"/>
                    <a:pt x="5817" y="5820"/>
                    <a:pt x="5816" y="5820"/>
                  </a:cubicBezTo>
                  <a:cubicBezTo>
                    <a:pt x="2166" y="9471"/>
                    <a:pt x="3932" y="13524"/>
                    <a:pt x="5440" y="15285"/>
                  </a:cubicBezTo>
                  <a:cubicBezTo>
                    <a:pt x="6807" y="16868"/>
                    <a:pt x="9202" y="17222"/>
                    <a:pt x="9535" y="17322"/>
                  </a:cubicBezTo>
                  <a:cubicBezTo>
                    <a:pt x="10076" y="17484"/>
                    <a:pt x="12612" y="17632"/>
                    <a:pt x="13467" y="18402"/>
                  </a:cubicBezTo>
                  <a:cubicBezTo>
                    <a:pt x="14644" y="19461"/>
                    <a:pt x="14810" y="19354"/>
                    <a:pt x="15487" y="18942"/>
                  </a:cubicBezTo>
                  <a:cubicBezTo>
                    <a:pt x="16178" y="18522"/>
                    <a:pt x="18522" y="16178"/>
                    <a:pt x="18942" y="15487"/>
                  </a:cubicBezTo>
                  <a:cubicBezTo>
                    <a:pt x="19354" y="14810"/>
                    <a:pt x="19461" y="14644"/>
                    <a:pt x="18401" y="13467"/>
                  </a:cubicBezTo>
                  <a:cubicBezTo>
                    <a:pt x="17632" y="12612"/>
                    <a:pt x="17484" y="10075"/>
                    <a:pt x="17321" y="9534"/>
                  </a:cubicBezTo>
                  <a:cubicBezTo>
                    <a:pt x="17222" y="9201"/>
                    <a:pt x="16868" y="6805"/>
                    <a:pt x="15285" y="5439"/>
                  </a:cubicBezTo>
                  <a:close/>
                  <a:moveTo>
                    <a:pt x="20706" y="16780"/>
                  </a:moveTo>
                  <a:cubicBezTo>
                    <a:pt x="20530" y="16603"/>
                    <a:pt x="20243" y="16603"/>
                    <a:pt x="20066" y="16780"/>
                  </a:cubicBezTo>
                  <a:lnTo>
                    <a:pt x="16780" y="20067"/>
                  </a:lnTo>
                  <a:cubicBezTo>
                    <a:pt x="16603" y="20244"/>
                    <a:pt x="16603" y="20531"/>
                    <a:pt x="16780" y="20707"/>
                  </a:cubicBezTo>
                  <a:lnTo>
                    <a:pt x="16780" y="20707"/>
                  </a:lnTo>
                  <a:cubicBezTo>
                    <a:pt x="16956" y="20884"/>
                    <a:pt x="17243" y="20884"/>
                    <a:pt x="17419" y="20707"/>
                  </a:cubicBezTo>
                  <a:lnTo>
                    <a:pt x="20706" y="17420"/>
                  </a:lnTo>
                  <a:cubicBezTo>
                    <a:pt x="20883" y="17243"/>
                    <a:pt x="20883" y="16956"/>
                    <a:pt x="20706" y="16780"/>
                  </a:cubicBezTo>
                  <a:cubicBezTo>
                    <a:pt x="20706" y="16780"/>
                    <a:pt x="20706" y="16780"/>
                    <a:pt x="20706" y="16780"/>
                  </a:cubicBezTo>
                  <a:close/>
                  <a:moveTo>
                    <a:pt x="19833" y="15906"/>
                  </a:moveTo>
                  <a:cubicBezTo>
                    <a:pt x="19656" y="15729"/>
                    <a:pt x="19370" y="15730"/>
                    <a:pt x="19193" y="15906"/>
                  </a:cubicBezTo>
                  <a:lnTo>
                    <a:pt x="15906" y="19194"/>
                  </a:lnTo>
                  <a:cubicBezTo>
                    <a:pt x="15729" y="19370"/>
                    <a:pt x="15729" y="19657"/>
                    <a:pt x="15906" y="19833"/>
                  </a:cubicBezTo>
                  <a:lnTo>
                    <a:pt x="15906" y="19833"/>
                  </a:lnTo>
                  <a:cubicBezTo>
                    <a:pt x="16082" y="20010"/>
                    <a:pt x="16369" y="20010"/>
                    <a:pt x="16546" y="19833"/>
                  </a:cubicBezTo>
                  <a:lnTo>
                    <a:pt x="19833" y="16546"/>
                  </a:lnTo>
                  <a:cubicBezTo>
                    <a:pt x="20009" y="16369"/>
                    <a:pt x="20009" y="16083"/>
                    <a:pt x="19833" y="15906"/>
                  </a:cubicBezTo>
                  <a:cubicBezTo>
                    <a:pt x="19833" y="15906"/>
                    <a:pt x="19833" y="15906"/>
                    <a:pt x="19833" y="15906"/>
                  </a:cubicBezTo>
                  <a:close/>
                  <a:moveTo>
                    <a:pt x="17867" y="20727"/>
                  </a:moveTo>
                  <a:lnTo>
                    <a:pt x="20726" y="17867"/>
                  </a:lnTo>
                  <a:cubicBezTo>
                    <a:pt x="21514" y="18656"/>
                    <a:pt x="21513" y="19935"/>
                    <a:pt x="20724" y="20724"/>
                  </a:cubicBezTo>
                  <a:cubicBezTo>
                    <a:pt x="19934" y="21514"/>
                    <a:pt x="18655" y="21515"/>
                    <a:pt x="17867" y="20727"/>
                  </a:cubicBezTo>
                  <a:close/>
                </a:path>
              </a:pathLst>
            </a:custGeom>
            <a:solidFill>
              <a:schemeClr val="bg1">
                <a:lumMod val="85000"/>
              </a:schemeClr>
            </a:solidFill>
            <a:ln w="12700" cap="flat">
              <a:noFill/>
              <a:miter lim="400000"/>
            </a:ln>
            <a:effectLst/>
          </p:spPr>
          <p:txBody>
            <a:bodyPr wrap="square" lIns="0" tIns="0" rIns="0" bIns="0" numCol="1" anchor="b">
              <a:noAutofit/>
            </a:bodyPr>
            <a:lstStyle/>
            <a:p>
              <a:endParaRPr lang="en-GB" sz="1899" dirty="0">
                <a:latin typeface="Lato Light" panose="020F0502020204030203" pitchFamily="34" charset="0"/>
              </a:endParaRPr>
            </a:p>
          </p:txBody>
        </p:sp>
        <p:sp>
          <p:nvSpPr>
            <p:cNvPr id="98" name="Shape 34223">
              <a:extLst>
                <a:ext uri="{FF2B5EF4-FFF2-40B4-BE49-F238E27FC236}">
                  <a16:creationId xmlns:a16="http://schemas.microsoft.com/office/drawing/2014/main" xmlns="" id="{28C50E0B-3BA3-4871-8A7A-03C96955CA2A}"/>
                </a:ext>
              </a:extLst>
            </p:cNvPr>
            <p:cNvSpPr/>
            <p:nvPr/>
          </p:nvSpPr>
          <p:spPr>
            <a:xfrm>
              <a:off x="11828592" y="12064076"/>
              <a:ext cx="446404" cy="410140"/>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9" name="Shape 34224">
              <a:extLst>
                <a:ext uri="{FF2B5EF4-FFF2-40B4-BE49-F238E27FC236}">
                  <a16:creationId xmlns:a16="http://schemas.microsoft.com/office/drawing/2014/main" xmlns="" id="{2F962CA7-8CAF-4A9A-BE19-330DBCB305E1}"/>
                </a:ext>
              </a:extLst>
            </p:cNvPr>
            <p:cNvSpPr/>
            <p:nvPr/>
          </p:nvSpPr>
          <p:spPr>
            <a:xfrm>
              <a:off x="11467012" y="10972393"/>
              <a:ext cx="358632" cy="692850"/>
            </a:xfrm>
            <a:custGeom>
              <a:avLst/>
              <a:gdLst/>
              <a:ahLst/>
              <a:cxnLst>
                <a:cxn ang="0">
                  <a:pos x="wd2" y="hd2"/>
                </a:cxn>
                <a:cxn ang="5400000">
                  <a:pos x="wd2" y="hd2"/>
                </a:cxn>
                <a:cxn ang="10800000">
                  <a:pos x="wd2" y="hd2"/>
                </a:cxn>
                <a:cxn ang="16200000">
                  <a:pos x="wd2" y="hd2"/>
                </a:cxn>
              </a:cxnLst>
              <a:rect l="0" t="0" r="r" b="b"/>
              <a:pathLst>
                <a:path w="21436" h="21532" extrusionOk="0">
                  <a:moveTo>
                    <a:pt x="17698" y="0"/>
                  </a:moveTo>
                  <a:lnTo>
                    <a:pt x="16138" y="1685"/>
                  </a:lnTo>
                  <a:cubicBezTo>
                    <a:pt x="16052" y="1663"/>
                    <a:pt x="15626" y="1553"/>
                    <a:pt x="15626" y="1553"/>
                  </a:cubicBezTo>
                  <a:lnTo>
                    <a:pt x="14403" y="2878"/>
                  </a:lnTo>
                  <a:lnTo>
                    <a:pt x="14914" y="3010"/>
                  </a:lnTo>
                  <a:lnTo>
                    <a:pt x="14546" y="3408"/>
                  </a:lnTo>
                  <a:lnTo>
                    <a:pt x="2184" y="16751"/>
                  </a:lnTo>
                  <a:cubicBezTo>
                    <a:pt x="1744" y="17225"/>
                    <a:pt x="202" y="19746"/>
                    <a:pt x="516" y="20547"/>
                  </a:cubicBezTo>
                  <a:cubicBezTo>
                    <a:pt x="560" y="20662"/>
                    <a:pt x="644" y="20742"/>
                    <a:pt x="773" y="20775"/>
                  </a:cubicBezTo>
                  <a:cubicBezTo>
                    <a:pt x="1807" y="21040"/>
                    <a:pt x="5426" y="18252"/>
                    <a:pt x="5928" y="17710"/>
                  </a:cubicBezTo>
                  <a:lnTo>
                    <a:pt x="18283" y="4367"/>
                  </a:lnTo>
                  <a:lnTo>
                    <a:pt x="18652" y="3969"/>
                  </a:lnTo>
                  <a:lnTo>
                    <a:pt x="19186" y="4106"/>
                  </a:lnTo>
                  <a:lnTo>
                    <a:pt x="14380" y="9291"/>
                  </a:lnTo>
                  <a:lnTo>
                    <a:pt x="15147" y="9488"/>
                  </a:lnTo>
                  <a:lnTo>
                    <a:pt x="21176" y="2979"/>
                  </a:lnTo>
                  <a:cubicBezTo>
                    <a:pt x="21176" y="2979"/>
                    <a:pt x="20341" y="2767"/>
                    <a:pt x="19876" y="2647"/>
                  </a:cubicBezTo>
                  <a:lnTo>
                    <a:pt x="21436" y="963"/>
                  </a:lnTo>
                  <a:cubicBezTo>
                    <a:pt x="21436" y="963"/>
                    <a:pt x="17698" y="0"/>
                    <a:pt x="17698" y="0"/>
                  </a:cubicBezTo>
                  <a:close/>
                  <a:moveTo>
                    <a:pt x="516" y="20547"/>
                  </a:moveTo>
                  <a:cubicBezTo>
                    <a:pt x="504" y="20509"/>
                    <a:pt x="483" y="20481"/>
                    <a:pt x="479" y="20436"/>
                  </a:cubicBezTo>
                  <a:lnTo>
                    <a:pt x="223" y="20708"/>
                  </a:lnTo>
                  <a:cubicBezTo>
                    <a:pt x="120" y="20820"/>
                    <a:pt x="-164" y="21449"/>
                    <a:pt x="129" y="21525"/>
                  </a:cubicBezTo>
                  <a:cubicBezTo>
                    <a:pt x="423" y="21600"/>
                    <a:pt x="1188" y="21095"/>
                    <a:pt x="1291" y="20984"/>
                  </a:cubicBezTo>
                  <a:lnTo>
                    <a:pt x="1546" y="20707"/>
                  </a:lnTo>
                  <a:cubicBezTo>
                    <a:pt x="1228" y="20825"/>
                    <a:pt x="959" y="20878"/>
                    <a:pt x="774" y="20830"/>
                  </a:cubicBezTo>
                  <a:cubicBezTo>
                    <a:pt x="630" y="20793"/>
                    <a:pt x="555" y="20685"/>
                    <a:pt x="516" y="20547"/>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0" name="Shape 34225">
              <a:extLst>
                <a:ext uri="{FF2B5EF4-FFF2-40B4-BE49-F238E27FC236}">
                  <a16:creationId xmlns:a16="http://schemas.microsoft.com/office/drawing/2014/main" xmlns="" id="{D66D446D-BDB3-4CBB-BF7E-0C0E5D90920D}"/>
                </a:ext>
              </a:extLst>
            </p:cNvPr>
            <p:cNvSpPr/>
            <p:nvPr/>
          </p:nvSpPr>
          <p:spPr>
            <a:xfrm>
              <a:off x="12788908" y="11202698"/>
              <a:ext cx="425116" cy="118066"/>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1" name="Shape 34226">
              <a:extLst>
                <a:ext uri="{FF2B5EF4-FFF2-40B4-BE49-F238E27FC236}">
                  <a16:creationId xmlns:a16="http://schemas.microsoft.com/office/drawing/2014/main" xmlns="" id="{104D2E12-78AD-49CD-A56A-AABDF5AA604C}"/>
                </a:ext>
              </a:extLst>
            </p:cNvPr>
            <p:cNvSpPr/>
            <p:nvPr/>
          </p:nvSpPr>
          <p:spPr>
            <a:xfrm>
              <a:off x="12691600" y="7661988"/>
              <a:ext cx="463732" cy="545588"/>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2" name="Shape 34227">
              <a:extLst>
                <a:ext uri="{FF2B5EF4-FFF2-40B4-BE49-F238E27FC236}">
                  <a16:creationId xmlns:a16="http://schemas.microsoft.com/office/drawing/2014/main" xmlns="" id="{97DD6138-C48E-49E0-905B-461510ACAEE6}"/>
                </a:ext>
              </a:extLst>
            </p:cNvPr>
            <p:cNvSpPr/>
            <p:nvPr/>
          </p:nvSpPr>
          <p:spPr>
            <a:xfrm>
              <a:off x="11861838" y="8796062"/>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103" name="Shape 34228">
              <a:extLst>
                <a:ext uri="{FF2B5EF4-FFF2-40B4-BE49-F238E27FC236}">
                  <a16:creationId xmlns:a16="http://schemas.microsoft.com/office/drawing/2014/main" xmlns="" id="{1D9423FA-E9BD-4E35-AB21-C8CD1BE0760C}"/>
                </a:ext>
              </a:extLst>
            </p:cNvPr>
            <p:cNvSpPr/>
            <p:nvPr/>
          </p:nvSpPr>
          <p:spPr>
            <a:xfrm>
              <a:off x="9057539" y="5652197"/>
              <a:ext cx="565072" cy="648758"/>
            </a:xfrm>
            <a:custGeom>
              <a:avLst/>
              <a:gdLst/>
              <a:ahLst/>
              <a:cxnLst>
                <a:cxn ang="0">
                  <a:pos x="wd2" y="hd2"/>
                </a:cxn>
                <a:cxn ang="5400000">
                  <a:pos x="wd2" y="hd2"/>
                </a:cxn>
                <a:cxn ang="10800000">
                  <a:pos x="wd2" y="hd2"/>
                </a:cxn>
                <a:cxn ang="16200000">
                  <a:pos x="wd2" y="hd2"/>
                </a:cxn>
              </a:cxnLst>
              <a:rect l="0" t="0" r="r" b="b"/>
              <a:pathLst>
                <a:path w="21600" h="21600" extrusionOk="0">
                  <a:moveTo>
                    <a:pt x="11390" y="0"/>
                  </a:moveTo>
                  <a:lnTo>
                    <a:pt x="0" y="14168"/>
                  </a:lnTo>
                  <a:lnTo>
                    <a:pt x="12187" y="21600"/>
                  </a:lnTo>
                  <a:lnTo>
                    <a:pt x="21600" y="9890"/>
                  </a:lnTo>
                  <a:lnTo>
                    <a:pt x="20767" y="5719"/>
                  </a:lnTo>
                  <a:lnTo>
                    <a:pt x="11390" y="0"/>
                  </a:lnTo>
                  <a:close/>
                  <a:moveTo>
                    <a:pt x="12641" y="5625"/>
                  </a:moveTo>
                  <a:lnTo>
                    <a:pt x="17079" y="8332"/>
                  </a:lnTo>
                  <a:lnTo>
                    <a:pt x="16765" y="8723"/>
                  </a:lnTo>
                  <a:lnTo>
                    <a:pt x="12326" y="6016"/>
                  </a:lnTo>
                  <a:lnTo>
                    <a:pt x="12641" y="5625"/>
                  </a:lnTo>
                  <a:close/>
                  <a:moveTo>
                    <a:pt x="7323" y="8127"/>
                  </a:moveTo>
                  <a:lnTo>
                    <a:pt x="16200" y="13540"/>
                  </a:lnTo>
                  <a:lnTo>
                    <a:pt x="15894" y="13920"/>
                  </a:lnTo>
                  <a:lnTo>
                    <a:pt x="7017" y="8506"/>
                  </a:lnTo>
                  <a:lnTo>
                    <a:pt x="7323" y="8127"/>
                  </a:lnTo>
                  <a:close/>
                  <a:moveTo>
                    <a:pt x="5778" y="10048"/>
                  </a:moveTo>
                  <a:lnTo>
                    <a:pt x="14655" y="15462"/>
                  </a:lnTo>
                  <a:lnTo>
                    <a:pt x="14340" y="15853"/>
                  </a:lnTo>
                  <a:lnTo>
                    <a:pt x="5463" y="10439"/>
                  </a:lnTo>
                  <a:lnTo>
                    <a:pt x="5778" y="10048"/>
                  </a:lnTo>
                  <a:close/>
                  <a:moveTo>
                    <a:pt x="4233" y="11970"/>
                  </a:moveTo>
                  <a:lnTo>
                    <a:pt x="8671" y="14677"/>
                  </a:lnTo>
                  <a:lnTo>
                    <a:pt x="8357" y="15068"/>
                  </a:lnTo>
                  <a:lnTo>
                    <a:pt x="3918" y="12361"/>
                  </a:lnTo>
                  <a:lnTo>
                    <a:pt x="4233" y="1197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4" name="Shape 34229">
              <a:extLst>
                <a:ext uri="{FF2B5EF4-FFF2-40B4-BE49-F238E27FC236}">
                  <a16:creationId xmlns:a16="http://schemas.microsoft.com/office/drawing/2014/main" xmlns="" id="{D29345CB-BDA1-4FF6-AFE6-E3560530441F}"/>
                </a:ext>
              </a:extLst>
            </p:cNvPr>
            <p:cNvSpPr/>
            <p:nvPr/>
          </p:nvSpPr>
          <p:spPr>
            <a:xfrm>
              <a:off x="14430703" y="5653180"/>
              <a:ext cx="678286" cy="609678"/>
            </a:xfrm>
            <a:custGeom>
              <a:avLst/>
              <a:gdLst/>
              <a:ahLst/>
              <a:cxnLst>
                <a:cxn ang="0">
                  <a:pos x="wd2" y="hd2"/>
                </a:cxn>
                <a:cxn ang="5400000">
                  <a:pos x="wd2" y="hd2"/>
                </a:cxn>
                <a:cxn ang="10800000">
                  <a:pos x="wd2" y="hd2"/>
                </a:cxn>
                <a:cxn ang="16200000">
                  <a:pos x="wd2" y="hd2"/>
                </a:cxn>
              </a:cxnLst>
              <a:rect l="0" t="0" r="r" b="b"/>
              <a:pathLst>
                <a:path w="21255" h="21217" extrusionOk="0">
                  <a:moveTo>
                    <a:pt x="16218" y="16859"/>
                  </a:moveTo>
                  <a:lnTo>
                    <a:pt x="3455" y="9002"/>
                  </a:lnTo>
                  <a:lnTo>
                    <a:pt x="7275" y="1347"/>
                  </a:lnTo>
                  <a:lnTo>
                    <a:pt x="20039" y="9205"/>
                  </a:lnTo>
                  <a:cubicBezTo>
                    <a:pt x="20039" y="9205"/>
                    <a:pt x="16218" y="16859"/>
                    <a:pt x="16218" y="16859"/>
                  </a:cubicBezTo>
                  <a:close/>
                  <a:moveTo>
                    <a:pt x="20627" y="8027"/>
                  </a:moveTo>
                  <a:lnTo>
                    <a:pt x="7863" y="170"/>
                  </a:lnTo>
                  <a:cubicBezTo>
                    <a:pt x="7275" y="-192"/>
                    <a:pt x="6536" y="43"/>
                    <a:pt x="6211" y="693"/>
                  </a:cubicBezTo>
                  <a:cubicBezTo>
                    <a:pt x="6211" y="693"/>
                    <a:pt x="1803" y="9525"/>
                    <a:pt x="1814" y="9531"/>
                  </a:cubicBezTo>
                  <a:lnTo>
                    <a:pt x="16683" y="18684"/>
                  </a:lnTo>
                  <a:cubicBezTo>
                    <a:pt x="16694" y="18691"/>
                    <a:pt x="21103" y="9860"/>
                    <a:pt x="21103" y="9860"/>
                  </a:cubicBezTo>
                  <a:cubicBezTo>
                    <a:pt x="21427" y="9210"/>
                    <a:pt x="21214" y="8389"/>
                    <a:pt x="20627" y="8027"/>
                  </a:cubicBezTo>
                  <a:close/>
                  <a:moveTo>
                    <a:pt x="15519" y="21047"/>
                  </a:moveTo>
                  <a:lnTo>
                    <a:pt x="628" y="11880"/>
                  </a:lnTo>
                  <a:cubicBezTo>
                    <a:pt x="40" y="11518"/>
                    <a:pt x="-173" y="10698"/>
                    <a:pt x="152" y="10047"/>
                  </a:cubicBezTo>
                  <a:lnTo>
                    <a:pt x="446" y="9459"/>
                  </a:lnTo>
                  <a:lnTo>
                    <a:pt x="7359" y="13714"/>
                  </a:lnTo>
                  <a:lnTo>
                    <a:pt x="7065" y="14303"/>
                  </a:lnTo>
                  <a:lnTo>
                    <a:pt x="10256" y="16268"/>
                  </a:lnTo>
                  <a:lnTo>
                    <a:pt x="10550" y="15679"/>
                  </a:lnTo>
                  <a:lnTo>
                    <a:pt x="17464" y="19935"/>
                  </a:lnTo>
                  <a:lnTo>
                    <a:pt x="17170" y="20524"/>
                  </a:lnTo>
                  <a:cubicBezTo>
                    <a:pt x="16846" y="21174"/>
                    <a:pt x="16106" y="21408"/>
                    <a:pt x="15519" y="21047"/>
                  </a:cubicBezTo>
                  <a:cubicBezTo>
                    <a:pt x="15519" y="21047"/>
                    <a:pt x="15519" y="21047"/>
                    <a:pt x="15519" y="2104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5" name="Shape 34230">
              <a:extLst>
                <a:ext uri="{FF2B5EF4-FFF2-40B4-BE49-F238E27FC236}">
                  <a16:creationId xmlns:a16="http://schemas.microsoft.com/office/drawing/2014/main" xmlns="" id="{2D11C3A9-7090-4F46-8193-DF9BD159A082}"/>
                </a:ext>
              </a:extLst>
            </p:cNvPr>
            <p:cNvSpPr/>
            <p:nvPr/>
          </p:nvSpPr>
          <p:spPr>
            <a:xfrm>
              <a:off x="14217720" y="6775957"/>
              <a:ext cx="333440" cy="66687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6" name="Shape 34231">
              <a:extLst>
                <a:ext uri="{FF2B5EF4-FFF2-40B4-BE49-F238E27FC236}">
                  <a16:creationId xmlns:a16="http://schemas.microsoft.com/office/drawing/2014/main" xmlns="" id="{1809CF81-6520-4876-9F84-ECD09F989419}"/>
                </a:ext>
              </a:extLst>
            </p:cNvPr>
            <p:cNvSpPr/>
            <p:nvPr/>
          </p:nvSpPr>
          <p:spPr>
            <a:xfrm>
              <a:off x="12484545" y="3228311"/>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7" name="Shape 34232">
              <a:extLst>
                <a:ext uri="{FF2B5EF4-FFF2-40B4-BE49-F238E27FC236}">
                  <a16:creationId xmlns:a16="http://schemas.microsoft.com/office/drawing/2014/main" xmlns="" id="{A7480B74-F092-4C83-93C7-2ECE820807BC}"/>
                </a:ext>
              </a:extLst>
            </p:cNvPr>
            <p:cNvSpPr/>
            <p:nvPr/>
          </p:nvSpPr>
          <p:spPr>
            <a:xfrm>
              <a:off x="11791096" y="11232556"/>
              <a:ext cx="130464" cy="279620"/>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8" name="Shape 34233">
              <a:extLst>
                <a:ext uri="{FF2B5EF4-FFF2-40B4-BE49-F238E27FC236}">
                  <a16:creationId xmlns:a16="http://schemas.microsoft.com/office/drawing/2014/main" xmlns="" id="{CF6D4F59-E5AF-406C-AC4F-9F9C4F286F70}"/>
                </a:ext>
              </a:extLst>
            </p:cNvPr>
            <p:cNvSpPr/>
            <p:nvPr/>
          </p:nvSpPr>
          <p:spPr>
            <a:xfrm>
              <a:off x="11084739" y="4570184"/>
              <a:ext cx="304442" cy="392838"/>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9" name="Shape 34234">
              <a:extLst>
                <a:ext uri="{FF2B5EF4-FFF2-40B4-BE49-F238E27FC236}">
                  <a16:creationId xmlns:a16="http://schemas.microsoft.com/office/drawing/2014/main" xmlns="" id="{0889EA3D-C4DF-4D38-BD11-5B15823E69AB}"/>
                </a:ext>
              </a:extLst>
            </p:cNvPr>
            <p:cNvSpPr/>
            <p:nvPr/>
          </p:nvSpPr>
          <p:spPr>
            <a:xfrm>
              <a:off x="10710090" y="4258444"/>
              <a:ext cx="419088" cy="39283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0" name="Shape 34235">
              <a:extLst>
                <a:ext uri="{FF2B5EF4-FFF2-40B4-BE49-F238E27FC236}">
                  <a16:creationId xmlns:a16="http://schemas.microsoft.com/office/drawing/2014/main" xmlns="" id="{94A36E76-8EEE-4EEA-9895-D0788E919288}"/>
                </a:ext>
              </a:extLst>
            </p:cNvPr>
            <p:cNvSpPr/>
            <p:nvPr/>
          </p:nvSpPr>
          <p:spPr>
            <a:xfrm>
              <a:off x="9790862" y="4363012"/>
              <a:ext cx="428100" cy="347868"/>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1" name="Shape 34236">
              <a:extLst>
                <a:ext uri="{FF2B5EF4-FFF2-40B4-BE49-F238E27FC236}">
                  <a16:creationId xmlns:a16="http://schemas.microsoft.com/office/drawing/2014/main" xmlns="" id="{9C5FF089-B216-4FF9-BAA1-DED9407CFF03}"/>
                </a:ext>
              </a:extLst>
            </p:cNvPr>
            <p:cNvSpPr/>
            <p:nvPr/>
          </p:nvSpPr>
          <p:spPr>
            <a:xfrm>
              <a:off x="12210021" y="7840631"/>
              <a:ext cx="346528" cy="281582"/>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2" name="Shape 34237">
              <a:extLst>
                <a:ext uri="{FF2B5EF4-FFF2-40B4-BE49-F238E27FC236}">
                  <a16:creationId xmlns:a16="http://schemas.microsoft.com/office/drawing/2014/main" xmlns="" id="{40C227E3-0A75-4387-9E98-198A02A184A1}"/>
                </a:ext>
              </a:extLst>
            </p:cNvPr>
            <p:cNvSpPr/>
            <p:nvPr/>
          </p:nvSpPr>
          <p:spPr>
            <a:xfrm>
              <a:off x="11135547" y="921478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3" name="Shape 34238">
              <a:extLst>
                <a:ext uri="{FF2B5EF4-FFF2-40B4-BE49-F238E27FC236}">
                  <a16:creationId xmlns:a16="http://schemas.microsoft.com/office/drawing/2014/main" xmlns="" id="{B76E37AA-CD2F-4412-B875-E4143EA2ED75}"/>
                </a:ext>
              </a:extLst>
            </p:cNvPr>
            <p:cNvSpPr/>
            <p:nvPr/>
          </p:nvSpPr>
          <p:spPr>
            <a:xfrm>
              <a:off x="13971261" y="7721068"/>
              <a:ext cx="163854" cy="351174"/>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4" name="Shape 34239">
              <a:extLst>
                <a:ext uri="{FF2B5EF4-FFF2-40B4-BE49-F238E27FC236}">
                  <a16:creationId xmlns:a16="http://schemas.microsoft.com/office/drawing/2014/main" xmlns="" id="{046D689C-5F80-4F83-AE28-8AF4A125A11F}"/>
                </a:ext>
              </a:extLst>
            </p:cNvPr>
            <p:cNvSpPr/>
            <p:nvPr/>
          </p:nvSpPr>
          <p:spPr>
            <a:xfrm>
              <a:off x="13086555" y="5888971"/>
              <a:ext cx="304442" cy="392840"/>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5" name="Shape 34240">
              <a:extLst>
                <a:ext uri="{FF2B5EF4-FFF2-40B4-BE49-F238E27FC236}">
                  <a16:creationId xmlns:a16="http://schemas.microsoft.com/office/drawing/2014/main" xmlns="" id="{EEA614B5-55B5-460A-975E-D25BBB112667}"/>
                </a:ext>
              </a:extLst>
            </p:cNvPr>
            <p:cNvSpPr/>
            <p:nvPr/>
          </p:nvSpPr>
          <p:spPr>
            <a:xfrm>
              <a:off x="12718729" y="8725244"/>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6" name="Shape 34241">
              <a:extLst>
                <a:ext uri="{FF2B5EF4-FFF2-40B4-BE49-F238E27FC236}">
                  <a16:creationId xmlns:a16="http://schemas.microsoft.com/office/drawing/2014/main" xmlns="" id="{8279B845-C7A1-4366-AFCF-94092157DE89}"/>
                </a:ext>
              </a:extLst>
            </p:cNvPr>
            <p:cNvSpPr/>
            <p:nvPr/>
          </p:nvSpPr>
          <p:spPr>
            <a:xfrm>
              <a:off x="11342014" y="7513407"/>
              <a:ext cx="272208" cy="366146"/>
            </a:xfrm>
            <a:custGeom>
              <a:avLst/>
              <a:gdLst/>
              <a:ahLst/>
              <a:cxnLst>
                <a:cxn ang="0">
                  <a:pos x="wd2" y="hd2"/>
                </a:cxn>
                <a:cxn ang="5400000">
                  <a:pos x="wd2" y="hd2"/>
                </a:cxn>
                <a:cxn ang="10800000">
                  <a:pos x="wd2" y="hd2"/>
                </a:cxn>
                <a:cxn ang="16200000">
                  <a:pos x="wd2" y="hd2"/>
                </a:cxn>
              </a:cxnLst>
              <a:rect l="0" t="0" r="r" b="b"/>
              <a:pathLst>
                <a:path w="19711" h="20821" extrusionOk="0">
                  <a:moveTo>
                    <a:pt x="12499" y="13303"/>
                  </a:moveTo>
                  <a:cubicBezTo>
                    <a:pt x="13474" y="15282"/>
                    <a:pt x="14406" y="17194"/>
                    <a:pt x="14461" y="19063"/>
                  </a:cubicBezTo>
                  <a:cubicBezTo>
                    <a:pt x="14479" y="19633"/>
                    <a:pt x="14582" y="20311"/>
                    <a:pt x="14210" y="20821"/>
                  </a:cubicBezTo>
                  <a:cubicBezTo>
                    <a:pt x="10525" y="17927"/>
                    <a:pt x="9838" y="14212"/>
                    <a:pt x="8115" y="11051"/>
                  </a:cubicBezTo>
                  <a:cubicBezTo>
                    <a:pt x="6053" y="10122"/>
                    <a:pt x="4570" y="7480"/>
                    <a:pt x="6196" y="6231"/>
                  </a:cubicBezTo>
                  <a:cubicBezTo>
                    <a:pt x="8553" y="4419"/>
                    <a:pt x="10035" y="7345"/>
                    <a:pt x="10598" y="8773"/>
                  </a:cubicBezTo>
                  <a:cubicBezTo>
                    <a:pt x="10906" y="9555"/>
                    <a:pt x="10989" y="10416"/>
                    <a:pt x="11671" y="11094"/>
                  </a:cubicBezTo>
                  <a:cubicBezTo>
                    <a:pt x="13112" y="12518"/>
                    <a:pt x="15601" y="11340"/>
                    <a:pt x="16169" y="9915"/>
                  </a:cubicBezTo>
                  <a:cubicBezTo>
                    <a:pt x="16983" y="7871"/>
                    <a:pt x="15656" y="5461"/>
                    <a:pt x="13976" y="3794"/>
                  </a:cubicBezTo>
                  <a:cubicBezTo>
                    <a:pt x="11415" y="1258"/>
                    <a:pt x="6416" y="1969"/>
                    <a:pt x="3932" y="4842"/>
                  </a:cubicBezTo>
                  <a:cubicBezTo>
                    <a:pt x="2652" y="6323"/>
                    <a:pt x="2147" y="8434"/>
                    <a:pt x="3515" y="10418"/>
                  </a:cubicBezTo>
                  <a:cubicBezTo>
                    <a:pt x="4236" y="11464"/>
                    <a:pt x="5170" y="12108"/>
                    <a:pt x="6136" y="12400"/>
                  </a:cubicBezTo>
                  <a:cubicBezTo>
                    <a:pt x="6282" y="12445"/>
                    <a:pt x="6666" y="12458"/>
                    <a:pt x="6895" y="12661"/>
                  </a:cubicBezTo>
                  <a:cubicBezTo>
                    <a:pt x="7361" y="13074"/>
                    <a:pt x="7439" y="13745"/>
                    <a:pt x="7417" y="14249"/>
                  </a:cubicBezTo>
                  <a:cubicBezTo>
                    <a:pt x="5334" y="14777"/>
                    <a:pt x="3377" y="14023"/>
                    <a:pt x="1894" y="12542"/>
                  </a:cubicBezTo>
                  <a:cubicBezTo>
                    <a:pt x="-1478" y="9170"/>
                    <a:pt x="-94" y="4513"/>
                    <a:pt x="4049" y="1953"/>
                  </a:cubicBezTo>
                  <a:cubicBezTo>
                    <a:pt x="8469" y="-779"/>
                    <a:pt x="13971" y="-622"/>
                    <a:pt x="16956" y="2276"/>
                  </a:cubicBezTo>
                  <a:cubicBezTo>
                    <a:pt x="19176" y="4430"/>
                    <a:pt x="20122" y="7281"/>
                    <a:pt x="19546" y="9389"/>
                  </a:cubicBezTo>
                  <a:cubicBezTo>
                    <a:pt x="19112" y="10973"/>
                    <a:pt x="17273" y="13272"/>
                    <a:pt x="14367" y="13517"/>
                  </a:cubicBezTo>
                  <a:cubicBezTo>
                    <a:pt x="13720" y="13571"/>
                    <a:pt x="13303" y="13441"/>
                    <a:pt x="12499" y="133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7" name="Shape 34242">
              <a:extLst>
                <a:ext uri="{FF2B5EF4-FFF2-40B4-BE49-F238E27FC236}">
                  <a16:creationId xmlns:a16="http://schemas.microsoft.com/office/drawing/2014/main" xmlns="" id="{4DF2F498-F0B2-4E70-AB70-E2498A44A3F0}"/>
                </a:ext>
              </a:extLst>
            </p:cNvPr>
            <p:cNvSpPr/>
            <p:nvPr/>
          </p:nvSpPr>
          <p:spPr>
            <a:xfrm>
              <a:off x="14349166" y="3565132"/>
              <a:ext cx="272152" cy="351174"/>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8" name="Shape 34243">
              <a:extLst>
                <a:ext uri="{FF2B5EF4-FFF2-40B4-BE49-F238E27FC236}">
                  <a16:creationId xmlns:a16="http://schemas.microsoft.com/office/drawing/2014/main" xmlns="" id="{A045C9FD-2EB1-47E6-80F2-34EA5F08CD07}"/>
                </a:ext>
              </a:extLst>
            </p:cNvPr>
            <p:cNvSpPr/>
            <p:nvPr/>
          </p:nvSpPr>
          <p:spPr>
            <a:xfrm>
              <a:off x="10163109" y="5879849"/>
              <a:ext cx="373972" cy="350548"/>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9" name="Shape 34244">
              <a:extLst>
                <a:ext uri="{FF2B5EF4-FFF2-40B4-BE49-F238E27FC236}">
                  <a16:creationId xmlns:a16="http://schemas.microsoft.com/office/drawing/2014/main" xmlns="" id="{72705375-ED2E-452C-826C-1B32425E2510}"/>
                </a:ext>
              </a:extLst>
            </p:cNvPr>
            <p:cNvSpPr/>
            <p:nvPr/>
          </p:nvSpPr>
          <p:spPr>
            <a:xfrm>
              <a:off x="14467934" y="6264695"/>
              <a:ext cx="347528" cy="3257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0" name="Shape 34245">
              <a:extLst>
                <a:ext uri="{FF2B5EF4-FFF2-40B4-BE49-F238E27FC236}">
                  <a16:creationId xmlns:a16="http://schemas.microsoft.com/office/drawing/2014/main" xmlns="" id="{41322528-D11B-4126-847E-04BB95BD5CBC}"/>
                </a:ext>
              </a:extLst>
            </p:cNvPr>
            <p:cNvSpPr/>
            <p:nvPr/>
          </p:nvSpPr>
          <p:spPr>
            <a:xfrm>
              <a:off x="12353445" y="9604415"/>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1" name="Shape 34246">
              <a:extLst>
                <a:ext uri="{FF2B5EF4-FFF2-40B4-BE49-F238E27FC236}">
                  <a16:creationId xmlns:a16="http://schemas.microsoft.com/office/drawing/2014/main" xmlns="" id="{ACC60A7B-7EF2-402C-9254-8BA56A26E48E}"/>
                </a:ext>
              </a:extLst>
            </p:cNvPr>
            <p:cNvSpPr/>
            <p:nvPr/>
          </p:nvSpPr>
          <p:spPr>
            <a:xfrm>
              <a:off x="11817349" y="7826120"/>
              <a:ext cx="266022"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2" name="Shape 34247">
              <a:extLst>
                <a:ext uri="{FF2B5EF4-FFF2-40B4-BE49-F238E27FC236}">
                  <a16:creationId xmlns:a16="http://schemas.microsoft.com/office/drawing/2014/main" xmlns="" id="{59C329ED-42CF-49D3-8E21-40FE29420A9F}"/>
                </a:ext>
              </a:extLst>
            </p:cNvPr>
            <p:cNvSpPr/>
            <p:nvPr/>
          </p:nvSpPr>
          <p:spPr>
            <a:xfrm>
              <a:off x="10728159" y="11858687"/>
              <a:ext cx="359648" cy="359648"/>
            </a:xfrm>
            <a:custGeom>
              <a:avLst/>
              <a:gdLst/>
              <a:ahLst/>
              <a:cxnLst>
                <a:cxn ang="0">
                  <a:pos x="wd2" y="hd2"/>
                </a:cxn>
                <a:cxn ang="5400000">
                  <a:pos x="wd2" y="hd2"/>
                </a:cxn>
                <a:cxn ang="10800000">
                  <a:pos x="wd2" y="hd2"/>
                </a:cxn>
                <a:cxn ang="16200000">
                  <a:pos x="wd2" y="hd2"/>
                </a:cxn>
              </a:cxnLst>
              <a:rect l="0" t="0" r="r" b="b"/>
              <a:pathLst>
                <a:path w="21600" h="21600" extrusionOk="0">
                  <a:moveTo>
                    <a:pt x="10800" y="14657"/>
                  </a:moveTo>
                  <a:cubicBezTo>
                    <a:pt x="8670" y="14657"/>
                    <a:pt x="6943" y="12930"/>
                    <a:pt x="6943" y="10800"/>
                  </a:cubicBezTo>
                  <a:cubicBezTo>
                    <a:pt x="6943" y="8670"/>
                    <a:pt x="8670" y="6943"/>
                    <a:pt x="10800" y="6943"/>
                  </a:cubicBezTo>
                  <a:cubicBezTo>
                    <a:pt x="12930" y="6943"/>
                    <a:pt x="14657" y="8670"/>
                    <a:pt x="14657" y="10800"/>
                  </a:cubicBezTo>
                  <a:cubicBezTo>
                    <a:pt x="14657" y="12930"/>
                    <a:pt x="12930" y="14657"/>
                    <a:pt x="10800" y="14657"/>
                  </a:cubicBezTo>
                  <a:close/>
                  <a:moveTo>
                    <a:pt x="20016" y="9930"/>
                  </a:moveTo>
                  <a:cubicBezTo>
                    <a:pt x="21001" y="9522"/>
                    <a:pt x="21600" y="9257"/>
                    <a:pt x="21600" y="9257"/>
                  </a:cubicBezTo>
                  <a:lnTo>
                    <a:pt x="20829" y="6171"/>
                  </a:lnTo>
                  <a:cubicBezTo>
                    <a:pt x="20829" y="6171"/>
                    <a:pt x="20119" y="6283"/>
                    <a:pt x="18990" y="6492"/>
                  </a:cubicBezTo>
                  <a:cubicBezTo>
                    <a:pt x="18430" y="5424"/>
                    <a:pt x="17677" y="4501"/>
                    <a:pt x="16789" y="3749"/>
                  </a:cubicBezTo>
                  <a:cubicBezTo>
                    <a:pt x="17377" y="2418"/>
                    <a:pt x="17743" y="1543"/>
                    <a:pt x="17743" y="1543"/>
                  </a:cubicBezTo>
                  <a:lnTo>
                    <a:pt x="14657" y="0"/>
                  </a:lnTo>
                  <a:cubicBezTo>
                    <a:pt x="14657" y="0"/>
                    <a:pt x="14156" y="750"/>
                    <a:pt x="13405" y="1922"/>
                  </a:cubicBezTo>
                  <a:cubicBezTo>
                    <a:pt x="12297" y="1595"/>
                    <a:pt x="11120" y="1470"/>
                    <a:pt x="9929" y="1584"/>
                  </a:cubicBezTo>
                  <a:cubicBezTo>
                    <a:pt x="9522" y="599"/>
                    <a:pt x="9257" y="0"/>
                    <a:pt x="9257" y="0"/>
                  </a:cubicBezTo>
                  <a:lnTo>
                    <a:pt x="6171" y="771"/>
                  </a:lnTo>
                  <a:cubicBezTo>
                    <a:pt x="6171" y="771"/>
                    <a:pt x="6283" y="1481"/>
                    <a:pt x="6492" y="2610"/>
                  </a:cubicBezTo>
                  <a:cubicBezTo>
                    <a:pt x="5420" y="3172"/>
                    <a:pt x="4494" y="3929"/>
                    <a:pt x="3740" y="4821"/>
                  </a:cubicBezTo>
                  <a:cubicBezTo>
                    <a:pt x="2414" y="4227"/>
                    <a:pt x="1543" y="3857"/>
                    <a:pt x="1543" y="3857"/>
                  </a:cubicBezTo>
                  <a:lnTo>
                    <a:pt x="0" y="6943"/>
                  </a:lnTo>
                  <a:cubicBezTo>
                    <a:pt x="0" y="6943"/>
                    <a:pt x="748" y="7450"/>
                    <a:pt x="1919" y="8207"/>
                  </a:cubicBezTo>
                  <a:cubicBezTo>
                    <a:pt x="1595" y="9313"/>
                    <a:pt x="1471" y="10485"/>
                    <a:pt x="1584" y="11672"/>
                  </a:cubicBezTo>
                  <a:cubicBezTo>
                    <a:pt x="599" y="12078"/>
                    <a:pt x="0" y="12343"/>
                    <a:pt x="0" y="12343"/>
                  </a:cubicBezTo>
                  <a:lnTo>
                    <a:pt x="771" y="15429"/>
                  </a:lnTo>
                  <a:cubicBezTo>
                    <a:pt x="771" y="15429"/>
                    <a:pt x="1480" y="15317"/>
                    <a:pt x="2609" y="15107"/>
                  </a:cubicBezTo>
                  <a:cubicBezTo>
                    <a:pt x="3172" y="16179"/>
                    <a:pt x="3928" y="17106"/>
                    <a:pt x="4820" y="17860"/>
                  </a:cubicBezTo>
                  <a:cubicBezTo>
                    <a:pt x="4227" y="19186"/>
                    <a:pt x="3857" y="20057"/>
                    <a:pt x="3857" y="20057"/>
                  </a:cubicBezTo>
                  <a:lnTo>
                    <a:pt x="6943" y="21600"/>
                  </a:lnTo>
                  <a:cubicBezTo>
                    <a:pt x="6943" y="21600"/>
                    <a:pt x="7449" y="20852"/>
                    <a:pt x="8206" y="19681"/>
                  </a:cubicBezTo>
                  <a:cubicBezTo>
                    <a:pt x="9312" y="20005"/>
                    <a:pt x="10485" y="20129"/>
                    <a:pt x="11672" y="20016"/>
                  </a:cubicBezTo>
                  <a:cubicBezTo>
                    <a:pt x="12078" y="21001"/>
                    <a:pt x="12343" y="21600"/>
                    <a:pt x="12343" y="21600"/>
                  </a:cubicBezTo>
                  <a:lnTo>
                    <a:pt x="15429" y="20829"/>
                  </a:lnTo>
                  <a:cubicBezTo>
                    <a:pt x="15429" y="20829"/>
                    <a:pt x="15317" y="20120"/>
                    <a:pt x="15107" y="18991"/>
                  </a:cubicBezTo>
                  <a:cubicBezTo>
                    <a:pt x="16176" y="18431"/>
                    <a:pt x="17099" y="17676"/>
                    <a:pt x="17852" y="16788"/>
                  </a:cubicBezTo>
                  <a:cubicBezTo>
                    <a:pt x="19183" y="17377"/>
                    <a:pt x="20057" y="17743"/>
                    <a:pt x="20057" y="17743"/>
                  </a:cubicBezTo>
                  <a:lnTo>
                    <a:pt x="21600" y="14657"/>
                  </a:lnTo>
                  <a:cubicBezTo>
                    <a:pt x="21600" y="14657"/>
                    <a:pt x="20851" y="14156"/>
                    <a:pt x="19678" y="13405"/>
                  </a:cubicBezTo>
                  <a:cubicBezTo>
                    <a:pt x="20005" y="12296"/>
                    <a:pt x="20130" y="11120"/>
                    <a:pt x="20016" y="9930"/>
                  </a:cubicBezTo>
                  <a:close/>
                </a:path>
              </a:pathLst>
            </a:custGeom>
            <a:solidFill>
              <a:schemeClr val="bg1">
                <a:lumMod val="85000"/>
              </a:schemeClr>
            </a:solidFill>
            <a:ln w="12700" cap="flat">
              <a:noFill/>
              <a:miter lim="400000"/>
            </a:ln>
            <a:effectLst/>
          </p:spPr>
          <p:txBody>
            <a:bodyPr wrap="square" lIns="20097" tIns="20097" rIns="20097" bIns="20097" numCol="1" anchor="ctr">
              <a:noAutofit/>
            </a:bodyPr>
            <a:lstStyle/>
            <a:p>
              <a:endParaRPr lang="en-GB" sz="1899" dirty="0">
                <a:latin typeface="Lato Light" panose="020F0502020204030203" pitchFamily="34" charset="0"/>
              </a:endParaRPr>
            </a:p>
          </p:txBody>
        </p:sp>
        <p:sp>
          <p:nvSpPr>
            <p:cNvPr id="123" name="Shape 34248">
              <a:extLst>
                <a:ext uri="{FF2B5EF4-FFF2-40B4-BE49-F238E27FC236}">
                  <a16:creationId xmlns:a16="http://schemas.microsoft.com/office/drawing/2014/main" xmlns="" id="{8B6E0DC0-61CF-434D-A6D0-5ECCBB48C211}"/>
                </a:ext>
              </a:extLst>
            </p:cNvPr>
            <p:cNvSpPr/>
            <p:nvPr/>
          </p:nvSpPr>
          <p:spPr>
            <a:xfrm>
              <a:off x="11187068" y="11262359"/>
              <a:ext cx="266020" cy="249360"/>
            </a:xfrm>
            <a:custGeom>
              <a:avLst/>
              <a:gdLst/>
              <a:ahLst/>
              <a:cxnLst>
                <a:cxn ang="0">
                  <a:pos x="wd2" y="hd2"/>
                </a:cxn>
                <a:cxn ang="5400000">
                  <a:pos x="wd2" y="hd2"/>
                </a:cxn>
                <a:cxn ang="10800000">
                  <a:pos x="wd2" y="hd2"/>
                </a:cxn>
                <a:cxn ang="16200000">
                  <a:pos x="wd2" y="hd2"/>
                </a:cxn>
              </a:cxnLst>
              <a:rect l="0" t="0" r="r" b="b"/>
              <a:pathLst>
                <a:path w="21600" h="21600" extrusionOk="0">
                  <a:moveTo>
                    <a:pt x="8648" y="5409"/>
                  </a:moveTo>
                  <a:cubicBezTo>
                    <a:pt x="8423" y="3519"/>
                    <a:pt x="7212" y="1948"/>
                    <a:pt x="5946" y="1906"/>
                  </a:cubicBezTo>
                  <a:lnTo>
                    <a:pt x="5894" y="1906"/>
                  </a:lnTo>
                  <a:cubicBezTo>
                    <a:pt x="5447" y="1906"/>
                    <a:pt x="5049" y="2111"/>
                    <a:pt x="4743" y="2498"/>
                  </a:cubicBezTo>
                  <a:cubicBezTo>
                    <a:pt x="4271" y="3097"/>
                    <a:pt x="4073" y="4045"/>
                    <a:pt x="4198" y="5100"/>
                  </a:cubicBezTo>
                  <a:cubicBezTo>
                    <a:pt x="4418" y="6988"/>
                    <a:pt x="5656" y="8619"/>
                    <a:pt x="6897" y="8662"/>
                  </a:cubicBezTo>
                  <a:lnTo>
                    <a:pt x="6916" y="8662"/>
                  </a:lnTo>
                  <a:cubicBezTo>
                    <a:pt x="7385" y="8662"/>
                    <a:pt x="7778" y="8457"/>
                    <a:pt x="8085" y="8070"/>
                  </a:cubicBezTo>
                  <a:cubicBezTo>
                    <a:pt x="8561" y="7463"/>
                    <a:pt x="8773" y="6468"/>
                    <a:pt x="8648" y="5409"/>
                  </a:cubicBezTo>
                  <a:cubicBezTo>
                    <a:pt x="8648" y="5409"/>
                    <a:pt x="8648" y="5409"/>
                    <a:pt x="8648" y="5409"/>
                  </a:cubicBezTo>
                  <a:close/>
                  <a:moveTo>
                    <a:pt x="2967" y="16668"/>
                  </a:moveTo>
                  <a:cubicBezTo>
                    <a:pt x="2967" y="18299"/>
                    <a:pt x="4433" y="19576"/>
                    <a:pt x="6303" y="19576"/>
                  </a:cubicBezTo>
                  <a:cubicBezTo>
                    <a:pt x="8773" y="19576"/>
                    <a:pt x="10022" y="18631"/>
                    <a:pt x="10022" y="16763"/>
                  </a:cubicBezTo>
                  <a:cubicBezTo>
                    <a:pt x="10022" y="16587"/>
                    <a:pt x="10003" y="16402"/>
                    <a:pt x="9965" y="16220"/>
                  </a:cubicBezTo>
                  <a:cubicBezTo>
                    <a:pt x="9800" y="15495"/>
                    <a:pt x="9201" y="15043"/>
                    <a:pt x="8298" y="14355"/>
                  </a:cubicBezTo>
                  <a:cubicBezTo>
                    <a:pt x="8173" y="14263"/>
                    <a:pt x="8044" y="14164"/>
                    <a:pt x="7911" y="14063"/>
                  </a:cubicBezTo>
                  <a:cubicBezTo>
                    <a:pt x="7520" y="13931"/>
                    <a:pt x="7106" y="13857"/>
                    <a:pt x="6683" y="13855"/>
                  </a:cubicBezTo>
                  <a:lnTo>
                    <a:pt x="6629" y="13852"/>
                  </a:lnTo>
                  <a:cubicBezTo>
                    <a:pt x="4680" y="13852"/>
                    <a:pt x="2967" y="15167"/>
                    <a:pt x="2967" y="16668"/>
                  </a:cubicBezTo>
                  <a:cubicBezTo>
                    <a:pt x="2967" y="16668"/>
                    <a:pt x="2967" y="16668"/>
                    <a:pt x="2967" y="16668"/>
                  </a:cubicBezTo>
                  <a:close/>
                  <a:moveTo>
                    <a:pt x="12670" y="907"/>
                  </a:moveTo>
                  <a:lnTo>
                    <a:pt x="11388" y="1940"/>
                  </a:lnTo>
                  <a:cubicBezTo>
                    <a:pt x="11312" y="2002"/>
                    <a:pt x="11218" y="2035"/>
                    <a:pt x="11123" y="2035"/>
                  </a:cubicBezTo>
                  <a:lnTo>
                    <a:pt x="10665" y="2035"/>
                  </a:lnTo>
                  <a:cubicBezTo>
                    <a:pt x="11255" y="2824"/>
                    <a:pt x="11605" y="3949"/>
                    <a:pt x="11605" y="5219"/>
                  </a:cubicBezTo>
                  <a:cubicBezTo>
                    <a:pt x="11605" y="6615"/>
                    <a:pt x="10968" y="7937"/>
                    <a:pt x="9814" y="8945"/>
                  </a:cubicBezTo>
                  <a:cubicBezTo>
                    <a:pt x="8922" y="9717"/>
                    <a:pt x="8887" y="9931"/>
                    <a:pt x="8887" y="10374"/>
                  </a:cubicBezTo>
                  <a:cubicBezTo>
                    <a:pt x="8897" y="10617"/>
                    <a:pt x="9521" y="11409"/>
                    <a:pt x="10204" y="11949"/>
                  </a:cubicBezTo>
                  <a:cubicBezTo>
                    <a:pt x="11803" y="13208"/>
                    <a:pt x="12396" y="14441"/>
                    <a:pt x="12396" y="16503"/>
                  </a:cubicBezTo>
                  <a:cubicBezTo>
                    <a:pt x="12396" y="18652"/>
                    <a:pt x="10930" y="20513"/>
                    <a:pt x="8659" y="21248"/>
                  </a:cubicBezTo>
                  <a:cubicBezTo>
                    <a:pt x="7930" y="21482"/>
                    <a:pt x="7141" y="21600"/>
                    <a:pt x="6315" y="21600"/>
                  </a:cubicBezTo>
                  <a:cubicBezTo>
                    <a:pt x="5396" y="21600"/>
                    <a:pt x="4510" y="21482"/>
                    <a:pt x="3686" y="21251"/>
                  </a:cubicBezTo>
                  <a:cubicBezTo>
                    <a:pt x="2090" y="20802"/>
                    <a:pt x="908" y="19953"/>
                    <a:pt x="358" y="18858"/>
                  </a:cubicBezTo>
                  <a:cubicBezTo>
                    <a:pt x="122" y="18382"/>
                    <a:pt x="0" y="17877"/>
                    <a:pt x="0" y="17354"/>
                  </a:cubicBezTo>
                  <a:cubicBezTo>
                    <a:pt x="0" y="16815"/>
                    <a:pt x="117" y="16269"/>
                    <a:pt x="344" y="15728"/>
                  </a:cubicBezTo>
                  <a:cubicBezTo>
                    <a:pt x="1219" y="13652"/>
                    <a:pt x="3526" y="12256"/>
                    <a:pt x="6079" y="12256"/>
                  </a:cubicBezTo>
                  <a:cubicBezTo>
                    <a:pt x="6106" y="12256"/>
                    <a:pt x="6130" y="12256"/>
                    <a:pt x="6152" y="12256"/>
                  </a:cubicBezTo>
                  <a:cubicBezTo>
                    <a:pt x="5946" y="11848"/>
                    <a:pt x="5843" y="11429"/>
                    <a:pt x="5843" y="10984"/>
                  </a:cubicBezTo>
                  <a:cubicBezTo>
                    <a:pt x="5843" y="10764"/>
                    <a:pt x="5870" y="10538"/>
                    <a:pt x="5924" y="10311"/>
                  </a:cubicBezTo>
                  <a:cubicBezTo>
                    <a:pt x="3244" y="10243"/>
                    <a:pt x="1238" y="8057"/>
                    <a:pt x="1238" y="5179"/>
                  </a:cubicBezTo>
                  <a:cubicBezTo>
                    <a:pt x="1238" y="3144"/>
                    <a:pt x="2699" y="1162"/>
                    <a:pt x="4786" y="362"/>
                  </a:cubicBezTo>
                  <a:cubicBezTo>
                    <a:pt x="5412" y="121"/>
                    <a:pt x="6049" y="0"/>
                    <a:pt x="6675" y="0"/>
                  </a:cubicBezTo>
                  <a:lnTo>
                    <a:pt x="12404" y="0"/>
                  </a:lnTo>
                  <a:cubicBezTo>
                    <a:pt x="12599" y="0"/>
                    <a:pt x="12772" y="139"/>
                    <a:pt x="12833" y="347"/>
                  </a:cubicBezTo>
                  <a:cubicBezTo>
                    <a:pt x="12895" y="553"/>
                    <a:pt x="12827" y="781"/>
                    <a:pt x="12670" y="907"/>
                  </a:cubicBezTo>
                  <a:cubicBezTo>
                    <a:pt x="12670" y="907"/>
                    <a:pt x="12670" y="907"/>
                    <a:pt x="12670" y="907"/>
                  </a:cubicBezTo>
                  <a:close/>
                  <a:moveTo>
                    <a:pt x="21151" y="10807"/>
                  </a:moveTo>
                  <a:lnTo>
                    <a:pt x="17892" y="10807"/>
                  </a:lnTo>
                  <a:lnTo>
                    <a:pt x="17892" y="14433"/>
                  </a:lnTo>
                  <a:cubicBezTo>
                    <a:pt x="17892" y="14711"/>
                    <a:pt x="17691" y="14934"/>
                    <a:pt x="17443" y="14934"/>
                  </a:cubicBezTo>
                  <a:lnTo>
                    <a:pt x="16515" y="14934"/>
                  </a:lnTo>
                  <a:cubicBezTo>
                    <a:pt x="16266" y="14934"/>
                    <a:pt x="16063" y="14711"/>
                    <a:pt x="16063" y="14433"/>
                  </a:cubicBezTo>
                  <a:lnTo>
                    <a:pt x="16063" y="10807"/>
                  </a:lnTo>
                  <a:lnTo>
                    <a:pt x="12808" y="10807"/>
                  </a:lnTo>
                  <a:cubicBezTo>
                    <a:pt x="12559" y="10807"/>
                    <a:pt x="12355" y="10582"/>
                    <a:pt x="12355" y="10305"/>
                  </a:cubicBezTo>
                  <a:lnTo>
                    <a:pt x="12355" y="9273"/>
                  </a:lnTo>
                  <a:cubicBezTo>
                    <a:pt x="12355" y="8994"/>
                    <a:pt x="12559" y="8769"/>
                    <a:pt x="12808" y="8769"/>
                  </a:cubicBezTo>
                  <a:lnTo>
                    <a:pt x="16063" y="8769"/>
                  </a:lnTo>
                  <a:lnTo>
                    <a:pt x="16063" y="5144"/>
                  </a:lnTo>
                  <a:cubicBezTo>
                    <a:pt x="16063" y="4869"/>
                    <a:pt x="16266" y="4643"/>
                    <a:pt x="16515" y="4643"/>
                  </a:cubicBezTo>
                  <a:lnTo>
                    <a:pt x="17443" y="4643"/>
                  </a:lnTo>
                  <a:cubicBezTo>
                    <a:pt x="17691" y="4643"/>
                    <a:pt x="17892" y="4869"/>
                    <a:pt x="17892" y="5144"/>
                  </a:cubicBezTo>
                  <a:lnTo>
                    <a:pt x="17892" y="8769"/>
                  </a:lnTo>
                  <a:lnTo>
                    <a:pt x="21151" y="8769"/>
                  </a:lnTo>
                  <a:cubicBezTo>
                    <a:pt x="21396" y="8769"/>
                    <a:pt x="21600" y="8994"/>
                    <a:pt x="21600" y="9273"/>
                  </a:cubicBezTo>
                  <a:lnTo>
                    <a:pt x="21600" y="10305"/>
                  </a:lnTo>
                  <a:cubicBezTo>
                    <a:pt x="21600" y="10582"/>
                    <a:pt x="21396" y="10807"/>
                    <a:pt x="21151" y="10807"/>
                  </a:cubicBezTo>
                  <a:cubicBezTo>
                    <a:pt x="21151" y="10807"/>
                    <a:pt x="21151" y="10807"/>
                    <a:pt x="21151" y="108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4" name="Shape 34249">
              <a:extLst>
                <a:ext uri="{FF2B5EF4-FFF2-40B4-BE49-F238E27FC236}">
                  <a16:creationId xmlns:a16="http://schemas.microsoft.com/office/drawing/2014/main" xmlns="" id="{BF77A601-3A7C-4B16-9CA8-84CDB8F6D81C}"/>
                </a:ext>
              </a:extLst>
            </p:cNvPr>
            <p:cNvSpPr/>
            <p:nvPr/>
          </p:nvSpPr>
          <p:spPr>
            <a:xfrm>
              <a:off x="11097651" y="11556529"/>
              <a:ext cx="363722" cy="489364"/>
            </a:xfrm>
            <a:custGeom>
              <a:avLst/>
              <a:gdLst/>
              <a:ahLst/>
              <a:cxnLst>
                <a:cxn ang="0">
                  <a:pos x="wd2" y="hd2"/>
                </a:cxn>
                <a:cxn ang="5400000">
                  <a:pos x="wd2" y="hd2"/>
                </a:cxn>
                <a:cxn ang="10800000">
                  <a:pos x="wd2" y="hd2"/>
                </a:cxn>
                <a:cxn ang="16200000">
                  <a:pos x="wd2" y="hd2"/>
                </a:cxn>
              </a:cxnLst>
              <a:rect l="0" t="0" r="r" b="b"/>
              <a:pathLst>
                <a:path w="21600" h="21600" extrusionOk="0">
                  <a:moveTo>
                    <a:pt x="0" y="1289"/>
                  </a:moveTo>
                  <a:lnTo>
                    <a:pt x="7526" y="11318"/>
                  </a:lnTo>
                  <a:lnTo>
                    <a:pt x="10639" y="10027"/>
                  </a:lnTo>
                  <a:lnTo>
                    <a:pt x="6735" y="4831"/>
                  </a:lnTo>
                  <a:cubicBezTo>
                    <a:pt x="7186" y="4822"/>
                    <a:pt x="7638" y="4734"/>
                    <a:pt x="8042" y="4542"/>
                  </a:cubicBezTo>
                  <a:cubicBezTo>
                    <a:pt x="8843" y="4160"/>
                    <a:pt x="9286" y="3488"/>
                    <a:pt x="9338" y="2779"/>
                  </a:cubicBezTo>
                  <a:cubicBezTo>
                    <a:pt x="9343" y="2717"/>
                    <a:pt x="9344" y="2654"/>
                    <a:pt x="9343" y="2591"/>
                  </a:cubicBezTo>
                  <a:cubicBezTo>
                    <a:pt x="10859" y="2532"/>
                    <a:pt x="12290" y="2713"/>
                    <a:pt x="13557" y="3159"/>
                  </a:cubicBezTo>
                  <a:cubicBezTo>
                    <a:pt x="15647" y="3894"/>
                    <a:pt x="17171" y="5277"/>
                    <a:pt x="17964" y="7158"/>
                  </a:cubicBezTo>
                  <a:cubicBezTo>
                    <a:pt x="19200" y="10089"/>
                    <a:pt x="17878" y="13269"/>
                    <a:pt x="14770" y="15143"/>
                  </a:cubicBezTo>
                  <a:lnTo>
                    <a:pt x="13545" y="13629"/>
                  </a:lnTo>
                  <a:lnTo>
                    <a:pt x="15711" y="12662"/>
                  </a:lnTo>
                  <a:lnTo>
                    <a:pt x="15100" y="11906"/>
                  </a:lnTo>
                  <a:lnTo>
                    <a:pt x="7202" y="15433"/>
                  </a:lnTo>
                  <a:lnTo>
                    <a:pt x="7813" y="16189"/>
                  </a:lnTo>
                  <a:lnTo>
                    <a:pt x="9983" y="15220"/>
                  </a:lnTo>
                  <a:lnTo>
                    <a:pt x="11972" y="17680"/>
                  </a:lnTo>
                  <a:lnTo>
                    <a:pt x="7432" y="19708"/>
                  </a:lnTo>
                  <a:lnTo>
                    <a:pt x="8961" y="21600"/>
                  </a:lnTo>
                  <a:lnTo>
                    <a:pt x="21600" y="15956"/>
                  </a:lnTo>
                  <a:lnTo>
                    <a:pt x="20070" y="14064"/>
                  </a:lnTo>
                  <a:lnTo>
                    <a:pt x="16905" y="15477"/>
                  </a:lnTo>
                  <a:cubicBezTo>
                    <a:pt x="19819" y="13226"/>
                    <a:pt x="20973" y="9873"/>
                    <a:pt x="19662" y="6762"/>
                  </a:cubicBezTo>
                  <a:cubicBezTo>
                    <a:pt x="18716" y="4520"/>
                    <a:pt x="16868" y="2861"/>
                    <a:pt x="14317" y="1964"/>
                  </a:cubicBezTo>
                  <a:cubicBezTo>
                    <a:pt x="12625" y="1368"/>
                    <a:pt x="10722" y="1151"/>
                    <a:pt x="8713" y="1295"/>
                  </a:cubicBezTo>
                  <a:cubicBezTo>
                    <a:pt x="7813" y="536"/>
                    <a:pt x="6285" y="336"/>
                    <a:pt x="5078" y="875"/>
                  </a:cubicBezTo>
                  <a:cubicBezTo>
                    <a:pt x="4725" y="1032"/>
                    <a:pt x="4440" y="1236"/>
                    <a:pt x="4217" y="1471"/>
                  </a:cubicBezTo>
                  <a:lnTo>
                    <a:pt x="3109" y="0"/>
                  </a:lnTo>
                  <a:lnTo>
                    <a:pt x="0" y="1289"/>
                  </a:lnTo>
                  <a:close/>
                  <a:moveTo>
                    <a:pt x="5994" y="2008"/>
                  </a:moveTo>
                  <a:cubicBezTo>
                    <a:pt x="6453" y="1798"/>
                    <a:pt x="7049" y="1856"/>
                    <a:pt x="7404" y="2156"/>
                  </a:cubicBezTo>
                  <a:cubicBezTo>
                    <a:pt x="7771" y="2467"/>
                    <a:pt x="7762" y="2932"/>
                    <a:pt x="7387" y="3235"/>
                  </a:cubicBezTo>
                  <a:cubicBezTo>
                    <a:pt x="7313" y="3300"/>
                    <a:pt x="7226" y="3359"/>
                    <a:pt x="7123" y="3405"/>
                  </a:cubicBezTo>
                  <a:cubicBezTo>
                    <a:pt x="6605" y="3637"/>
                    <a:pt x="5928" y="3511"/>
                    <a:pt x="5619" y="3126"/>
                  </a:cubicBezTo>
                  <a:cubicBezTo>
                    <a:pt x="5309" y="2742"/>
                    <a:pt x="5480" y="2244"/>
                    <a:pt x="5994" y="200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5" name="Shape 34250">
              <a:extLst>
                <a:ext uri="{FF2B5EF4-FFF2-40B4-BE49-F238E27FC236}">
                  <a16:creationId xmlns:a16="http://schemas.microsoft.com/office/drawing/2014/main" xmlns="" id="{5A8445DC-E81C-456D-B922-B4D018E0D759}"/>
                </a:ext>
              </a:extLst>
            </p:cNvPr>
            <p:cNvSpPr/>
            <p:nvPr/>
          </p:nvSpPr>
          <p:spPr>
            <a:xfrm>
              <a:off x="11475026" y="12061751"/>
              <a:ext cx="218222" cy="281582"/>
            </a:xfrm>
            <a:custGeom>
              <a:avLst/>
              <a:gdLst/>
              <a:ahLst/>
              <a:cxnLst>
                <a:cxn ang="0">
                  <a:pos x="wd2" y="hd2"/>
                </a:cxn>
                <a:cxn ang="5400000">
                  <a:pos x="wd2" y="hd2"/>
                </a:cxn>
                <a:cxn ang="10800000">
                  <a:pos x="wd2" y="hd2"/>
                </a:cxn>
                <a:cxn ang="16200000">
                  <a:pos x="wd2" y="hd2"/>
                </a:cxn>
              </a:cxnLst>
              <a:rect l="0" t="0" r="r" b="b"/>
              <a:pathLst>
                <a:path w="20935" h="21287" extrusionOk="0">
                  <a:moveTo>
                    <a:pt x="8719" y="13902"/>
                  </a:moveTo>
                  <a:cubicBezTo>
                    <a:pt x="8086" y="16090"/>
                    <a:pt x="7465" y="18199"/>
                    <a:pt x="6111" y="19862"/>
                  </a:cubicBezTo>
                  <a:cubicBezTo>
                    <a:pt x="5699" y="20370"/>
                    <a:pt x="5281" y="21012"/>
                    <a:pt x="4573" y="21287"/>
                  </a:cubicBezTo>
                  <a:cubicBezTo>
                    <a:pt x="3525" y="17039"/>
                    <a:pt x="5712" y="13464"/>
                    <a:pt x="6579" y="9893"/>
                  </a:cubicBezTo>
                  <a:cubicBezTo>
                    <a:pt x="5475" y="8121"/>
                    <a:pt x="6162" y="5116"/>
                    <a:pt x="8519" y="4777"/>
                  </a:cubicBezTo>
                  <a:cubicBezTo>
                    <a:pt x="11938" y="4282"/>
                    <a:pt x="11037" y="7536"/>
                    <a:pt x="10457" y="9049"/>
                  </a:cubicBezTo>
                  <a:cubicBezTo>
                    <a:pt x="10139" y="9877"/>
                    <a:pt x="9566" y="10671"/>
                    <a:pt x="9654" y="11581"/>
                  </a:cubicBezTo>
                  <a:cubicBezTo>
                    <a:pt x="9843" y="13499"/>
                    <a:pt x="12902" y="13622"/>
                    <a:pt x="14467" y="12636"/>
                  </a:cubicBezTo>
                  <a:cubicBezTo>
                    <a:pt x="16713" y="11223"/>
                    <a:pt x="17361" y="8494"/>
                    <a:pt x="17144" y="6253"/>
                  </a:cubicBezTo>
                  <a:cubicBezTo>
                    <a:pt x="16810" y="2840"/>
                    <a:pt x="11909" y="1143"/>
                    <a:pt x="7583" y="2508"/>
                  </a:cubicBezTo>
                  <a:cubicBezTo>
                    <a:pt x="5355" y="3211"/>
                    <a:pt x="3329" y="4827"/>
                    <a:pt x="3035" y="7202"/>
                  </a:cubicBezTo>
                  <a:cubicBezTo>
                    <a:pt x="2881" y="8453"/>
                    <a:pt x="3214" y="9451"/>
                    <a:pt x="3838" y="10156"/>
                  </a:cubicBezTo>
                  <a:cubicBezTo>
                    <a:pt x="3933" y="10263"/>
                    <a:pt x="4258" y="10453"/>
                    <a:pt x="4305" y="10738"/>
                  </a:cubicBezTo>
                  <a:cubicBezTo>
                    <a:pt x="4403" y="11316"/>
                    <a:pt x="3968" y="11940"/>
                    <a:pt x="3570" y="12371"/>
                  </a:cubicBezTo>
                  <a:cubicBezTo>
                    <a:pt x="1354" y="11867"/>
                    <a:pt x="210" y="10298"/>
                    <a:pt x="26" y="8311"/>
                  </a:cubicBezTo>
                  <a:cubicBezTo>
                    <a:pt x="-390" y="3790"/>
                    <a:pt x="4313" y="350"/>
                    <a:pt x="9854" y="29"/>
                  </a:cubicBezTo>
                  <a:cubicBezTo>
                    <a:pt x="15764" y="-313"/>
                    <a:pt x="20453" y="2380"/>
                    <a:pt x="20886" y="6306"/>
                  </a:cubicBezTo>
                  <a:cubicBezTo>
                    <a:pt x="21210" y="9225"/>
                    <a:pt x="19897" y="12163"/>
                    <a:pt x="17812" y="13743"/>
                  </a:cubicBezTo>
                  <a:cubicBezTo>
                    <a:pt x="16244" y="14931"/>
                    <a:pt x="12913" y="16092"/>
                    <a:pt x="10190" y="14957"/>
                  </a:cubicBezTo>
                  <a:cubicBezTo>
                    <a:pt x="9585" y="14704"/>
                    <a:pt x="9318" y="14397"/>
                    <a:pt x="8719" y="13902"/>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6" name="Shape 34251">
              <a:extLst>
                <a:ext uri="{FF2B5EF4-FFF2-40B4-BE49-F238E27FC236}">
                  <a16:creationId xmlns:a16="http://schemas.microsoft.com/office/drawing/2014/main" xmlns="" id="{B0034120-8C2D-4A02-A864-19A21B215563}"/>
                </a:ext>
              </a:extLst>
            </p:cNvPr>
            <p:cNvSpPr/>
            <p:nvPr/>
          </p:nvSpPr>
          <p:spPr>
            <a:xfrm>
              <a:off x="11001064" y="12147982"/>
              <a:ext cx="241994" cy="27962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7" name="Shape 34252">
              <a:extLst>
                <a:ext uri="{FF2B5EF4-FFF2-40B4-BE49-F238E27FC236}">
                  <a16:creationId xmlns:a16="http://schemas.microsoft.com/office/drawing/2014/main" xmlns="" id="{3178CAE4-BC7A-40C3-A484-004A9C9C0186}"/>
                </a:ext>
              </a:extLst>
            </p:cNvPr>
            <p:cNvSpPr/>
            <p:nvPr/>
          </p:nvSpPr>
          <p:spPr>
            <a:xfrm>
              <a:off x="11499317" y="12714275"/>
              <a:ext cx="353634" cy="243124"/>
            </a:xfrm>
            <a:custGeom>
              <a:avLst/>
              <a:gdLst/>
              <a:ahLst/>
              <a:cxnLst>
                <a:cxn ang="0">
                  <a:pos x="wd2" y="hd2"/>
                </a:cxn>
                <a:cxn ang="5400000">
                  <a:pos x="wd2" y="hd2"/>
                </a:cxn>
                <a:cxn ang="10800000">
                  <a:pos x="wd2" y="hd2"/>
                </a:cxn>
                <a:cxn ang="16200000">
                  <a:pos x="wd2" y="hd2"/>
                </a:cxn>
              </a:cxnLst>
              <a:rect l="0" t="0" r="r" b="b"/>
              <a:pathLst>
                <a:path w="21600" h="21600" extrusionOk="0">
                  <a:moveTo>
                    <a:pt x="14829" y="10800"/>
                  </a:moveTo>
                  <a:lnTo>
                    <a:pt x="14850" y="5891"/>
                  </a:lnTo>
                  <a:lnTo>
                    <a:pt x="18865" y="5891"/>
                  </a:lnTo>
                  <a:lnTo>
                    <a:pt x="20250" y="10800"/>
                  </a:lnTo>
                  <a:lnTo>
                    <a:pt x="14829" y="10800"/>
                  </a:lnTo>
                  <a:close/>
                  <a:moveTo>
                    <a:pt x="20250" y="5564"/>
                  </a:moveTo>
                  <a:cubicBezTo>
                    <a:pt x="19879" y="3856"/>
                    <a:pt x="18900" y="3919"/>
                    <a:pt x="18900" y="3919"/>
                  </a:cubicBezTo>
                  <a:lnTo>
                    <a:pt x="13495" y="3919"/>
                  </a:lnTo>
                  <a:lnTo>
                    <a:pt x="13495" y="18655"/>
                  </a:lnTo>
                  <a:lnTo>
                    <a:pt x="15525" y="18655"/>
                  </a:lnTo>
                  <a:cubicBezTo>
                    <a:pt x="15527" y="14736"/>
                    <a:pt x="16734" y="14727"/>
                    <a:pt x="18225" y="14728"/>
                  </a:cubicBezTo>
                  <a:cubicBezTo>
                    <a:pt x="19716" y="14728"/>
                    <a:pt x="20918" y="14757"/>
                    <a:pt x="20924" y="18655"/>
                  </a:cubicBezTo>
                  <a:lnTo>
                    <a:pt x="21600" y="18655"/>
                  </a:lnTo>
                  <a:lnTo>
                    <a:pt x="21600" y="10817"/>
                  </a:lnTo>
                  <a:cubicBezTo>
                    <a:pt x="21600" y="10817"/>
                    <a:pt x="20621" y="7272"/>
                    <a:pt x="20250" y="5564"/>
                  </a:cubicBezTo>
                  <a:close/>
                  <a:moveTo>
                    <a:pt x="12690" y="1964"/>
                  </a:moveTo>
                  <a:lnTo>
                    <a:pt x="12690" y="18655"/>
                  </a:lnTo>
                  <a:lnTo>
                    <a:pt x="6750" y="18655"/>
                  </a:lnTo>
                  <a:cubicBezTo>
                    <a:pt x="6750" y="14728"/>
                    <a:pt x="5541" y="14728"/>
                    <a:pt x="4050" y="14728"/>
                  </a:cubicBezTo>
                  <a:cubicBezTo>
                    <a:pt x="2559" y="14728"/>
                    <a:pt x="1350" y="14728"/>
                    <a:pt x="1350" y="18655"/>
                  </a:cubicBezTo>
                  <a:lnTo>
                    <a:pt x="0" y="18655"/>
                  </a:lnTo>
                  <a:lnTo>
                    <a:pt x="0" y="1964"/>
                  </a:lnTo>
                  <a:cubicBezTo>
                    <a:pt x="0" y="1421"/>
                    <a:pt x="151" y="931"/>
                    <a:pt x="395" y="575"/>
                  </a:cubicBezTo>
                  <a:cubicBezTo>
                    <a:pt x="640" y="220"/>
                    <a:pt x="977" y="0"/>
                    <a:pt x="1350" y="0"/>
                  </a:cubicBezTo>
                  <a:lnTo>
                    <a:pt x="11340" y="0"/>
                  </a:lnTo>
                  <a:cubicBezTo>
                    <a:pt x="11713" y="0"/>
                    <a:pt x="12050" y="220"/>
                    <a:pt x="12295" y="575"/>
                  </a:cubicBezTo>
                  <a:cubicBezTo>
                    <a:pt x="12539" y="931"/>
                    <a:pt x="12690" y="1421"/>
                    <a:pt x="12690" y="1964"/>
                  </a:cubicBezTo>
                  <a:close/>
                  <a:moveTo>
                    <a:pt x="4050" y="19636"/>
                  </a:moveTo>
                  <a:cubicBezTo>
                    <a:pt x="3677" y="19636"/>
                    <a:pt x="3375" y="19197"/>
                    <a:pt x="3375" y="18655"/>
                  </a:cubicBezTo>
                  <a:cubicBezTo>
                    <a:pt x="3375" y="18112"/>
                    <a:pt x="3677" y="17673"/>
                    <a:pt x="4050" y="17673"/>
                  </a:cubicBezTo>
                  <a:cubicBezTo>
                    <a:pt x="4423" y="17673"/>
                    <a:pt x="4725" y="18112"/>
                    <a:pt x="4725" y="18655"/>
                  </a:cubicBezTo>
                  <a:cubicBezTo>
                    <a:pt x="4725" y="19197"/>
                    <a:pt x="4423" y="19636"/>
                    <a:pt x="4050" y="19636"/>
                  </a:cubicBezTo>
                  <a:close/>
                  <a:moveTo>
                    <a:pt x="4050" y="15709"/>
                  </a:moveTo>
                  <a:cubicBezTo>
                    <a:pt x="2932" y="15709"/>
                    <a:pt x="2025" y="17028"/>
                    <a:pt x="2025" y="18655"/>
                  </a:cubicBezTo>
                  <a:cubicBezTo>
                    <a:pt x="2025" y="20281"/>
                    <a:pt x="2932" y="21600"/>
                    <a:pt x="4050" y="21600"/>
                  </a:cubicBezTo>
                  <a:cubicBezTo>
                    <a:pt x="5168" y="21600"/>
                    <a:pt x="6075" y="20281"/>
                    <a:pt x="6075" y="18655"/>
                  </a:cubicBezTo>
                  <a:cubicBezTo>
                    <a:pt x="6075" y="17028"/>
                    <a:pt x="5168" y="15709"/>
                    <a:pt x="4050" y="15709"/>
                  </a:cubicBezTo>
                  <a:close/>
                  <a:moveTo>
                    <a:pt x="18225" y="19636"/>
                  </a:moveTo>
                  <a:cubicBezTo>
                    <a:pt x="17852" y="19636"/>
                    <a:pt x="17550" y="19197"/>
                    <a:pt x="17550" y="18655"/>
                  </a:cubicBezTo>
                  <a:cubicBezTo>
                    <a:pt x="17550" y="18112"/>
                    <a:pt x="17852" y="17673"/>
                    <a:pt x="18225" y="17673"/>
                  </a:cubicBezTo>
                  <a:cubicBezTo>
                    <a:pt x="18598" y="17673"/>
                    <a:pt x="18900" y="18112"/>
                    <a:pt x="18900" y="18655"/>
                  </a:cubicBezTo>
                  <a:cubicBezTo>
                    <a:pt x="18900" y="19197"/>
                    <a:pt x="18598" y="19636"/>
                    <a:pt x="18225" y="19636"/>
                  </a:cubicBezTo>
                  <a:close/>
                  <a:moveTo>
                    <a:pt x="18225" y="15709"/>
                  </a:moveTo>
                  <a:cubicBezTo>
                    <a:pt x="17107" y="15709"/>
                    <a:pt x="16200" y="17028"/>
                    <a:pt x="16200" y="18655"/>
                  </a:cubicBezTo>
                  <a:cubicBezTo>
                    <a:pt x="16200" y="20281"/>
                    <a:pt x="17107" y="21600"/>
                    <a:pt x="18225" y="21600"/>
                  </a:cubicBezTo>
                  <a:cubicBezTo>
                    <a:pt x="19343" y="21600"/>
                    <a:pt x="20250" y="20281"/>
                    <a:pt x="20250" y="18655"/>
                  </a:cubicBezTo>
                  <a:cubicBezTo>
                    <a:pt x="20250" y="17028"/>
                    <a:pt x="19343" y="15709"/>
                    <a:pt x="18225" y="15709"/>
                  </a:cubicBezTo>
                  <a:close/>
                </a:path>
              </a:pathLst>
            </a:custGeom>
            <a:solidFill>
              <a:schemeClr val="bg1">
                <a:lumMod val="85000"/>
              </a:schemeClr>
            </a:solidFill>
            <a:ln w="12700" cap="flat">
              <a:noFill/>
              <a:miter lim="400000"/>
            </a:ln>
            <a:effectLst/>
          </p:spPr>
          <p:txBody>
            <a:bodyPr wrap="square" lIns="20097" tIns="20097" rIns="20097" bIns="20097" numCol="1" anchor="b">
              <a:noAutofit/>
            </a:bodyPr>
            <a:lstStyle/>
            <a:p>
              <a:endParaRPr lang="en-GB" sz="1899" dirty="0">
                <a:latin typeface="Lato Light" panose="020F0502020204030203" pitchFamily="34" charset="0"/>
              </a:endParaRPr>
            </a:p>
          </p:txBody>
        </p:sp>
        <p:sp>
          <p:nvSpPr>
            <p:cNvPr id="128" name="Shape 34253">
              <a:extLst>
                <a:ext uri="{FF2B5EF4-FFF2-40B4-BE49-F238E27FC236}">
                  <a16:creationId xmlns:a16="http://schemas.microsoft.com/office/drawing/2014/main" xmlns="" id="{033EB1BD-03DA-4EBB-9D55-F99DCB9F486B}"/>
                </a:ext>
              </a:extLst>
            </p:cNvPr>
            <p:cNvSpPr/>
            <p:nvPr/>
          </p:nvSpPr>
          <p:spPr>
            <a:xfrm rot="1920000">
              <a:off x="12259440" y="12552699"/>
              <a:ext cx="459460" cy="127604"/>
            </a:xfrm>
            <a:custGeom>
              <a:avLst/>
              <a:gdLst/>
              <a:ahLst/>
              <a:cxnLst>
                <a:cxn ang="0">
                  <a:pos x="wd2" y="hd2"/>
                </a:cxn>
                <a:cxn ang="5400000">
                  <a:pos x="wd2" y="hd2"/>
                </a:cxn>
                <a:cxn ang="10800000">
                  <a:pos x="wd2" y="hd2"/>
                </a:cxn>
                <a:cxn ang="16200000">
                  <a:pos x="wd2" y="hd2"/>
                </a:cxn>
              </a:cxnLst>
              <a:rect l="0" t="0" r="r" b="b"/>
              <a:pathLst>
                <a:path w="21600" h="21600" extrusionOk="0">
                  <a:moveTo>
                    <a:pt x="21600" y="14936"/>
                  </a:moveTo>
                  <a:lnTo>
                    <a:pt x="17631" y="5428"/>
                  </a:lnTo>
                  <a:lnTo>
                    <a:pt x="17241" y="21600"/>
                  </a:lnTo>
                  <a:cubicBezTo>
                    <a:pt x="17241" y="21600"/>
                    <a:pt x="21600" y="14936"/>
                    <a:pt x="21600" y="14936"/>
                  </a:cubicBezTo>
                  <a:close/>
                  <a:moveTo>
                    <a:pt x="16506" y="21368"/>
                  </a:moveTo>
                  <a:lnTo>
                    <a:pt x="16896" y="5196"/>
                  </a:lnTo>
                  <a:lnTo>
                    <a:pt x="3794" y="1071"/>
                  </a:lnTo>
                  <a:lnTo>
                    <a:pt x="3401" y="17243"/>
                  </a:lnTo>
                  <a:cubicBezTo>
                    <a:pt x="3401" y="17243"/>
                    <a:pt x="16506" y="21368"/>
                    <a:pt x="16506" y="21368"/>
                  </a:cubicBezTo>
                  <a:close/>
                  <a:moveTo>
                    <a:pt x="2651" y="17004"/>
                  </a:moveTo>
                  <a:lnTo>
                    <a:pt x="3043" y="832"/>
                  </a:lnTo>
                  <a:lnTo>
                    <a:pt x="393" y="0"/>
                  </a:lnTo>
                  <a:lnTo>
                    <a:pt x="0" y="16172"/>
                  </a:lnTo>
                  <a:cubicBezTo>
                    <a:pt x="0" y="16172"/>
                    <a:pt x="2651" y="17004"/>
                    <a:pt x="2651" y="1700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29" name="Shape 34254">
              <a:extLst>
                <a:ext uri="{FF2B5EF4-FFF2-40B4-BE49-F238E27FC236}">
                  <a16:creationId xmlns:a16="http://schemas.microsoft.com/office/drawing/2014/main" xmlns="" id="{CD4F3584-A4A0-43F0-8C9B-78A2EFCE4DC5}"/>
                </a:ext>
              </a:extLst>
            </p:cNvPr>
            <p:cNvSpPr/>
            <p:nvPr/>
          </p:nvSpPr>
          <p:spPr>
            <a:xfrm>
              <a:off x="10340903" y="5125500"/>
              <a:ext cx="609452" cy="544702"/>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accent1"/>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0" name="Shape 34255">
              <a:extLst>
                <a:ext uri="{FF2B5EF4-FFF2-40B4-BE49-F238E27FC236}">
                  <a16:creationId xmlns:a16="http://schemas.microsoft.com/office/drawing/2014/main" xmlns="" id="{5A88E89A-C046-44BA-931C-270D48320FF8}"/>
                </a:ext>
              </a:extLst>
            </p:cNvPr>
            <p:cNvSpPr/>
            <p:nvPr/>
          </p:nvSpPr>
          <p:spPr>
            <a:xfrm>
              <a:off x="9854702" y="4803941"/>
              <a:ext cx="502982" cy="459644"/>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1" name="Shape 34256">
              <a:extLst>
                <a:ext uri="{FF2B5EF4-FFF2-40B4-BE49-F238E27FC236}">
                  <a16:creationId xmlns:a16="http://schemas.microsoft.com/office/drawing/2014/main" xmlns="" id="{0E347202-EDDA-4A16-921B-17932261F9A6}"/>
                </a:ext>
              </a:extLst>
            </p:cNvPr>
            <p:cNvSpPr/>
            <p:nvPr/>
          </p:nvSpPr>
          <p:spPr>
            <a:xfrm>
              <a:off x="10882778" y="5040627"/>
              <a:ext cx="347554" cy="302336"/>
            </a:xfrm>
            <a:custGeom>
              <a:avLst/>
              <a:gdLst/>
              <a:ahLst/>
              <a:cxnLst>
                <a:cxn ang="0">
                  <a:pos x="wd2" y="hd2"/>
                </a:cxn>
                <a:cxn ang="5400000">
                  <a:pos x="wd2" y="hd2"/>
                </a:cxn>
                <a:cxn ang="10800000">
                  <a:pos x="wd2" y="hd2"/>
                </a:cxn>
                <a:cxn ang="16200000">
                  <a:pos x="wd2" y="hd2"/>
                </a:cxn>
              </a:cxnLst>
              <a:rect l="0" t="0" r="r" b="b"/>
              <a:pathLst>
                <a:path w="21557" h="21600" extrusionOk="0">
                  <a:moveTo>
                    <a:pt x="0" y="307"/>
                  </a:moveTo>
                  <a:lnTo>
                    <a:pt x="120" y="8229"/>
                  </a:lnTo>
                  <a:cubicBezTo>
                    <a:pt x="120" y="8229"/>
                    <a:pt x="1074" y="9367"/>
                    <a:pt x="2052" y="8590"/>
                  </a:cubicBezTo>
                  <a:cubicBezTo>
                    <a:pt x="3133" y="7728"/>
                    <a:pt x="5865" y="7659"/>
                    <a:pt x="5855" y="10716"/>
                  </a:cubicBezTo>
                  <a:cubicBezTo>
                    <a:pt x="5845" y="13772"/>
                    <a:pt x="3624" y="13944"/>
                    <a:pt x="2389" y="13251"/>
                  </a:cubicBezTo>
                  <a:cubicBezTo>
                    <a:pt x="1272" y="12623"/>
                    <a:pt x="199" y="13432"/>
                    <a:pt x="199" y="13432"/>
                  </a:cubicBezTo>
                  <a:lnTo>
                    <a:pt x="323" y="21600"/>
                  </a:lnTo>
                  <a:lnTo>
                    <a:pt x="6451" y="21477"/>
                  </a:lnTo>
                  <a:cubicBezTo>
                    <a:pt x="6451" y="21477"/>
                    <a:pt x="6986" y="20514"/>
                    <a:pt x="6421" y="19495"/>
                  </a:cubicBezTo>
                  <a:cubicBezTo>
                    <a:pt x="5733" y="18260"/>
                    <a:pt x="5615" y="15424"/>
                    <a:pt x="8509" y="15365"/>
                  </a:cubicBezTo>
                  <a:cubicBezTo>
                    <a:pt x="11403" y="15307"/>
                    <a:pt x="11419" y="18067"/>
                    <a:pt x="10615" y="19535"/>
                  </a:cubicBezTo>
                  <a:cubicBezTo>
                    <a:pt x="10013" y="20636"/>
                    <a:pt x="10643" y="21392"/>
                    <a:pt x="10643" y="21392"/>
                  </a:cubicBezTo>
                  <a:lnTo>
                    <a:pt x="15804" y="21289"/>
                  </a:lnTo>
                  <a:cubicBezTo>
                    <a:pt x="15804" y="21289"/>
                    <a:pt x="15557" y="15444"/>
                    <a:pt x="15758" y="13903"/>
                  </a:cubicBezTo>
                  <a:cubicBezTo>
                    <a:pt x="15974" y="12251"/>
                    <a:pt x="17639" y="13349"/>
                    <a:pt x="17948" y="13520"/>
                  </a:cubicBezTo>
                  <a:cubicBezTo>
                    <a:pt x="19729" y="14509"/>
                    <a:pt x="21600" y="13423"/>
                    <a:pt x="21556" y="10521"/>
                  </a:cubicBezTo>
                  <a:cubicBezTo>
                    <a:pt x="21512" y="7619"/>
                    <a:pt x="18822" y="6942"/>
                    <a:pt x="17537" y="8101"/>
                  </a:cubicBezTo>
                  <a:cubicBezTo>
                    <a:pt x="16582" y="8962"/>
                    <a:pt x="15790" y="9114"/>
                    <a:pt x="15630" y="8309"/>
                  </a:cubicBezTo>
                  <a:cubicBezTo>
                    <a:pt x="15257" y="6427"/>
                    <a:pt x="15266" y="0"/>
                    <a:pt x="15266" y="0"/>
                  </a:cubicBezTo>
                  <a:lnTo>
                    <a:pt x="10428" y="97"/>
                  </a:lnTo>
                  <a:cubicBezTo>
                    <a:pt x="10428" y="97"/>
                    <a:pt x="9511" y="1388"/>
                    <a:pt x="10249" y="2454"/>
                  </a:cubicBezTo>
                  <a:cubicBezTo>
                    <a:pt x="11360" y="4059"/>
                    <a:pt x="10780" y="6532"/>
                    <a:pt x="8483" y="6578"/>
                  </a:cubicBezTo>
                  <a:cubicBezTo>
                    <a:pt x="6187" y="6624"/>
                    <a:pt x="5468" y="4417"/>
                    <a:pt x="6490" y="2673"/>
                  </a:cubicBezTo>
                  <a:cubicBezTo>
                    <a:pt x="7062" y="1695"/>
                    <a:pt x="6320" y="191"/>
                    <a:pt x="6320" y="191"/>
                  </a:cubicBezTo>
                  <a:cubicBezTo>
                    <a:pt x="6320" y="191"/>
                    <a:pt x="0" y="307"/>
                    <a:pt x="0" y="3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2" name="Shape 34257">
              <a:extLst>
                <a:ext uri="{FF2B5EF4-FFF2-40B4-BE49-F238E27FC236}">
                  <a16:creationId xmlns:a16="http://schemas.microsoft.com/office/drawing/2014/main" xmlns="" id="{05809E50-0DA5-4679-9FC1-45EB6928E214}"/>
                </a:ext>
              </a:extLst>
            </p:cNvPr>
            <p:cNvSpPr/>
            <p:nvPr/>
          </p:nvSpPr>
          <p:spPr>
            <a:xfrm>
              <a:off x="10466323" y="4715507"/>
              <a:ext cx="342888" cy="302336"/>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3" name="Shape 34258">
              <a:extLst>
                <a:ext uri="{FF2B5EF4-FFF2-40B4-BE49-F238E27FC236}">
                  <a16:creationId xmlns:a16="http://schemas.microsoft.com/office/drawing/2014/main" xmlns="" id="{DC811936-4BC2-45DC-8502-D62CFA2C58E3}"/>
                </a:ext>
              </a:extLst>
            </p:cNvPr>
            <p:cNvSpPr/>
            <p:nvPr/>
          </p:nvSpPr>
          <p:spPr>
            <a:xfrm>
              <a:off x="13456598" y="7929263"/>
              <a:ext cx="368866" cy="3296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4" name="Shape 34259">
              <a:extLst>
                <a:ext uri="{FF2B5EF4-FFF2-40B4-BE49-F238E27FC236}">
                  <a16:creationId xmlns:a16="http://schemas.microsoft.com/office/drawing/2014/main" xmlns="" id="{0FE66034-4AC2-4CBD-B60B-4B598861C0ED}"/>
                </a:ext>
              </a:extLst>
            </p:cNvPr>
            <p:cNvSpPr/>
            <p:nvPr/>
          </p:nvSpPr>
          <p:spPr>
            <a:xfrm>
              <a:off x="12160172" y="6699066"/>
              <a:ext cx="392924" cy="351174"/>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5" name="Shape 34260">
              <a:extLst>
                <a:ext uri="{FF2B5EF4-FFF2-40B4-BE49-F238E27FC236}">
                  <a16:creationId xmlns:a16="http://schemas.microsoft.com/office/drawing/2014/main" xmlns="" id="{075E05EB-42F8-4786-8E3C-AE3BE047160C}"/>
                </a:ext>
              </a:extLst>
            </p:cNvPr>
            <p:cNvSpPr/>
            <p:nvPr/>
          </p:nvSpPr>
          <p:spPr>
            <a:xfrm>
              <a:off x="10867845" y="10886425"/>
              <a:ext cx="279004" cy="249360"/>
            </a:xfrm>
            <a:custGeom>
              <a:avLst/>
              <a:gdLst/>
              <a:ahLst/>
              <a:cxnLst>
                <a:cxn ang="0">
                  <a:pos x="wd2" y="hd2"/>
                </a:cxn>
                <a:cxn ang="5400000">
                  <a:pos x="wd2" y="hd2"/>
                </a:cxn>
                <a:cxn ang="10800000">
                  <a:pos x="wd2" y="hd2"/>
                </a:cxn>
                <a:cxn ang="16200000">
                  <a:pos x="wd2" y="hd2"/>
                </a:cxn>
              </a:cxnLst>
              <a:rect l="0" t="0" r="r" b="b"/>
              <a:pathLst>
                <a:path w="21600" h="21484" extrusionOk="0">
                  <a:moveTo>
                    <a:pt x="19415" y="16649"/>
                  </a:moveTo>
                  <a:cubicBezTo>
                    <a:pt x="20161" y="16995"/>
                    <a:pt x="20794" y="17015"/>
                    <a:pt x="20797" y="18016"/>
                  </a:cubicBezTo>
                  <a:lnTo>
                    <a:pt x="21600" y="21484"/>
                  </a:lnTo>
                  <a:lnTo>
                    <a:pt x="0" y="21484"/>
                  </a:lnTo>
                  <a:cubicBezTo>
                    <a:pt x="91" y="20771"/>
                    <a:pt x="349" y="19060"/>
                    <a:pt x="573" y="18136"/>
                  </a:cubicBezTo>
                  <a:cubicBezTo>
                    <a:pt x="679" y="17700"/>
                    <a:pt x="1212" y="16975"/>
                    <a:pt x="2036" y="16624"/>
                  </a:cubicBezTo>
                  <a:cubicBezTo>
                    <a:pt x="4050" y="15766"/>
                    <a:pt x="6877" y="14370"/>
                    <a:pt x="7251" y="13724"/>
                  </a:cubicBezTo>
                  <a:cubicBezTo>
                    <a:pt x="7484" y="13323"/>
                    <a:pt x="7579" y="13743"/>
                    <a:pt x="7681" y="13421"/>
                  </a:cubicBezTo>
                  <a:cubicBezTo>
                    <a:pt x="7916" y="12679"/>
                    <a:pt x="7968" y="11587"/>
                    <a:pt x="7968" y="11587"/>
                  </a:cubicBezTo>
                  <a:cubicBezTo>
                    <a:pt x="7848" y="11494"/>
                    <a:pt x="7572" y="10786"/>
                    <a:pt x="7434" y="10117"/>
                  </a:cubicBezTo>
                  <a:cubicBezTo>
                    <a:pt x="7387" y="9891"/>
                    <a:pt x="7082" y="9884"/>
                    <a:pt x="6846" y="8995"/>
                  </a:cubicBezTo>
                  <a:cubicBezTo>
                    <a:pt x="6653" y="8263"/>
                    <a:pt x="6425" y="7272"/>
                    <a:pt x="6518" y="6932"/>
                  </a:cubicBezTo>
                  <a:cubicBezTo>
                    <a:pt x="6566" y="6758"/>
                    <a:pt x="6695" y="6822"/>
                    <a:pt x="6716" y="6831"/>
                  </a:cubicBezTo>
                  <a:cubicBezTo>
                    <a:pt x="6697" y="6706"/>
                    <a:pt x="6673" y="6705"/>
                    <a:pt x="6649" y="6531"/>
                  </a:cubicBezTo>
                  <a:cubicBezTo>
                    <a:pt x="6603" y="6199"/>
                    <a:pt x="6428" y="5653"/>
                    <a:pt x="6414" y="5330"/>
                  </a:cubicBezTo>
                  <a:cubicBezTo>
                    <a:pt x="6302" y="2941"/>
                    <a:pt x="6814" y="1517"/>
                    <a:pt x="7802" y="834"/>
                  </a:cubicBezTo>
                  <a:cubicBezTo>
                    <a:pt x="8064" y="653"/>
                    <a:pt x="9136" y="145"/>
                    <a:pt x="9462" y="64"/>
                  </a:cubicBezTo>
                  <a:cubicBezTo>
                    <a:pt x="10187" y="-116"/>
                    <a:pt x="11659" y="109"/>
                    <a:pt x="12338" y="443"/>
                  </a:cubicBezTo>
                  <a:cubicBezTo>
                    <a:pt x="14203" y="1346"/>
                    <a:pt x="14766" y="2285"/>
                    <a:pt x="14624" y="5330"/>
                  </a:cubicBezTo>
                  <a:cubicBezTo>
                    <a:pt x="14599" y="5877"/>
                    <a:pt x="14486" y="6618"/>
                    <a:pt x="14433" y="6945"/>
                  </a:cubicBezTo>
                  <a:cubicBezTo>
                    <a:pt x="14521" y="6860"/>
                    <a:pt x="14606" y="6807"/>
                    <a:pt x="14679" y="6813"/>
                  </a:cubicBezTo>
                  <a:cubicBezTo>
                    <a:pt x="14982" y="6833"/>
                    <a:pt x="14696" y="8105"/>
                    <a:pt x="14460" y="8995"/>
                  </a:cubicBezTo>
                  <a:cubicBezTo>
                    <a:pt x="14225" y="9884"/>
                    <a:pt x="13904" y="9888"/>
                    <a:pt x="13872" y="10117"/>
                  </a:cubicBezTo>
                  <a:cubicBezTo>
                    <a:pt x="13761" y="10901"/>
                    <a:pt x="13490" y="11361"/>
                    <a:pt x="13347" y="11576"/>
                  </a:cubicBezTo>
                  <a:cubicBezTo>
                    <a:pt x="13347" y="11576"/>
                    <a:pt x="13436" y="12775"/>
                    <a:pt x="13704" y="13449"/>
                  </a:cubicBezTo>
                  <a:cubicBezTo>
                    <a:pt x="13812" y="13730"/>
                    <a:pt x="13931" y="13430"/>
                    <a:pt x="14102" y="13742"/>
                  </a:cubicBezTo>
                  <a:cubicBezTo>
                    <a:pt x="14018" y="13588"/>
                    <a:pt x="14272" y="14339"/>
                    <a:pt x="15405" y="14858"/>
                  </a:cubicBezTo>
                  <a:cubicBezTo>
                    <a:pt x="17512" y="15825"/>
                    <a:pt x="18500" y="16226"/>
                    <a:pt x="19415" y="1664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6" name="Shape 34261">
              <a:extLst>
                <a:ext uri="{FF2B5EF4-FFF2-40B4-BE49-F238E27FC236}">
                  <a16:creationId xmlns:a16="http://schemas.microsoft.com/office/drawing/2014/main" xmlns="" id="{912933CC-27C2-4B51-874E-D3804FF6D4AE}"/>
                </a:ext>
              </a:extLst>
            </p:cNvPr>
            <p:cNvSpPr/>
            <p:nvPr/>
          </p:nvSpPr>
          <p:spPr>
            <a:xfrm>
              <a:off x="12725585" y="12289966"/>
              <a:ext cx="373054" cy="303140"/>
            </a:xfrm>
            <a:custGeom>
              <a:avLst/>
              <a:gdLst/>
              <a:ahLst/>
              <a:cxnLst>
                <a:cxn ang="0">
                  <a:pos x="wd2" y="hd2"/>
                </a:cxn>
                <a:cxn ang="5400000">
                  <a:pos x="wd2" y="hd2"/>
                </a:cxn>
                <a:cxn ang="10800000">
                  <a:pos x="wd2" y="hd2"/>
                </a:cxn>
                <a:cxn ang="16200000">
                  <a:pos x="wd2" y="hd2"/>
                </a:cxn>
              </a:cxnLst>
              <a:rect l="0" t="0" r="r" b="b"/>
              <a:pathLst>
                <a:path w="21600" h="21600" extrusionOk="0">
                  <a:moveTo>
                    <a:pt x="21600" y="2559"/>
                  </a:moveTo>
                  <a:cubicBezTo>
                    <a:pt x="20805" y="2994"/>
                    <a:pt x="19949" y="3285"/>
                    <a:pt x="19055" y="3417"/>
                  </a:cubicBezTo>
                  <a:cubicBezTo>
                    <a:pt x="19968" y="2742"/>
                    <a:pt x="20672" y="1676"/>
                    <a:pt x="21003" y="401"/>
                  </a:cubicBezTo>
                  <a:cubicBezTo>
                    <a:pt x="20147" y="1026"/>
                    <a:pt x="19198" y="1478"/>
                    <a:pt x="18187" y="1722"/>
                  </a:cubicBezTo>
                  <a:cubicBezTo>
                    <a:pt x="17379" y="665"/>
                    <a:pt x="16228" y="0"/>
                    <a:pt x="14953" y="0"/>
                  </a:cubicBezTo>
                  <a:cubicBezTo>
                    <a:pt x="12506" y="0"/>
                    <a:pt x="10524" y="2441"/>
                    <a:pt x="10524" y="5454"/>
                  </a:cubicBezTo>
                  <a:cubicBezTo>
                    <a:pt x="10524" y="5881"/>
                    <a:pt x="10561" y="6298"/>
                    <a:pt x="10637" y="6694"/>
                  </a:cubicBezTo>
                  <a:cubicBezTo>
                    <a:pt x="6954" y="6468"/>
                    <a:pt x="3689" y="4296"/>
                    <a:pt x="1504" y="998"/>
                  </a:cubicBezTo>
                  <a:cubicBezTo>
                    <a:pt x="1122" y="1806"/>
                    <a:pt x="903" y="2742"/>
                    <a:pt x="903" y="3739"/>
                  </a:cubicBezTo>
                  <a:cubicBezTo>
                    <a:pt x="903" y="5631"/>
                    <a:pt x="1686" y="7302"/>
                    <a:pt x="2875" y="8279"/>
                  </a:cubicBezTo>
                  <a:cubicBezTo>
                    <a:pt x="2149" y="8248"/>
                    <a:pt x="1466" y="8005"/>
                    <a:pt x="868" y="7599"/>
                  </a:cubicBezTo>
                  <a:cubicBezTo>
                    <a:pt x="868" y="7618"/>
                    <a:pt x="868" y="7641"/>
                    <a:pt x="868" y="7666"/>
                  </a:cubicBezTo>
                  <a:cubicBezTo>
                    <a:pt x="868" y="10307"/>
                    <a:pt x="2395" y="12512"/>
                    <a:pt x="4423" y="13011"/>
                  </a:cubicBezTo>
                  <a:cubicBezTo>
                    <a:pt x="4051" y="13134"/>
                    <a:pt x="3658" y="13201"/>
                    <a:pt x="3255" y="13201"/>
                  </a:cubicBezTo>
                  <a:cubicBezTo>
                    <a:pt x="2970" y="13201"/>
                    <a:pt x="2691" y="13168"/>
                    <a:pt x="2420" y="13106"/>
                  </a:cubicBezTo>
                  <a:cubicBezTo>
                    <a:pt x="2983" y="15270"/>
                    <a:pt x="4621" y="16846"/>
                    <a:pt x="6561" y="16890"/>
                  </a:cubicBezTo>
                  <a:cubicBezTo>
                    <a:pt x="5042" y="18353"/>
                    <a:pt x="3134" y="19225"/>
                    <a:pt x="1056" y="19225"/>
                  </a:cubicBezTo>
                  <a:cubicBezTo>
                    <a:pt x="700" y="19225"/>
                    <a:pt x="347" y="19197"/>
                    <a:pt x="0" y="19149"/>
                  </a:cubicBezTo>
                  <a:cubicBezTo>
                    <a:pt x="1963" y="20695"/>
                    <a:pt x="4290" y="21600"/>
                    <a:pt x="6791" y="21600"/>
                  </a:cubicBezTo>
                  <a:cubicBezTo>
                    <a:pt x="14943" y="21600"/>
                    <a:pt x="19401" y="13291"/>
                    <a:pt x="19401" y="6084"/>
                  </a:cubicBezTo>
                  <a:cubicBezTo>
                    <a:pt x="19401" y="5851"/>
                    <a:pt x="19396" y="5613"/>
                    <a:pt x="19388" y="5380"/>
                  </a:cubicBezTo>
                  <a:cubicBezTo>
                    <a:pt x="20253" y="4614"/>
                    <a:pt x="21005" y="3652"/>
                    <a:pt x="21600" y="2559"/>
                  </a:cubicBezTo>
                  <a:cubicBezTo>
                    <a:pt x="21600" y="2559"/>
                    <a:pt x="21600" y="2559"/>
                    <a:pt x="21600" y="25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7" name="Shape 34262">
              <a:extLst>
                <a:ext uri="{FF2B5EF4-FFF2-40B4-BE49-F238E27FC236}">
                  <a16:creationId xmlns:a16="http://schemas.microsoft.com/office/drawing/2014/main" xmlns="" id="{14D4C5C7-F4E4-44A8-AB24-079AFBA94675}"/>
                </a:ext>
              </a:extLst>
            </p:cNvPr>
            <p:cNvSpPr/>
            <p:nvPr/>
          </p:nvSpPr>
          <p:spPr>
            <a:xfrm>
              <a:off x="13639147" y="5652275"/>
              <a:ext cx="728794" cy="541076"/>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8" name="Shape 34263">
              <a:extLst>
                <a:ext uri="{FF2B5EF4-FFF2-40B4-BE49-F238E27FC236}">
                  <a16:creationId xmlns:a16="http://schemas.microsoft.com/office/drawing/2014/main" xmlns="" id="{1F02E9CA-8BC6-4213-9783-FAF7B2A8338C}"/>
                </a:ext>
              </a:extLst>
            </p:cNvPr>
            <p:cNvSpPr/>
            <p:nvPr/>
          </p:nvSpPr>
          <p:spPr>
            <a:xfrm>
              <a:off x="14075163" y="6302567"/>
              <a:ext cx="163854" cy="351178"/>
            </a:xfrm>
            <a:custGeom>
              <a:avLst/>
              <a:gdLst/>
              <a:ahLst/>
              <a:cxnLst>
                <a:cxn ang="0">
                  <a:pos x="wd2" y="hd2"/>
                </a:cxn>
                <a:cxn ang="5400000">
                  <a:pos x="wd2" y="hd2"/>
                </a:cxn>
                <a:cxn ang="10800000">
                  <a:pos x="wd2" y="hd2"/>
                </a:cxn>
                <a:cxn ang="16200000">
                  <a:pos x="wd2" y="hd2"/>
                </a:cxn>
              </a:cxnLst>
              <a:rect l="0" t="0" r="r" b="b"/>
              <a:pathLst>
                <a:path w="21600" h="21600" extrusionOk="0">
                  <a:moveTo>
                    <a:pt x="14362" y="21600"/>
                  </a:moveTo>
                  <a:lnTo>
                    <a:pt x="4786" y="21600"/>
                  </a:lnTo>
                  <a:lnTo>
                    <a:pt x="4786" y="10800"/>
                  </a:lnTo>
                  <a:lnTo>
                    <a:pt x="0" y="10800"/>
                  </a:lnTo>
                  <a:lnTo>
                    <a:pt x="0" y="7077"/>
                  </a:lnTo>
                  <a:lnTo>
                    <a:pt x="4786" y="7077"/>
                  </a:lnTo>
                  <a:lnTo>
                    <a:pt x="4786" y="4842"/>
                  </a:lnTo>
                  <a:cubicBezTo>
                    <a:pt x="4786" y="1806"/>
                    <a:pt x="7489" y="0"/>
                    <a:pt x="15162" y="0"/>
                  </a:cubicBezTo>
                  <a:lnTo>
                    <a:pt x="21552" y="0"/>
                  </a:lnTo>
                  <a:lnTo>
                    <a:pt x="21552" y="3723"/>
                  </a:lnTo>
                  <a:lnTo>
                    <a:pt x="17560" y="3723"/>
                  </a:lnTo>
                  <a:cubicBezTo>
                    <a:pt x="14572" y="3723"/>
                    <a:pt x="14372" y="4243"/>
                    <a:pt x="14372" y="5214"/>
                  </a:cubicBezTo>
                  <a:lnTo>
                    <a:pt x="14362" y="7077"/>
                  </a:lnTo>
                  <a:lnTo>
                    <a:pt x="21600" y="7077"/>
                  </a:lnTo>
                  <a:lnTo>
                    <a:pt x="20752" y="10800"/>
                  </a:lnTo>
                  <a:lnTo>
                    <a:pt x="14362" y="10800"/>
                  </a:lnTo>
                  <a:cubicBezTo>
                    <a:pt x="14362" y="10800"/>
                    <a:pt x="14362" y="21600"/>
                    <a:pt x="14362"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39" name="Shape 34264">
              <a:extLst>
                <a:ext uri="{FF2B5EF4-FFF2-40B4-BE49-F238E27FC236}">
                  <a16:creationId xmlns:a16="http://schemas.microsoft.com/office/drawing/2014/main" xmlns="" id="{54357A8D-D14A-4BAC-B083-707FDFA5368E}"/>
                </a:ext>
              </a:extLst>
            </p:cNvPr>
            <p:cNvSpPr/>
            <p:nvPr/>
          </p:nvSpPr>
          <p:spPr>
            <a:xfrm>
              <a:off x="11378351" y="9431234"/>
              <a:ext cx="527920" cy="391942"/>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40" name="Shape 34265">
              <a:extLst>
                <a:ext uri="{FF2B5EF4-FFF2-40B4-BE49-F238E27FC236}">
                  <a16:creationId xmlns:a16="http://schemas.microsoft.com/office/drawing/2014/main" xmlns="" id="{0D3A8C20-B333-4DBD-B7B6-26255B28FC82}"/>
                </a:ext>
              </a:extLst>
            </p:cNvPr>
            <p:cNvSpPr/>
            <p:nvPr/>
          </p:nvSpPr>
          <p:spPr>
            <a:xfrm>
              <a:off x="13182794" y="4769147"/>
              <a:ext cx="316260" cy="234800"/>
            </a:xfrm>
            <a:custGeom>
              <a:avLst/>
              <a:gdLst/>
              <a:ahLst/>
              <a:cxnLst>
                <a:cxn ang="0">
                  <a:pos x="wd2" y="hd2"/>
                </a:cxn>
                <a:cxn ang="5400000">
                  <a:pos x="wd2" y="hd2"/>
                </a:cxn>
                <a:cxn ang="10800000">
                  <a:pos x="wd2" y="hd2"/>
                </a:cxn>
                <a:cxn ang="16200000">
                  <a:pos x="wd2" y="hd2"/>
                </a:cxn>
              </a:cxnLst>
              <a:rect l="0" t="0" r="r" b="b"/>
              <a:pathLst>
                <a:path w="21600" h="21600" extrusionOk="0">
                  <a:moveTo>
                    <a:pt x="20085" y="8532"/>
                  </a:moveTo>
                  <a:lnTo>
                    <a:pt x="17798" y="8532"/>
                  </a:lnTo>
                  <a:lnTo>
                    <a:pt x="17798" y="12676"/>
                  </a:lnTo>
                  <a:cubicBezTo>
                    <a:pt x="17798" y="14711"/>
                    <a:pt x="16603" y="16373"/>
                    <a:pt x="15079" y="16373"/>
                  </a:cubicBezTo>
                  <a:lnTo>
                    <a:pt x="9158" y="16373"/>
                  </a:lnTo>
                  <a:lnTo>
                    <a:pt x="9158" y="17810"/>
                  </a:lnTo>
                  <a:cubicBezTo>
                    <a:pt x="9158" y="18927"/>
                    <a:pt x="9837" y="19832"/>
                    <a:pt x="10673" y="19832"/>
                  </a:cubicBezTo>
                  <a:lnTo>
                    <a:pt x="16728" y="19832"/>
                  </a:lnTo>
                  <a:lnTo>
                    <a:pt x="19181" y="21600"/>
                  </a:lnTo>
                  <a:lnTo>
                    <a:pt x="19181" y="19832"/>
                  </a:lnTo>
                  <a:lnTo>
                    <a:pt x="20085" y="19832"/>
                  </a:lnTo>
                  <a:cubicBezTo>
                    <a:pt x="20922" y="19832"/>
                    <a:pt x="21600" y="18927"/>
                    <a:pt x="21600" y="17810"/>
                  </a:cubicBezTo>
                  <a:lnTo>
                    <a:pt x="21600" y="10554"/>
                  </a:lnTo>
                  <a:cubicBezTo>
                    <a:pt x="21600" y="9438"/>
                    <a:pt x="20922" y="8532"/>
                    <a:pt x="20085" y="8532"/>
                  </a:cubicBezTo>
                  <a:close/>
                  <a:moveTo>
                    <a:pt x="6912" y="15450"/>
                  </a:moveTo>
                  <a:lnTo>
                    <a:pt x="6689" y="15450"/>
                  </a:lnTo>
                  <a:lnTo>
                    <a:pt x="2592" y="18372"/>
                  </a:lnTo>
                  <a:lnTo>
                    <a:pt x="2592" y="15450"/>
                  </a:lnTo>
                  <a:lnTo>
                    <a:pt x="2074" y="15450"/>
                  </a:lnTo>
                  <a:cubicBezTo>
                    <a:pt x="928" y="15450"/>
                    <a:pt x="0" y="14211"/>
                    <a:pt x="0" y="12683"/>
                  </a:cubicBezTo>
                  <a:lnTo>
                    <a:pt x="0" y="2767"/>
                  </a:lnTo>
                  <a:cubicBezTo>
                    <a:pt x="0" y="1239"/>
                    <a:pt x="928" y="0"/>
                    <a:pt x="2074" y="0"/>
                  </a:cubicBezTo>
                  <a:lnTo>
                    <a:pt x="15034" y="0"/>
                  </a:lnTo>
                  <a:cubicBezTo>
                    <a:pt x="16179" y="0"/>
                    <a:pt x="17107" y="1239"/>
                    <a:pt x="17107" y="2767"/>
                  </a:cubicBezTo>
                  <a:lnTo>
                    <a:pt x="17107" y="4381"/>
                  </a:lnTo>
                  <a:lnTo>
                    <a:pt x="17107" y="8532"/>
                  </a:lnTo>
                  <a:lnTo>
                    <a:pt x="17107" y="12676"/>
                  </a:lnTo>
                  <a:cubicBezTo>
                    <a:pt x="17107" y="14205"/>
                    <a:pt x="16224" y="15450"/>
                    <a:pt x="15079" y="15450"/>
                  </a:cubicBezTo>
                  <a:lnTo>
                    <a:pt x="9158" y="15450"/>
                  </a:lnTo>
                  <a:cubicBezTo>
                    <a:pt x="9158" y="15450"/>
                    <a:pt x="6912" y="15450"/>
                    <a:pt x="6912" y="154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grpSp>
      <p:sp>
        <p:nvSpPr>
          <p:cNvPr id="143" name="TextBox 148">
            <a:extLst>
              <a:ext uri="{FF2B5EF4-FFF2-40B4-BE49-F238E27FC236}">
                <a16:creationId xmlns:a16="http://schemas.microsoft.com/office/drawing/2014/main" xmlns="" id="{E31DFFAC-518D-4068-B4FB-C78225080BE0}"/>
              </a:ext>
            </a:extLst>
          </p:cNvPr>
          <p:cNvSpPr txBox="1"/>
          <p:nvPr/>
        </p:nvSpPr>
        <p:spPr>
          <a:xfrm>
            <a:off x="710483" y="2091080"/>
            <a:ext cx="1576329" cy="461665"/>
          </a:xfrm>
          <a:prstGeom prst="rect">
            <a:avLst/>
          </a:prstGeom>
          <a:noFill/>
        </p:spPr>
        <p:txBody>
          <a:bodyPr wrap="none" rtlCol="0" anchor="ctr" anchorCtr="0">
            <a:spAutoFit/>
          </a:bodyPr>
          <a:lstStyle/>
          <a:p>
            <a:r>
              <a:rPr lang="en-GB" sz="2400" b="1" dirty="0">
                <a:solidFill>
                  <a:schemeClr val="tx2"/>
                </a:solidFill>
                <a:latin typeface="+mj-lt"/>
                <a:ea typeface="League Spartan" charset="0"/>
                <a:cs typeface="Poppins" pitchFamily="2" charset="77"/>
              </a:rPr>
              <a:t>Perspective</a:t>
            </a:r>
          </a:p>
        </p:txBody>
      </p:sp>
      <p:sp>
        <p:nvSpPr>
          <p:cNvPr id="144" name="Subtitle 2">
            <a:extLst>
              <a:ext uri="{FF2B5EF4-FFF2-40B4-BE49-F238E27FC236}">
                <a16:creationId xmlns:a16="http://schemas.microsoft.com/office/drawing/2014/main" xmlns="" id="{915E1B78-D62A-471D-90B4-134EBA8DA9EB}"/>
              </a:ext>
            </a:extLst>
          </p:cNvPr>
          <p:cNvSpPr txBox="1">
            <a:spLocks/>
          </p:cNvSpPr>
          <p:nvPr/>
        </p:nvSpPr>
        <p:spPr>
          <a:xfrm>
            <a:off x="765357" y="2461622"/>
            <a:ext cx="3416098" cy="138885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245473"/>
                </a:solidFill>
                <a:latin typeface="+mj-lt"/>
                <a:ea typeface="Lato Light" panose="020F0502020204030203" pitchFamily="34" charset="0"/>
                <a:cs typeface="Mukta ExtraLight" panose="020B0000000000000000" pitchFamily="34" charset="77"/>
              </a:rPr>
              <a:t>How we see ourselves is not always how others see us…and in the workplace their views matter more</a:t>
            </a:r>
          </a:p>
        </p:txBody>
      </p:sp>
      <p:sp>
        <p:nvSpPr>
          <p:cNvPr id="145" name="TextBox 150">
            <a:extLst>
              <a:ext uri="{FF2B5EF4-FFF2-40B4-BE49-F238E27FC236}">
                <a16:creationId xmlns:a16="http://schemas.microsoft.com/office/drawing/2014/main" xmlns="" id="{836F1740-CA1C-4B75-9AF5-0A303846F46E}"/>
              </a:ext>
            </a:extLst>
          </p:cNvPr>
          <p:cNvSpPr txBox="1"/>
          <p:nvPr/>
        </p:nvSpPr>
        <p:spPr>
          <a:xfrm>
            <a:off x="765356" y="4197338"/>
            <a:ext cx="1221681" cy="461665"/>
          </a:xfrm>
          <a:prstGeom prst="rect">
            <a:avLst/>
          </a:prstGeom>
          <a:noFill/>
        </p:spPr>
        <p:txBody>
          <a:bodyPr wrap="none" rtlCol="0" anchor="ctr" anchorCtr="0">
            <a:spAutoFit/>
          </a:bodyPr>
          <a:lstStyle/>
          <a:p>
            <a:r>
              <a:rPr lang="en-GB" sz="2400" b="1" dirty="0">
                <a:solidFill>
                  <a:srgbClr val="F95C2C"/>
                </a:solidFill>
                <a:latin typeface="+mj-lt"/>
                <a:ea typeface="League Spartan" charset="0"/>
                <a:cs typeface="Poppins" pitchFamily="2" charset="77"/>
              </a:rPr>
              <a:t>Patience</a:t>
            </a:r>
          </a:p>
        </p:txBody>
      </p:sp>
      <p:sp>
        <p:nvSpPr>
          <p:cNvPr id="146" name="Subtitle 2">
            <a:extLst>
              <a:ext uri="{FF2B5EF4-FFF2-40B4-BE49-F238E27FC236}">
                <a16:creationId xmlns:a16="http://schemas.microsoft.com/office/drawing/2014/main" xmlns="" id="{5874D5A6-1E7E-4516-AFFD-DAD6A92265AA}"/>
              </a:ext>
            </a:extLst>
          </p:cNvPr>
          <p:cNvSpPr txBox="1">
            <a:spLocks/>
          </p:cNvSpPr>
          <p:nvPr/>
        </p:nvSpPr>
        <p:spPr>
          <a:xfrm>
            <a:off x="765356" y="4723874"/>
            <a:ext cx="3125433" cy="71174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245473"/>
                </a:solidFill>
                <a:latin typeface="+mj-lt"/>
                <a:ea typeface="Lato Light" panose="020F0502020204030203" pitchFamily="34" charset="0"/>
                <a:cs typeface="Mukta ExtraLight" panose="020B0000000000000000" pitchFamily="34" charset="77"/>
              </a:rPr>
              <a:t>Temper your ambition with patience</a:t>
            </a:r>
          </a:p>
        </p:txBody>
      </p:sp>
      <p:sp>
        <p:nvSpPr>
          <p:cNvPr id="149" name="TextBox 157">
            <a:extLst>
              <a:ext uri="{FF2B5EF4-FFF2-40B4-BE49-F238E27FC236}">
                <a16:creationId xmlns:a16="http://schemas.microsoft.com/office/drawing/2014/main" xmlns="" id="{254F7006-1D16-4BB7-A949-44A2DE62F762}"/>
              </a:ext>
            </a:extLst>
          </p:cNvPr>
          <p:cNvSpPr txBox="1"/>
          <p:nvPr/>
        </p:nvSpPr>
        <p:spPr>
          <a:xfrm>
            <a:off x="7820514" y="2174436"/>
            <a:ext cx="2185855" cy="400110"/>
          </a:xfrm>
          <a:prstGeom prst="rect">
            <a:avLst/>
          </a:prstGeom>
          <a:noFill/>
        </p:spPr>
        <p:txBody>
          <a:bodyPr wrap="none" rtlCol="0" anchor="ctr" anchorCtr="0">
            <a:spAutoFit/>
          </a:bodyPr>
          <a:lstStyle/>
          <a:p>
            <a:r>
              <a:rPr lang="en-GB" sz="2000" b="1" dirty="0">
                <a:solidFill>
                  <a:srgbClr val="E53292"/>
                </a:solidFill>
                <a:latin typeface="+mj-lt"/>
                <a:ea typeface="League Spartan" charset="0"/>
                <a:cs typeface="Poppins" pitchFamily="2" charset="77"/>
              </a:rPr>
              <a:t>Honesty to yourself</a:t>
            </a:r>
          </a:p>
        </p:txBody>
      </p:sp>
      <p:sp>
        <p:nvSpPr>
          <p:cNvPr id="150" name="Subtitle 2">
            <a:extLst>
              <a:ext uri="{FF2B5EF4-FFF2-40B4-BE49-F238E27FC236}">
                <a16:creationId xmlns:a16="http://schemas.microsoft.com/office/drawing/2014/main" xmlns="" id="{C183361F-72F7-43FF-99C6-6FCA6B6A45F8}"/>
              </a:ext>
            </a:extLst>
          </p:cNvPr>
          <p:cNvSpPr txBox="1">
            <a:spLocks/>
          </p:cNvSpPr>
          <p:nvPr/>
        </p:nvSpPr>
        <p:spPr>
          <a:xfrm>
            <a:off x="7940151" y="2573853"/>
            <a:ext cx="3895607" cy="105029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245473"/>
                </a:solidFill>
                <a:latin typeface="+mj-lt"/>
                <a:ea typeface="Lato Light" panose="020F0502020204030203" pitchFamily="34" charset="0"/>
                <a:cs typeface="Mukta ExtraLight" panose="020B0000000000000000" pitchFamily="34" charset="77"/>
              </a:rPr>
              <a:t>Be brutally honest with yourself about what you’re great at, and what you need to work on</a:t>
            </a:r>
          </a:p>
        </p:txBody>
      </p:sp>
      <p:sp>
        <p:nvSpPr>
          <p:cNvPr id="151" name="TextBox 159">
            <a:extLst>
              <a:ext uri="{FF2B5EF4-FFF2-40B4-BE49-F238E27FC236}">
                <a16:creationId xmlns:a16="http://schemas.microsoft.com/office/drawing/2014/main" xmlns="" id="{1F5DCDC1-9F8B-4299-B907-9A69B0EBC7C2}"/>
              </a:ext>
            </a:extLst>
          </p:cNvPr>
          <p:cNvSpPr txBox="1"/>
          <p:nvPr/>
        </p:nvSpPr>
        <p:spPr>
          <a:xfrm>
            <a:off x="7940151" y="4405584"/>
            <a:ext cx="1296958" cy="400110"/>
          </a:xfrm>
          <a:prstGeom prst="rect">
            <a:avLst/>
          </a:prstGeom>
          <a:noFill/>
        </p:spPr>
        <p:txBody>
          <a:bodyPr wrap="none" rtlCol="0" anchor="ctr" anchorCtr="0">
            <a:spAutoFit/>
          </a:bodyPr>
          <a:lstStyle/>
          <a:p>
            <a:r>
              <a:rPr lang="en-GB" sz="2000" b="1" dirty="0">
                <a:solidFill>
                  <a:srgbClr val="0070C0"/>
                </a:solidFill>
                <a:latin typeface="+mj-lt"/>
                <a:ea typeface="League Spartan" charset="0"/>
                <a:cs typeface="Poppins" pitchFamily="2" charset="77"/>
              </a:rPr>
              <a:t>Ownership</a:t>
            </a:r>
          </a:p>
        </p:txBody>
      </p:sp>
      <p:sp>
        <p:nvSpPr>
          <p:cNvPr id="152" name="Subtitle 2">
            <a:extLst>
              <a:ext uri="{FF2B5EF4-FFF2-40B4-BE49-F238E27FC236}">
                <a16:creationId xmlns:a16="http://schemas.microsoft.com/office/drawing/2014/main" xmlns="" id="{E7A4153E-4D6C-49AD-B687-830A977A936F}"/>
              </a:ext>
            </a:extLst>
          </p:cNvPr>
          <p:cNvSpPr txBox="1">
            <a:spLocks/>
          </p:cNvSpPr>
          <p:nvPr/>
        </p:nvSpPr>
        <p:spPr>
          <a:xfrm>
            <a:off x="8013681" y="4831832"/>
            <a:ext cx="3722292" cy="71174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rgbClr val="245473"/>
                </a:solidFill>
                <a:latin typeface="+mj-lt"/>
                <a:ea typeface="Lato Light" panose="020F0502020204030203" pitchFamily="34" charset="0"/>
                <a:cs typeface="Mukta ExtraLight" panose="020B0000000000000000" pitchFamily="34" charset="77"/>
              </a:rPr>
              <a:t>Take responsibility for your own growth &amp; learning</a:t>
            </a:r>
          </a:p>
        </p:txBody>
      </p:sp>
    </p:spTree>
    <p:extLst>
      <p:ext uri="{BB962C8B-B14F-4D97-AF65-F5344CB8AC3E}">
        <p14:creationId xmlns:p14="http://schemas.microsoft.com/office/powerpoint/2010/main" val="16201689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11191" y="539989"/>
            <a:ext cx="8852375" cy="697353"/>
          </a:xfrm>
        </p:spPr>
        <p:txBody>
          <a:bodyPr>
            <a:normAutofit fontScale="92500"/>
          </a:bodyPr>
          <a:lstStyle/>
          <a:p>
            <a:r>
              <a:rPr lang="en-GB" altLang="de-DE" dirty="0"/>
              <a:t>Creating a Culture for the Future: A Leader</a:t>
            </a:r>
            <a:r>
              <a:rPr lang="en-GB" altLang="en-US" dirty="0"/>
              <a:t>’</a:t>
            </a:r>
            <a:r>
              <a:rPr lang="en-GB" altLang="de-DE" dirty="0"/>
              <a:t>s Role</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91453" y="2200934"/>
            <a:ext cx="2810071" cy="476827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How does one shape an organizational culture?</a:t>
            </a:r>
          </a:p>
          <a:p>
            <a:pPr algn="l">
              <a:lnSpc>
                <a:spcPct val="100000"/>
              </a:lnSpc>
              <a:spcBef>
                <a:spcPts val="600"/>
              </a:spcBef>
            </a:pPr>
            <a:r>
              <a:rPr lang="en-GB" altLang="de-DE" sz="2200" dirty="0">
                <a:solidFill>
                  <a:srgbClr val="245473"/>
                </a:solidFill>
                <a:latin typeface="+mj-lt"/>
              </a:rPr>
              <a:t>Through six “embedding mechanisms” according to </a:t>
            </a:r>
          </a:p>
          <a:p>
            <a:pPr algn="l">
              <a:lnSpc>
                <a:spcPct val="100000"/>
              </a:lnSpc>
              <a:spcBef>
                <a:spcPts val="600"/>
              </a:spcBef>
            </a:pPr>
            <a:r>
              <a:rPr lang="en-GB" altLang="de-DE" sz="2200" dirty="0" err="1">
                <a:solidFill>
                  <a:srgbClr val="245473"/>
                </a:solidFill>
                <a:latin typeface="+mj-lt"/>
              </a:rPr>
              <a:t>Dr.</a:t>
            </a:r>
            <a:r>
              <a:rPr lang="en-GB" altLang="de-DE" sz="2200" dirty="0">
                <a:solidFill>
                  <a:srgbClr val="245473"/>
                </a:solidFill>
                <a:latin typeface="+mj-lt"/>
              </a:rPr>
              <a:t> Schein, a former professor at the MIT Sloan School of Management</a:t>
            </a:r>
          </a:p>
          <a:p>
            <a:pPr marL="285750" indent="-285750" algn="l">
              <a:lnSpc>
                <a:spcPts val="1500"/>
              </a:lnSpc>
              <a:spcBef>
                <a:spcPts val="600"/>
              </a:spcBef>
              <a:buFont typeface="Wingdings" panose="05000000000000000000" pitchFamily="2" charset="2"/>
              <a:buChar char="à"/>
            </a:pPr>
            <a:endParaRPr lang="en-GB" altLang="de-DE" sz="1400" dirty="0">
              <a:latin typeface="+mj-lt"/>
            </a:endParaRPr>
          </a:p>
          <a:p>
            <a:pPr algn="l">
              <a:lnSpc>
                <a:spcPts val="1500"/>
              </a:lnSpc>
              <a:spcBef>
                <a:spcPts val="600"/>
              </a:spcBef>
            </a:pPr>
            <a:endParaRPr lang="en-GB" altLang="de-DE" sz="1400" dirty="0">
              <a:latin typeface="+mj-lt"/>
            </a:endParaRPr>
          </a:p>
          <a:p>
            <a:pPr algn="l">
              <a:lnSpc>
                <a:spcPts val="1500"/>
              </a:lnSpc>
              <a:spcBef>
                <a:spcPts val="600"/>
              </a:spcBef>
            </a:pPr>
            <a:endParaRPr lang="en-GB" sz="1400" dirty="0">
              <a:latin typeface="+mj-lt"/>
              <a:sym typeface="Wingdings" panose="05000000000000000000" pitchFamily="2" charset="2"/>
            </a:endParaRPr>
          </a:p>
        </p:txBody>
      </p:sp>
      <p:sp>
        <p:nvSpPr>
          <p:cNvPr id="38" name="TextBox 10">
            <a:extLst>
              <a:ext uri="{FF2B5EF4-FFF2-40B4-BE49-F238E27FC236}">
                <a16:creationId xmlns:a16="http://schemas.microsoft.com/office/drawing/2014/main" xmlns="" id="{3A5CE3FB-C24C-4714-80AD-4C77E96268EA}"/>
              </a:ext>
            </a:extLst>
          </p:cNvPr>
          <p:cNvSpPr txBox="1"/>
          <p:nvPr/>
        </p:nvSpPr>
        <p:spPr>
          <a:xfrm>
            <a:off x="3753396" y="5607747"/>
            <a:ext cx="317716" cy="756233"/>
          </a:xfrm>
          <a:prstGeom prst="rect">
            <a:avLst/>
          </a:prstGeom>
          <a:noFill/>
        </p:spPr>
        <p:txBody>
          <a:bodyPr wrap="none" rtlCol="0" anchor="ctr">
            <a:spAutoFit/>
          </a:bodyPr>
          <a:lstStyle/>
          <a:p>
            <a:pPr algn="ctr"/>
            <a:r>
              <a:rPr lang="en-GB" sz="4314" b="1">
                <a:solidFill>
                  <a:schemeClr val="bg1"/>
                </a:solidFill>
                <a:latin typeface="+mj-lt"/>
                <a:cs typeface="Poppins" pitchFamily="2" charset="77"/>
              </a:rPr>
              <a:t>I</a:t>
            </a:r>
            <a:endParaRPr lang="en-GB" sz="4314" b="1" dirty="0">
              <a:solidFill>
                <a:schemeClr val="bg1"/>
              </a:solidFill>
              <a:latin typeface="+mj-lt"/>
              <a:cs typeface="Poppins" pitchFamily="2" charset="77"/>
            </a:endParaRPr>
          </a:p>
        </p:txBody>
      </p:sp>
      <p:sp>
        <p:nvSpPr>
          <p:cNvPr id="153" name="Line">
            <a:extLst>
              <a:ext uri="{FF2B5EF4-FFF2-40B4-BE49-F238E27FC236}">
                <a16:creationId xmlns:a16="http://schemas.microsoft.com/office/drawing/2014/main" xmlns="" id="{A84B9ED4-882B-4B9A-85AD-0BC2E8FA5575}"/>
              </a:ext>
            </a:extLst>
          </p:cNvPr>
          <p:cNvSpPr/>
          <p:nvPr/>
        </p:nvSpPr>
        <p:spPr>
          <a:xfrm flipH="1">
            <a:off x="8092171" y="2502757"/>
            <a:ext cx="637228" cy="270648"/>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13550" y="0"/>
                </a:lnTo>
                <a:lnTo>
                  <a:pt x="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54" name="Line">
            <a:extLst>
              <a:ext uri="{FF2B5EF4-FFF2-40B4-BE49-F238E27FC236}">
                <a16:creationId xmlns:a16="http://schemas.microsoft.com/office/drawing/2014/main" xmlns="" id="{72CAECF6-24DD-493C-9848-2CE2FF81A52C}"/>
              </a:ext>
            </a:extLst>
          </p:cNvPr>
          <p:cNvSpPr/>
          <p:nvPr/>
        </p:nvSpPr>
        <p:spPr>
          <a:xfrm flipH="1">
            <a:off x="8148455" y="5281720"/>
            <a:ext cx="580944" cy="9079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8673" y="2160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55" name="Line">
            <a:extLst>
              <a:ext uri="{FF2B5EF4-FFF2-40B4-BE49-F238E27FC236}">
                <a16:creationId xmlns:a16="http://schemas.microsoft.com/office/drawing/2014/main" xmlns="" id="{8CC37A5E-66F3-4253-800E-E040D9500F67}"/>
              </a:ext>
            </a:extLst>
          </p:cNvPr>
          <p:cNvSpPr/>
          <p:nvPr/>
        </p:nvSpPr>
        <p:spPr>
          <a:xfrm flipH="1">
            <a:off x="8433087" y="3815652"/>
            <a:ext cx="296312" cy="10767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5027" y="0"/>
                </a:lnTo>
                <a:lnTo>
                  <a:pt x="2160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56" name="Line">
            <a:extLst>
              <a:ext uri="{FF2B5EF4-FFF2-40B4-BE49-F238E27FC236}">
                <a16:creationId xmlns:a16="http://schemas.microsoft.com/office/drawing/2014/main" xmlns="" id="{A7799C21-B240-490C-9268-0ACEF687B8D8}"/>
              </a:ext>
            </a:extLst>
          </p:cNvPr>
          <p:cNvSpPr/>
          <p:nvPr/>
        </p:nvSpPr>
        <p:spPr>
          <a:xfrm flipH="1">
            <a:off x="5864564" y="2460036"/>
            <a:ext cx="702172" cy="12374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3806" y="0"/>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57" name="Line">
            <a:extLst>
              <a:ext uri="{FF2B5EF4-FFF2-40B4-BE49-F238E27FC236}">
                <a16:creationId xmlns:a16="http://schemas.microsoft.com/office/drawing/2014/main" xmlns="" id="{4D392D44-AFC4-4150-8DD8-3A67499B8A81}"/>
              </a:ext>
            </a:extLst>
          </p:cNvPr>
          <p:cNvSpPr/>
          <p:nvPr/>
        </p:nvSpPr>
        <p:spPr>
          <a:xfrm flipH="1">
            <a:off x="5864565" y="3854516"/>
            <a:ext cx="145629" cy="0"/>
          </a:xfrm>
          <a:prstGeom prst="line">
            <a:avLst/>
          </a:pr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59" name="Line">
            <a:extLst>
              <a:ext uri="{FF2B5EF4-FFF2-40B4-BE49-F238E27FC236}">
                <a16:creationId xmlns:a16="http://schemas.microsoft.com/office/drawing/2014/main" xmlns="" id="{D71DE57E-E23E-4350-A89E-F4630BF7DC74}"/>
              </a:ext>
            </a:extLst>
          </p:cNvPr>
          <p:cNvSpPr/>
          <p:nvPr/>
        </p:nvSpPr>
        <p:spPr>
          <a:xfrm flipH="1">
            <a:off x="5864564" y="5345252"/>
            <a:ext cx="293264" cy="9293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6844" y="0"/>
                </a:lnTo>
                <a:lnTo>
                  <a:pt x="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60" name="Shape">
            <a:extLst>
              <a:ext uri="{FF2B5EF4-FFF2-40B4-BE49-F238E27FC236}">
                <a16:creationId xmlns:a16="http://schemas.microsoft.com/office/drawing/2014/main" xmlns="" id="{7A40DE32-AA19-48B9-A40D-E145A5467D21}"/>
              </a:ext>
            </a:extLst>
          </p:cNvPr>
          <p:cNvSpPr/>
          <p:nvPr/>
        </p:nvSpPr>
        <p:spPr>
          <a:xfrm flipH="1">
            <a:off x="7300528" y="2521955"/>
            <a:ext cx="1113775" cy="99835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385" y="251"/>
                  <a:pt x="19113" y="554"/>
                  <a:pt x="17745" y="948"/>
                </a:cubicBezTo>
                <a:cubicBezTo>
                  <a:pt x="6245" y="4258"/>
                  <a:pt x="4351" y="7759"/>
                  <a:pt x="2185" y="12534"/>
                </a:cubicBezTo>
                <a:cubicBezTo>
                  <a:pt x="934" y="15293"/>
                  <a:pt x="217" y="18775"/>
                  <a:pt x="0" y="21600"/>
                </a:cubicBezTo>
                <a:lnTo>
                  <a:pt x="21600" y="21600"/>
                </a:lnTo>
                <a:lnTo>
                  <a:pt x="21600" y="0"/>
                </a:lnTo>
                <a:close/>
              </a:path>
            </a:pathLst>
          </a:custGeom>
          <a:solidFill>
            <a:schemeClr val="accent1"/>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61" name="Shape">
            <a:extLst>
              <a:ext uri="{FF2B5EF4-FFF2-40B4-BE49-F238E27FC236}">
                <a16:creationId xmlns:a16="http://schemas.microsoft.com/office/drawing/2014/main" xmlns="" id="{0CE8CE21-06E6-4C8E-9B6A-C82D924BB2A9}"/>
              </a:ext>
            </a:extLst>
          </p:cNvPr>
          <p:cNvSpPr/>
          <p:nvPr/>
        </p:nvSpPr>
        <p:spPr>
          <a:xfrm flipH="1">
            <a:off x="7300606" y="3520311"/>
            <a:ext cx="1350271" cy="1996713"/>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1029"/>
                  <a:pt x="3676" y="1890"/>
                  <a:pt x="3993" y="2285"/>
                </a:cubicBezTo>
                <a:cubicBezTo>
                  <a:pt x="4743" y="3223"/>
                  <a:pt x="3993" y="4077"/>
                  <a:pt x="3993" y="4077"/>
                </a:cubicBezTo>
                <a:cubicBezTo>
                  <a:pt x="3993" y="4077"/>
                  <a:pt x="882" y="7252"/>
                  <a:pt x="272" y="7987"/>
                </a:cubicBezTo>
                <a:cubicBezTo>
                  <a:pt x="-338" y="8722"/>
                  <a:pt x="177" y="9167"/>
                  <a:pt x="834" y="9423"/>
                </a:cubicBezTo>
                <a:cubicBezTo>
                  <a:pt x="1491" y="9679"/>
                  <a:pt x="2241" y="9999"/>
                  <a:pt x="2663" y="10127"/>
                </a:cubicBezTo>
                <a:cubicBezTo>
                  <a:pt x="3085" y="10255"/>
                  <a:pt x="2712" y="10990"/>
                  <a:pt x="2524" y="11310"/>
                </a:cubicBezTo>
                <a:cubicBezTo>
                  <a:pt x="2337" y="11629"/>
                  <a:pt x="2197" y="12044"/>
                  <a:pt x="2854" y="12331"/>
                </a:cubicBezTo>
                <a:cubicBezTo>
                  <a:pt x="3510" y="12619"/>
                  <a:pt x="3933" y="12811"/>
                  <a:pt x="3933" y="12811"/>
                </a:cubicBezTo>
                <a:cubicBezTo>
                  <a:pt x="3933" y="12811"/>
                  <a:pt x="3931" y="12812"/>
                  <a:pt x="3368" y="13132"/>
                </a:cubicBezTo>
                <a:cubicBezTo>
                  <a:pt x="2805" y="13452"/>
                  <a:pt x="3088" y="14058"/>
                  <a:pt x="3792" y="14378"/>
                </a:cubicBezTo>
                <a:cubicBezTo>
                  <a:pt x="4495" y="14697"/>
                  <a:pt x="4635" y="14953"/>
                  <a:pt x="4542" y="16455"/>
                </a:cubicBezTo>
                <a:cubicBezTo>
                  <a:pt x="4448" y="17957"/>
                  <a:pt x="5668" y="18244"/>
                  <a:pt x="6935" y="18372"/>
                </a:cubicBezTo>
                <a:cubicBezTo>
                  <a:pt x="8202" y="18500"/>
                  <a:pt x="12894" y="18149"/>
                  <a:pt x="14442" y="18085"/>
                </a:cubicBezTo>
                <a:cubicBezTo>
                  <a:pt x="15990" y="18021"/>
                  <a:pt x="18006" y="21121"/>
                  <a:pt x="18006" y="21121"/>
                </a:cubicBezTo>
                <a:cubicBezTo>
                  <a:pt x="18049" y="21200"/>
                  <a:pt x="18091" y="21279"/>
                  <a:pt x="18129" y="21359"/>
                </a:cubicBezTo>
                <a:cubicBezTo>
                  <a:pt x="18167" y="21439"/>
                  <a:pt x="18200" y="21519"/>
                  <a:pt x="18234" y="21600"/>
                </a:cubicBezTo>
                <a:lnTo>
                  <a:pt x="21262" y="21600"/>
                </a:lnTo>
                <a:lnTo>
                  <a:pt x="21262" y="0"/>
                </a:lnTo>
                <a:lnTo>
                  <a:pt x="3724" y="0"/>
                </a:lnTo>
                <a:close/>
              </a:path>
            </a:pathLst>
          </a:custGeom>
          <a:solidFill>
            <a:schemeClr val="accent1">
              <a:lumMod val="75000"/>
              <a:lumOff val="2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62" name="Shape">
            <a:extLst>
              <a:ext uri="{FF2B5EF4-FFF2-40B4-BE49-F238E27FC236}">
                <a16:creationId xmlns:a16="http://schemas.microsoft.com/office/drawing/2014/main" xmlns="" id="{DCDA4BEC-636B-4037-BAC1-DC0C412A8307}"/>
              </a:ext>
            </a:extLst>
          </p:cNvPr>
          <p:cNvSpPr/>
          <p:nvPr/>
        </p:nvSpPr>
        <p:spPr>
          <a:xfrm flipH="1">
            <a:off x="7300606" y="3520311"/>
            <a:ext cx="1350271" cy="998357"/>
          </a:xfrm>
          <a:custGeom>
            <a:avLst/>
            <a:gdLst/>
            <a:ahLst/>
            <a:cxnLst>
              <a:cxn ang="0">
                <a:pos x="wd2" y="hd2"/>
              </a:cxn>
              <a:cxn ang="5400000">
                <a:pos x="wd2" y="hd2"/>
              </a:cxn>
              <a:cxn ang="10800000">
                <a:pos x="wd2" y="hd2"/>
              </a:cxn>
              <a:cxn ang="16200000">
                <a:pos x="wd2" y="hd2"/>
              </a:cxn>
            </a:cxnLst>
            <a:rect l="0" t="0" r="r" b="b"/>
            <a:pathLst>
              <a:path w="21262" h="21600" extrusionOk="0">
                <a:moveTo>
                  <a:pt x="3724" y="0"/>
                </a:moveTo>
                <a:cubicBezTo>
                  <a:pt x="3595" y="2059"/>
                  <a:pt x="3676" y="3779"/>
                  <a:pt x="3993" y="4571"/>
                </a:cubicBezTo>
                <a:cubicBezTo>
                  <a:pt x="4743" y="6446"/>
                  <a:pt x="3993" y="8154"/>
                  <a:pt x="3993" y="8154"/>
                </a:cubicBezTo>
                <a:cubicBezTo>
                  <a:pt x="3993" y="8154"/>
                  <a:pt x="882" y="14504"/>
                  <a:pt x="272" y="15974"/>
                </a:cubicBezTo>
                <a:cubicBezTo>
                  <a:pt x="-338" y="17444"/>
                  <a:pt x="177" y="18335"/>
                  <a:pt x="834" y="18846"/>
                </a:cubicBezTo>
                <a:cubicBezTo>
                  <a:pt x="1491" y="19357"/>
                  <a:pt x="2241" y="19998"/>
                  <a:pt x="2663" y="20254"/>
                </a:cubicBezTo>
                <a:cubicBezTo>
                  <a:pt x="2919" y="20409"/>
                  <a:pt x="2872" y="21007"/>
                  <a:pt x="2762" y="21600"/>
                </a:cubicBezTo>
                <a:lnTo>
                  <a:pt x="21262" y="21600"/>
                </a:lnTo>
                <a:lnTo>
                  <a:pt x="21262" y="0"/>
                </a:lnTo>
                <a:lnTo>
                  <a:pt x="3724" y="0"/>
                </a:lnTo>
                <a:close/>
              </a:path>
            </a:pathLst>
          </a:custGeom>
          <a:solidFill>
            <a:schemeClr val="accent1">
              <a:lumMod val="90000"/>
              <a:lumOff val="1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63" name="Shape">
            <a:extLst>
              <a:ext uri="{FF2B5EF4-FFF2-40B4-BE49-F238E27FC236}">
                <a16:creationId xmlns:a16="http://schemas.microsoft.com/office/drawing/2014/main" xmlns="" id="{6E5D8CA7-CC6C-4C36-9EA1-3A7917B141A6}"/>
              </a:ext>
            </a:extLst>
          </p:cNvPr>
          <p:cNvSpPr/>
          <p:nvPr/>
        </p:nvSpPr>
        <p:spPr>
          <a:xfrm flipH="1">
            <a:off x="6096000" y="2500357"/>
            <a:ext cx="1181810" cy="754112"/>
          </a:xfrm>
          <a:custGeom>
            <a:avLst/>
            <a:gdLst/>
            <a:ahLst/>
            <a:cxnLst>
              <a:cxn ang="0">
                <a:pos x="wd2" y="hd2"/>
              </a:cxn>
              <a:cxn ang="5400000">
                <a:pos x="wd2" y="hd2"/>
              </a:cxn>
              <a:cxn ang="10800000">
                <a:pos x="wd2" y="hd2"/>
              </a:cxn>
              <a:cxn ang="16200000">
                <a:pos x="wd2" y="hd2"/>
              </a:cxn>
            </a:cxnLst>
            <a:rect l="0" t="0" r="r" b="b"/>
            <a:pathLst>
              <a:path w="21600" h="21538" extrusionOk="0">
                <a:moveTo>
                  <a:pt x="3558" y="0"/>
                </a:moveTo>
                <a:cubicBezTo>
                  <a:pt x="2450" y="13"/>
                  <a:pt x="1259" y="165"/>
                  <a:pt x="0" y="422"/>
                </a:cubicBezTo>
                <a:lnTo>
                  <a:pt x="0" y="21538"/>
                </a:lnTo>
                <a:lnTo>
                  <a:pt x="21600" y="21538"/>
                </a:lnTo>
                <a:cubicBezTo>
                  <a:pt x="20680" y="16602"/>
                  <a:pt x="18987" y="12066"/>
                  <a:pt x="16490" y="8305"/>
                </a:cubicBezTo>
                <a:cubicBezTo>
                  <a:pt x="12902" y="2900"/>
                  <a:pt x="9111" y="-62"/>
                  <a:pt x="3558" y="0"/>
                </a:cubicBezTo>
                <a:close/>
              </a:path>
            </a:pathLst>
          </a:custGeom>
          <a:solidFill>
            <a:schemeClr val="accent4">
              <a:lumMod val="5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64" name="Shape">
            <a:extLst>
              <a:ext uri="{FF2B5EF4-FFF2-40B4-BE49-F238E27FC236}">
                <a16:creationId xmlns:a16="http://schemas.microsoft.com/office/drawing/2014/main" xmlns="" id="{62607399-67AF-4748-ADD5-0D9D8F6E844B}"/>
              </a:ext>
            </a:extLst>
          </p:cNvPr>
          <p:cNvSpPr/>
          <p:nvPr/>
        </p:nvSpPr>
        <p:spPr>
          <a:xfrm flipH="1">
            <a:off x="6189424" y="4762946"/>
            <a:ext cx="1088387"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cubicBezTo>
                  <a:pt x="19414" y="14617"/>
                  <a:pt x="17074" y="6092"/>
                  <a:pt x="16479" y="0"/>
                </a:cubicBezTo>
                <a:lnTo>
                  <a:pt x="0" y="0"/>
                </a:lnTo>
                <a:close/>
              </a:path>
            </a:pathLst>
          </a:custGeom>
          <a:solidFill>
            <a:schemeClr val="accent4">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65" name="Shape">
            <a:extLst>
              <a:ext uri="{FF2B5EF4-FFF2-40B4-BE49-F238E27FC236}">
                <a16:creationId xmlns:a16="http://schemas.microsoft.com/office/drawing/2014/main" xmlns="" id="{6E3C2CF3-A438-4E8F-A0DC-FFF5FCE4E2CF}"/>
              </a:ext>
            </a:extLst>
          </p:cNvPr>
          <p:cNvSpPr/>
          <p:nvPr/>
        </p:nvSpPr>
        <p:spPr>
          <a:xfrm flipH="1">
            <a:off x="6134830" y="4008879"/>
            <a:ext cx="1142980" cy="754078"/>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5692" y="21600"/>
                </a:lnTo>
                <a:cubicBezTo>
                  <a:pt x="15637" y="21003"/>
                  <a:pt x="15575" y="20401"/>
                  <a:pt x="15554" y="19855"/>
                </a:cubicBezTo>
                <a:cubicBezTo>
                  <a:pt x="15172" y="10094"/>
                  <a:pt x="19329" y="7472"/>
                  <a:pt x="21600" y="0"/>
                </a:cubicBezTo>
                <a:lnTo>
                  <a:pt x="0" y="0"/>
                </a:lnTo>
                <a:close/>
              </a:path>
            </a:pathLst>
          </a:custGeom>
          <a:solidFill>
            <a:srgbClr val="BF9000"/>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66" name="Shape">
            <a:extLst>
              <a:ext uri="{FF2B5EF4-FFF2-40B4-BE49-F238E27FC236}">
                <a16:creationId xmlns:a16="http://schemas.microsoft.com/office/drawing/2014/main" xmlns="" id="{9161B2CB-D7F8-4316-820B-F5BEF0FECE58}"/>
              </a:ext>
            </a:extLst>
          </p:cNvPr>
          <p:cNvSpPr/>
          <p:nvPr/>
        </p:nvSpPr>
        <p:spPr>
          <a:xfrm flipH="1">
            <a:off x="6051066" y="3254469"/>
            <a:ext cx="1226745" cy="754078"/>
          </a:xfrm>
          <a:custGeom>
            <a:avLst/>
            <a:gdLst/>
            <a:ahLst/>
            <a:cxnLst>
              <a:cxn ang="0">
                <a:pos x="wd2" y="hd2"/>
              </a:cxn>
              <a:cxn ang="5400000">
                <a:pos x="wd2" y="hd2"/>
              </a:cxn>
              <a:cxn ang="10800000">
                <a:pos x="wd2" y="hd2"/>
              </a:cxn>
              <a:cxn ang="16200000">
                <a:pos x="wd2" y="hd2"/>
              </a:cxn>
            </a:cxnLst>
            <a:rect l="0" t="0" r="r" b="b"/>
            <a:pathLst>
              <a:path w="21347" h="21600" extrusionOk="0">
                <a:moveTo>
                  <a:pt x="0" y="0"/>
                </a:moveTo>
                <a:lnTo>
                  <a:pt x="0" y="21600"/>
                </a:lnTo>
                <a:lnTo>
                  <a:pt x="19893" y="21600"/>
                </a:lnTo>
                <a:cubicBezTo>
                  <a:pt x="20261" y="20281"/>
                  <a:pt x="20581" y="18829"/>
                  <a:pt x="20808" y="17141"/>
                </a:cubicBezTo>
                <a:cubicBezTo>
                  <a:pt x="21600" y="11267"/>
                  <a:pt x="21521" y="5396"/>
                  <a:pt x="20566" y="0"/>
                </a:cubicBezTo>
                <a:lnTo>
                  <a:pt x="0" y="0"/>
                </a:lnTo>
                <a:close/>
              </a:path>
            </a:pathLst>
          </a:custGeom>
          <a:solidFill>
            <a:schemeClr val="accent4">
              <a:lumMod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67" name="TextBox 54">
            <a:extLst>
              <a:ext uri="{FF2B5EF4-FFF2-40B4-BE49-F238E27FC236}">
                <a16:creationId xmlns:a16="http://schemas.microsoft.com/office/drawing/2014/main" xmlns="" id="{548F5FD1-E5F0-426F-A13B-912DD8C6B1F3}"/>
              </a:ext>
            </a:extLst>
          </p:cNvPr>
          <p:cNvSpPr txBox="1"/>
          <p:nvPr/>
        </p:nvSpPr>
        <p:spPr>
          <a:xfrm>
            <a:off x="4745519" y="2195149"/>
            <a:ext cx="1035733" cy="369332"/>
          </a:xfrm>
          <a:prstGeom prst="rect">
            <a:avLst/>
          </a:prstGeom>
          <a:noFill/>
        </p:spPr>
        <p:txBody>
          <a:bodyPr wrap="none" rtlCol="0" anchor="ctr" anchorCtr="0">
            <a:spAutoFit/>
          </a:bodyPr>
          <a:lstStyle/>
          <a:p>
            <a:pPr algn="r"/>
            <a:r>
              <a:rPr lang="en-GB" b="1" dirty="0">
                <a:solidFill>
                  <a:srgbClr val="C01F75"/>
                </a:solidFill>
                <a:latin typeface="+mj-lt"/>
                <a:ea typeface="League Spartan" charset="0"/>
                <a:cs typeface="Poppins" pitchFamily="2" charset="77"/>
              </a:rPr>
              <a:t>Attention</a:t>
            </a:r>
          </a:p>
        </p:txBody>
      </p:sp>
      <p:sp>
        <p:nvSpPr>
          <p:cNvPr id="168" name="Subtitle 2">
            <a:extLst>
              <a:ext uri="{FF2B5EF4-FFF2-40B4-BE49-F238E27FC236}">
                <a16:creationId xmlns:a16="http://schemas.microsoft.com/office/drawing/2014/main" xmlns="" id="{A92B5278-2634-4651-B2A8-9F690FAA67BE}"/>
              </a:ext>
            </a:extLst>
          </p:cNvPr>
          <p:cNvSpPr txBox="1">
            <a:spLocks/>
          </p:cNvSpPr>
          <p:nvPr/>
        </p:nvSpPr>
        <p:spPr>
          <a:xfrm>
            <a:off x="3296150" y="2502769"/>
            <a:ext cx="2483496"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altLang="de-DE" sz="1600" dirty="0">
                <a:solidFill>
                  <a:srgbClr val="245473"/>
                </a:solidFill>
                <a:latin typeface="Lato Light" panose="020F0502020204030203"/>
              </a:rPr>
              <a:t>What do you systematically pay attention to?</a:t>
            </a:r>
          </a:p>
        </p:txBody>
      </p:sp>
      <p:sp>
        <p:nvSpPr>
          <p:cNvPr id="169" name="TextBox 56">
            <a:extLst>
              <a:ext uri="{FF2B5EF4-FFF2-40B4-BE49-F238E27FC236}">
                <a16:creationId xmlns:a16="http://schemas.microsoft.com/office/drawing/2014/main" xmlns="" id="{4DD1FF0B-BCFC-428C-BEDB-397054BE0FE9}"/>
              </a:ext>
            </a:extLst>
          </p:cNvPr>
          <p:cNvSpPr txBox="1"/>
          <p:nvPr/>
        </p:nvSpPr>
        <p:spPr>
          <a:xfrm>
            <a:off x="2487937" y="3550811"/>
            <a:ext cx="3289106" cy="369332"/>
          </a:xfrm>
          <a:prstGeom prst="rect">
            <a:avLst/>
          </a:prstGeom>
          <a:noFill/>
        </p:spPr>
        <p:txBody>
          <a:bodyPr wrap="none" rtlCol="0" anchor="ctr" anchorCtr="0">
            <a:spAutoFit/>
          </a:bodyPr>
          <a:lstStyle/>
          <a:p>
            <a:pPr algn="r"/>
            <a:r>
              <a:rPr lang="en-GB" b="1" dirty="0">
                <a:solidFill>
                  <a:srgbClr val="C01F75"/>
                </a:solidFill>
                <a:latin typeface="+mj-lt"/>
                <a:ea typeface="League Spartan" charset="0"/>
                <a:cs typeface="Poppins" pitchFamily="2" charset="77"/>
              </a:rPr>
              <a:t>Signals through budgeting process</a:t>
            </a:r>
          </a:p>
        </p:txBody>
      </p:sp>
      <p:sp>
        <p:nvSpPr>
          <p:cNvPr id="170" name="Subtitle 2">
            <a:extLst>
              <a:ext uri="{FF2B5EF4-FFF2-40B4-BE49-F238E27FC236}">
                <a16:creationId xmlns:a16="http://schemas.microsoft.com/office/drawing/2014/main" xmlns="" id="{55CD74CC-96EE-4487-8891-050914A56031}"/>
              </a:ext>
            </a:extLst>
          </p:cNvPr>
          <p:cNvSpPr txBox="1">
            <a:spLocks/>
          </p:cNvSpPr>
          <p:nvPr/>
        </p:nvSpPr>
        <p:spPr>
          <a:xfrm>
            <a:off x="3296150" y="3858431"/>
            <a:ext cx="2483496" cy="101951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rgbClr val="245473"/>
                </a:solidFill>
                <a:latin typeface="Lato Light" panose="020F0502020204030203" pitchFamily="34" charset="0"/>
                <a:ea typeface="Lato Light" panose="020F0502020204030203" pitchFamily="34" charset="0"/>
                <a:cs typeface="Mukta ExtraLight" panose="020B0000000000000000" pitchFamily="34" charset="77"/>
              </a:rPr>
              <a:t>What signals are sent, unintentionally or not during the budgeting process? </a:t>
            </a:r>
          </a:p>
        </p:txBody>
      </p:sp>
      <p:sp>
        <p:nvSpPr>
          <p:cNvPr id="173" name="TextBox 60">
            <a:extLst>
              <a:ext uri="{FF2B5EF4-FFF2-40B4-BE49-F238E27FC236}">
                <a16:creationId xmlns:a16="http://schemas.microsoft.com/office/drawing/2014/main" xmlns="" id="{66C71F6E-C0C1-4EBC-A57C-9BB3DE6373F5}"/>
              </a:ext>
            </a:extLst>
          </p:cNvPr>
          <p:cNvSpPr txBox="1"/>
          <p:nvPr/>
        </p:nvSpPr>
        <p:spPr>
          <a:xfrm>
            <a:off x="3274309" y="5008093"/>
            <a:ext cx="2485297" cy="369332"/>
          </a:xfrm>
          <a:prstGeom prst="rect">
            <a:avLst/>
          </a:prstGeom>
          <a:noFill/>
        </p:spPr>
        <p:txBody>
          <a:bodyPr wrap="none" rtlCol="0" anchor="ctr" anchorCtr="0">
            <a:spAutoFit/>
          </a:bodyPr>
          <a:lstStyle/>
          <a:p>
            <a:pPr algn="r"/>
            <a:r>
              <a:rPr lang="en-GB" b="1" dirty="0">
                <a:solidFill>
                  <a:srgbClr val="C01F75"/>
                </a:solidFill>
                <a:latin typeface="+mj-lt"/>
                <a:ea typeface="League Spartan" charset="0"/>
                <a:cs typeface="Poppins" pitchFamily="2" charset="77"/>
              </a:rPr>
              <a:t>Rewards and punishment</a:t>
            </a:r>
          </a:p>
        </p:txBody>
      </p:sp>
      <p:sp>
        <p:nvSpPr>
          <p:cNvPr id="174" name="Subtitle 2">
            <a:extLst>
              <a:ext uri="{FF2B5EF4-FFF2-40B4-BE49-F238E27FC236}">
                <a16:creationId xmlns:a16="http://schemas.microsoft.com/office/drawing/2014/main" xmlns="" id="{F893A989-9F48-4728-AE55-768000418F25}"/>
              </a:ext>
            </a:extLst>
          </p:cNvPr>
          <p:cNvSpPr txBox="1">
            <a:spLocks/>
          </p:cNvSpPr>
          <p:nvPr/>
        </p:nvSpPr>
        <p:spPr>
          <a:xfrm>
            <a:off x="3296150" y="5315714"/>
            <a:ext cx="2483496" cy="52707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altLang="de-DE" sz="1600" dirty="0">
                <a:solidFill>
                  <a:srgbClr val="245473"/>
                </a:solidFill>
                <a:latin typeface="Lato Light" panose="020F0502020204030203"/>
              </a:rPr>
              <a:t>What behaviours do you reward and punish?</a:t>
            </a:r>
          </a:p>
        </p:txBody>
      </p:sp>
      <p:sp>
        <p:nvSpPr>
          <p:cNvPr id="175" name="TextBox 67">
            <a:extLst>
              <a:ext uri="{FF2B5EF4-FFF2-40B4-BE49-F238E27FC236}">
                <a16:creationId xmlns:a16="http://schemas.microsoft.com/office/drawing/2014/main" xmlns="" id="{E6144DA7-C891-4595-B2CD-F25314A25AAC}"/>
              </a:ext>
            </a:extLst>
          </p:cNvPr>
          <p:cNvSpPr txBox="1"/>
          <p:nvPr/>
        </p:nvSpPr>
        <p:spPr>
          <a:xfrm>
            <a:off x="8882080" y="2195149"/>
            <a:ext cx="1713611" cy="369332"/>
          </a:xfrm>
          <a:prstGeom prst="rect">
            <a:avLst/>
          </a:prstGeom>
          <a:noFill/>
        </p:spPr>
        <p:txBody>
          <a:bodyPr wrap="none" rtlCol="0" anchor="ctr" anchorCtr="0">
            <a:spAutoFit/>
          </a:bodyPr>
          <a:lstStyle/>
          <a:p>
            <a:r>
              <a:rPr lang="en-GB" b="1" dirty="0">
                <a:solidFill>
                  <a:srgbClr val="C01F75"/>
                </a:solidFill>
                <a:latin typeface="+mj-lt"/>
                <a:ea typeface="League Spartan" charset="0"/>
                <a:cs typeface="Poppins" pitchFamily="2" charset="77"/>
              </a:rPr>
              <a:t>Respond to crisis</a:t>
            </a:r>
          </a:p>
        </p:txBody>
      </p:sp>
      <p:sp>
        <p:nvSpPr>
          <p:cNvPr id="176" name="Subtitle 2">
            <a:extLst>
              <a:ext uri="{FF2B5EF4-FFF2-40B4-BE49-F238E27FC236}">
                <a16:creationId xmlns:a16="http://schemas.microsoft.com/office/drawing/2014/main" xmlns="" id="{4D0C32EC-4255-433C-ADA2-87F0505B4029}"/>
              </a:ext>
            </a:extLst>
          </p:cNvPr>
          <p:cNvSpPr txBox="1">
            <a:spLocks/>
          </p:cNvSpPr>
          <p:nvPr/>
        </p:nvSpPr>
        <p:spPr>
          <a:xfrm>
            <a:off x="8815738" y="2502769"/>
            <a:ext cx="2483496" cy="52707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245473"/>
                </a:solidFill>
                <a:latin typeface="Lato Light" panose="020F0502020204030203" pitchFamily="34" charset="0"/>
                <a:ea typeface="Lato Light" panose="020F0502020204030203" pitchFamily="34" charset="0"/>
                <a:cs typeface="Mukta ExtraLight" panose="020B0000000000000000" pitchFamily="34" charset="77"/>
              </a:rPr>
              <a:t>How do you respond in time of crisis? </a:t>
            </a:r>
          </a:p>
        </p:txBody>
      </p:sp>
      <p:sp>
        <p:nvSpPr>
          <p:cNvPr id="177" name="TextBox 71">
            <a:extLst>
              <a:ext uri="{FF2B5EF4-FFF2-40B4-BE49-F238E27FC236}">
                <a16:creationId xmlns:a16="http://schemas.microsoft.com/office/drawing/2014/main" xmlns="" id="{E73D9B0E-7DD6-4FA7-8418-C7DE8A10E053}"/>
              </a:ext>
            </a:extLst>
          </p:cNvPr>
          <p:cNvSpPr txBox="1"/>
          <p:nvPr/>
        </p:nvSpPr>
        <p:spPr>
          <a:xfrm>
            <a:off x="8840592" y="3521495"/>
            <a:ext cx="1261627" cy="369332"/>
          </a:xfrm>
          <a:prstGeom prst="rect">
            <a:avLst/>
          </a:prstGeom>
          <a:noFill/>
        </p:spPr>
        <p:txBody>
          <a:bodyPr wrap="none" rtlCol="0" anchor="ctr" anchorCtr="0">
            <a:spAutoFit/>
          </a:bodyPr>
          <a:lstStyle/>
          <a:p>
            <a:r>
              <a:rPr lang="en-GB" b="1" dirty="0">
                <a:solidFill>
                  <a:srgbClr val="C01F75"/>
                </a:solidFill>
                <a:latin typeface="+mj-lt"/>
                <a:ea typeface="League Spartan" charset="0"/>
                <a:cs typeface="Poppins" pitchFamily="2" charset="77"/>
              </a:rPr>
              <a:t>Consistency</a:t>
            </a:r>
          </a:p>
        </p:txBody>
      </p:sp>
      <p:sp>
        <p:nvSpPr>
          <p:cNvPr id="178" name="Subtitle 2">
            <a:extLst>
              <a:ext uri="{FF2B5EF4-FFF2-40B4-BE49-F238E27FC236}">
                <a16:creationId xmlns:a16="http://schemas.microsoft.com/office/drawing/2014/main" xmlns="" id="{CD76A66B-1463-414C-9FFC-08FD20FAD12C}"/>
              </a:ext>
            </a:extLst>
          </p:cNvPr>
          <p:cNvSpPr txBox="1">
            <a:spLocks/>
          </p:cNvSpPr>
          <p:nvPr/>
        </p:nvSpPr>
        <p:spPr>
          <a:xfrm>
            <a:off x="8815738" y="3829115"/>
            <a:ext cx="2483496" cy="52707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245473"/>
                </a:solidFill>
                <a:latin typeface="Lato Light" panose="020F0502020204030203" pitchFamily="34" charset="0"/>
                <a:ea typeface="Lato Light" panose="020F0502020204030203" pitchFamily="34" charset="0"/>
                <a:cs typeface="Mukta ExtraLight" panose="020B0000000000000000" pitchFamily="34" charset="77"/>
              </a:rPr>
              <a:t>How does what you say compare to what you do?</a:t>
            </a:r>
          </a:p>
        </p:txBody>
      </p:sp>
      <p:sp>
        <p:nvSpPr>
          <p:cNvPr id="179" name="TextBox 73">
            <a:extLst>
              <a:ext uri="{FF2B5EF4-FFF2-40B4-BE49-F238E27FC236}">
                <a16:creationId xmlns:a16="http://schemas.microsoft.com/office/drawing/2014/main" xmlns="" id="{D5910052-1897-4D6F-BC5F-97B06BF63DD2}"/>
              </a:ext>
            </a:extLst>
          </p:cNvPr>
          <p:cNvSpPr txBox="1"/>
          <p:nvPr/>
        </p:nvSpPr>
        <p:spPr>
          <a:xfrm>
            <a:off x="8814135" y="5008093"/>
            <a:ext cx="1408591" cy="369332"/>
          </a:xfrm>
          <a:prstGeom prst="rect">
            <a:avLst/>
          </a:prstGeom>
          <a:noFill/>
        </p:spPr>
        <p:txBody>
          <a:bodyPr wrap="none" rtlCol="0" anchor="ctr" anchorCtr="0">
            <a:spAutoFit/>
          </a:bodyPr>
          <a:lstStyle/>
          <a:p>
            <a:r>
              <a:rPr lang="en-GB" b="1" dirty="0">
                <a:solidFill>
                  <a:srgbClr val="C01F75"/>
                </a:solidFill>
                <a:latin typeface="+mj-lt"/>
                <a:ea typeface="League Spartan" charset="0"/>
                <a:cs typeface="Poppins" pitchFamily="2" charset="77"/>
              </a:rPr>
              <a:t>HR behaviour</a:t>
            </a:r>
          </a:p>
        </p:txBody>
      </p:sp>
      <p:sp>
        <p:nvSpPr>
          <p:cNvPr id="180" name="Subtitle 2">
            <a:extLst>
              <a:ext uri="{FF2B5EF4-FFF2-40B4-BE49-F238E27FC236}">
                <a16:creationId xmlns:a16="http://schemas.microsoft.com/office/drawing/2014/main" xmlns="" id="{21550DFA-15F7-44F3-956D-A3BCE285E901}"/>
              </a:ext>
            </a:extLst>
          </p:cNvPr>
          <p:cNvSpPr txBox="1">
            <a:spLocks/>
          </p:cNvSpPr>
          <p:nvPr/>
        </p:nvSpPr>
        <p:spPr>
          <a:xfrm>
            <a:off x="8815737" y="5315714"/>
            <a:ext cx="3184809" cy="77329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245473"/>
                </a:solidFill>
                <a:latin typeface="Lato Light" panose="020F0502020204030203" pitchFamily="34" charset="0"/>
                <a:ea typeface="Lato Light" panose="020F0502020204030203" pitchFamily="34" charset="0"/>
                <a:cs typeface="Mukta ExtraLight" panose="020B0000000000000000" pitchFamily="34" charset="77"/>
              </a:rPr>
              <a:t>Who do you recruit, promote and fire; what does that say about the organization’s values?</a:t>
            </a:r>
          </a:p>
        </p:txBody>
      </p:sp>
    </p:spTree>
    <p:extLst>
      <p:ext uri="{BB962C8B-B14F-4D97-AF65-F5344CB8AC3E}">
        <p14:creationId xmlns:p14="http://schemas.microsoft.com/office/powerpoint/2010/main" val="9027865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74162" y="524626"/>
            <a:ext cx="8852375" cy="697353"/>
          </a:xfrm>
        </p:spPr>
        <p:txBody>
          <a:bodyPr>
            <a:normAutofit/>
          </a:bodyPr>
          <a:lstStyle/>
          <a:p>
            <a:r>
              <a:rPr lang="en-GB" dirty="0"/>
              <a:t>Simple Summary of Leadership: 7C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17954" y="1834144"/>
            <a:ext cx="4031940" cy="504950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i="1" dirty="0">
                <a:latin typeface="+mj-lt"/>
              </a:rPr>
              <a:t>“</a:t>
            </a:r>
            <a:r>
              <a:rPr lang="en-GB" altLang="de-DE" sz="2200" b="1" i="1" dirty="0">
                <a:latin typeface="+mj-lt"/>
              </a:rPr>
              <a:t>Out of intense complexities, </a:t>
            </a:r>
            <a:br>
              <a:rPr lang="en-GB" altLang="de-DE" sz="2200" b="1" i="1" dirty="0">
                <a:latin typeface="+mj-lt"/>
              </a:rPr>
            </a:br>
            <a:r>
              <a:rPr lang="en-GB" altLang="de-DE" sz="2200" b="1" i="1" dirty="0">
                <a:latin typeface="+mj-lt"/>
              </a:rPr>
              <a:t>intense simplicities emerge.”</a:t>
            </a:r>
          </a:p>
          <a:p>
            <a:pPr algn="l">
              <a:lnSpc>
                <a:spcPct val="100000"/>
              </a:lnSpc>
              <a:spcBef>
                <a:spcPts val="600"/>
              </a:spcBef>
            </a:pPr>
            <a:r>
              <a:rPr lang="en-GB" altLang="de-DE" sz="2200" dirty="0">
                <a:latin typeface="+mj-lt"/>
              </a:rPr>
              <a:t>Sir Winston Churchill</a:t>
            </a:r>
          </a:p>
          <a:p>
            <a:pPr algn="l">
              <a:lnSpc>
                <a:spcPct val="100000"/>
              </a:lnSpc>
              <a:spcBef>
                <a:spcPts val="600"/>
              </a:spcBef>
            </a:pPr>
            <a:endParaRPr lang="en-GB" altLang="de-DE" sz="2200" dirty="0">
              <a:latin typeface="+mj-lt"/>
            </a:endParaRPr>
          </a:p>
          <a:p>
            <a:pPr algn="l">
              <a:lnSpc>
                <a:spcPct val="100000"/>
              </a:lnSpc>
              <a:spcBef>
                <a:spcPts val="600"/>
              </a:spcBef>
            </a:pPr>
            <a:r>
              <a:rPr lang="en-GB" altLang="de-DE" sz="2200" b="1" i="1" dirty="0">
                <a:latin typeface="+mj-lt"/>
              </a:rPr>
              <a:t>“There are simple answers. </a:t>
            </a:r>
            <a:br>
              <a:rPr lang="en-GB" altLang="de-DE" sz="2200" b="1" i="1" dirty="0">
                <a:latin typeface="+mj-lt"/>
              </a:rPr>
            </a:br>
            <a:r>
              <a:rPr lang="en-GB" altLang="de-DE" sz="2200" b="1" i="1" dirty="0">
                <a:latin typeface="+mj-lt"/>
              </a:rPr>
              <a:t>There are just no easy answers.”</a:t>
            </a:r>
          </a:p>
          <a:p>
            <a:pPr algn="l">
              <a:lnSpc>
                <a:spcPct val="100000"/>
              </a:lnSpc>
              <a:spcBef>
                <a:spcPts val="600"/>
              </a:spcBef>
            </a:pPr>
            <a:r>
              <a:rPr lang="en-GB" altLang="de-DE" sz="2200" dirty="0">
                <a:latin typeface="+mj-lt"/>
                <a:sym typeface="Wingdings" panose="05000000000000000000" pitchFamily="2" charset="2"/>
              </a:rPr>
              <a:t>Ronald Reagan</a:t>
            </a:r>
          </a:p>
          <a:p>
            <a:pPr algn="l">
              <a:lnSpc>
                <a:spcPct val="100000"/>
              </a:lnSpc>
              <a:spcBef>
                <a:spcPts val="600"/>
              </a:spcBef>
            </a:pPr>
            <a:endParaRPr lang="en-GB" altLang="de-DE" sz="2200" dirty="0">
              <a:latin typeface="+mj-lt"/>
              <a:sym typeface="Wingdings" panose="05000000000000000000" pitchFamily="2" charset="2"/>
            </a:endParaRPr>
          </a:p>
          <a:p>
            <a:pPr algn="l">
              <a:lnSpc>
                <a:spcPct val="100000"/>
              </a:lnSpc>
              <a:spcBef>
                <a:spcPts val="600"/>
              </a:spcBef>
            </a:pPr>
            <a:r>
              <a:rPr lang="en-GB" altLang="de-DE" sz="2200" dirty="0">
                <a:latin typeface="+mj-lt"/>
                <a:sym typeface="Wingdings" panose="05000000000000000000" pitchFamily="2" charset="2"/>
              </a:rPr>
              <a:t>And when all else fails: </a:t>
            </a:r>
          </a:p>
          <a:p>
            <a:pPr algn="l">
              <a:lnSpc>
                <a:spcPct val="100000"/>
              </a:lnSpc>
              <a:spcBef>
                <a:spcPts val="600"/>
              </a:spcBef>
            </a:pPr>
            <a:r>
              <a:rPr lang="en-GB" altLang="de-DE" sz="2200" b="1" dirty="0">
                <a:latin typeface="+mj-lt"/>
                <a:sym typeface="Wingdings" panose="05000000000000000000" pitchFamily="2" charset="2"/>
              </a:rPr>
              <a:t/>
            </a:r>
            <a:br>
              <a:rPr lang="en-GB" altLang="de-DE" sz="2200" b="1" dirty="0">
                <a:latin typeface="+mj-lt"/>
                <a:sym typeface="Wingdings" panose="05000000000000000000" pitchFamily="2" charset="2"/>
              </a:rPr>
            </a:br>
            <a:r>
              <a:rPr lang="en-GB" altLang="de-DE" sz="2200" b="1" i="1" dirty="0">
                <a:latin typeface="+mj-lt"/>
                <a:sym typeface="Wingdings" panose="05000000000000000000" pitchFamily="2" charset="2"/>
              </a:rPr>
              <a:t>“Do the right thing and do it now.”</a:t>
            </a:r>
          </a:p>
          <a:p>
            <a:pPr algn="l">
              <a:lnSpc>
                <a:spcPct val="100000"/>
              </a:lnSpc>
              <a:spcBef>
                <a:spcPts val="600"/>
              </a:spcBef>
            </a:pPr>
            <a:r>
              <a:rPr lang="en-GB" altLang="de-DE" sz="2200" dirty="0">
                <a:latin typeface="+mj-lt"/>
                <a:sym typeface="Wingdings" panose="05000000000000000000" pitchFamily="2" charset="2"/>
              </a:rPr>
              <a:t>Jim Ellis</a:t>
            </a:r>
          </a:p>
          <a:p>
            <a:pPr algn="l">
              <a:lnSpc>
                <a:spcPts val="1500"/>
              </a:lnSpc>
              <a:spcBef>
                <a:spcPts val="600"/>
              </a:spcBef>
            </a:pPr>
            <a:endParaRPr lang="en-GB" altLang="de-DE" sz="2000" dirty="0">
              <a:latin typeface="+mj-lt"/>
            </a:endParaRPr>
          </a:p>
        </p:txBody>
      </p:sp>
      <p:sp>
        <p:nvSpPr>
          <p:cNvPr id="31" name="Freeform 130">
            <a:extLst>
              <a:ext uri="{FF2B5EF4-FFF2-40B4-BE49-F238E27FC236}">
                <a16:creationId xmlns:a16="http://schemas.microsoft.com/office/drawing/2014/main" xmlns="" id="{83971E32-ECE5-4D56-8C83-17F79AA7258B}"/>
              </a:ext>
            </a:extLst>
          </p:cNvPr>
          <p:cNvSpPr>
            <a:spLocks/>
          </p:cNvSpPr>
          <p:nvPr/>
        </p:nvSpPr>
        <p:spPr bwMode="auto">
          <a:xfrm>
            <a:off x="4558276" y="4038071"/>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5"/>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32" name="Oval 131">
            <a:extLst>
              <a:ext uri="{FF2B5EF4-FFF2-40B4-BE49-F238E27FC236}">
                <a16:creationId xmlns:a16="http://schemas.microsoft.com/office/drawing/2014/main" xmlns="" id="{5BCACA57-2207-49DE-854D-1D71A36E3613}"/>
              </a:ext>
            </a:extLst>
          </p:cNvPr>
          <p:cNvSpPr>
            <a:spLocks noChangeArrowheads="1"/>
          </p:cNvSpPr>
          <p:nvPr/>
        </p:nvSpPr>
        <p:spPr bwMode="auto">
          <a:xfrm>
            <a:off x="4597392" y="4069666"/>
            <a:ext cx="528090" cy="528090"/>
          </a:xfrm>
          <a:prstGeom prst="ellipse">
            <a:avLst/>
          </a:prstGeom>
          <a:solidFill>
            <a:schemeClr val="accent5">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33" name="Freeform 137">
            <a:extLst>
              <a:ext uri="{FF2B5EF4-FFF2-40B4-BE49-F238E27FC236}">
                <a16:creationId xmlns:a16="http://schemas.microsoft.com/office/drawing/2014/main" xmlns="" id="{C7BC7B0D-1D25-469B-AF96-C60CF94C9690}"/>
              </a:ext>
            </a:extLst>
          </p:cNvPr>
          <p:cNvSpPr>
            <a:spLocks/>
          </p:cNvSpPr>
          <p:nvPr/>
        </p:nvSpPr>
        <p:spPr bwMode="auto">
          <a:xfrm>
            <a:off x="8439911" y="4038071"/>
            <a:ext cx="3573253" cy="591280"/>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rgbClr val="DDE3A0"/>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34" name="Oval 138">
            <a:extLst>
              <a:ext uri="{FF2B5EF4-FFF2-40B4-BE49-F238E27FC236}">
                <a16:creationId xmlns:a16="http://schemas.microsoft.com/office/drawing/2014/main" xmlns="" id="{FECFC42C-F4CE-4E9F-8B5E-44B6B7E033AF}"/>
              </a:ext>
            </a:extLst>
          </p:cNvPr>
          <p:cNvSpPr>
            <a:spLocks noChangeArrowheads="1"/>
          </p:cNvSpPr>
          <p:nvPr/>
        </p:nvSpPr>
        <p:spPr bwMode="auto">
          <a:xfrm>
            <a:off x="11445956" y="4069667"/>
            <a:ext cx="528090" cy="528090"/>
          </a:xfrm>
          <a:prstGeom prst="ellipse">
            <a:avLst/>
          </a:prstGeom>
          <a:solidFill>
            <a:schemeClr val="accent6">
              <a:lumMod val="50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35" name="Rectangle 39">
            <a:extLst>
              <a:ext uri="{FF2B5EF4-FFF2-40B4-BE49-F238E27FC236}">
                <a16:creationId xmlns:a16="http://schemas.microsoft.com/office/drawing/2014/main" xmlns="" id="{BEAEFE66-48DB-480B-BF99-8C5E987DFA7D}"/>
              </a:ext>
            </a:extLst>
          </p:cNvPr>
          <p:cNvSpPr>
            <a:spLocks/>
          </p:cNvSpPr>
          <p:nvPr/>
        </p:nvSpPr>
        <p:spPr bwMode="auto">
          <a:xfrm>
            <a:off x="11619399" y="4143210"/>
            <a:ext cx="181203"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C</a:t>
            </a:r>
            <a:endParaRPr lang="en-GB" sz="2476" b="1" spc="113" dirty="0">
              <a:solidFill>
                <a:schemeClr val="bg1"/>
              </a:solidFill>
              <a:latin typeface="+mj-lt"/>
              <a:ea typeface="Roboto" charset="0"/>
              <a:cs typeface="Roboto" charset="0"/>
              <a:sym typeface="Bebas Neue" charset="0"/>
            </a:endParaRPr>
          </a:p>
        </p:txBody>
      </p:sp>
      <p:sp>
        <p:nvSpPr>
          <p:cNvPr id="36" name="TextBox 40">
            <a:extLst>
              <a:ext uri="{FF2B5EF4-FFF2-40B4-BE49-F238E27FC236}">
                <a16:creationId xmlns:a16="http://schemas.microsoft.com/office/drawing/2014/main" xmlns="" id="{58BE61B3-4A39-43D6-AE4F-F2945329C018}"/>
              </a:ext>
            </a:extLst>
          </p:cNvPr>
          <p:cNvSpPr txBox="1"/>
          <p:nvPr/>
        </p:nvSpPr>
        <p:spPr>
          <a:xfrm>
            <a:off x="8523378" y="4174231"/>
            <a:ext cx="2861867" cy="337080"/>
          </a:xfrm>
          <a:prstGeom prst="rect">
            <a:avLst/>
          </a:prstGeom>
          <a:noFill/>
        </p:spPr>
        <p:txBody>
          <a:bodyPr wrap="square" rtlCol="0">
            <a:spAutoFit/>
          </a:bodyPr>
          <a:lstStyle/>
          <a:p>
            <a:pPr algn="r">
              <a:lnSpc>
                <a:spcPts val="1665"/>
              </a:lnSpc>
            </a:pPr>
            <a:r>
              <a:rPr lang="en-GB" sz="2400" dirty="0">
                <a:solidFill>
                  <a:schemeClr val="bg1"/>
                </a:solidFill>
                <a:latin typeface="+mj-lt"/>
                <a:ea typeface="Lato Light" charset="0"/>
                <a:cs typeface="Lato Light" charset="0"/>
              </a:rPr>
              <a:t>Courage</a:t>
            </a:r>
          </a:p>
        </p:txBody>
      </p:sp>
      <p:sp>
        <p:nvSpPr>
          <p:cNvPr id="37" name="TextBox 41">
            <a:extLst>
              <a:ext uri="{FF2B5EF4-FFF2-40B4-BE49-F238E27FC236}">
                <a16:creationId xmlns:a16="http://schemas.microsoft.com/office/drawing/2014/main" xmlns="" id="{D6CECBDC-601D-41A8-9B59-C280BCC92922}"/>
              </a:ext>
            </a:extLst>
          </p:cNvPr>
          <p:cNvSpPr txBox="1"/>
          <p:nvPr/>
        </p:nvSpPr>
        <p:spPr>
          <a:xfrm>
            <a:off x="5202237" y="4174231"/>
            <a:ext cx="2861867" cy="337080"/>
          </a:xfrm>
          <a:prstGeom prst="rect">
            <a:avLst/>
          </a:prstGeom>
          <a:noFill/>
        </p:spPr>
        <p:txBody>
          <a:bodyPr wrap="square" rtlCol="0">
            <a:spAutoFit/>
          </a:bodyPr>
          <a:lstStyle/>
          <a:p>
            <a:pPr>
              <a:lnSpc>
                <a:spcPts val="1665"/>
              </a:lnSpc>
            </a:pPr>
            <a:r>
              <a:rPr lang="en-GB" sz="2400" dirty="0">
                <a:solidFill>
                  <a:schemeClr val="bg1"/>
                </a:solidFill>
                <a:latin typeface="+mj-lt"/>
                <a:ea typeface="Lato Light" charset="0"/>
                <a:cs typeface="Lato Light" charset="0"/>
              </a:rPr>
              <a:t>Compassion</a:t>
            </a:r>
          </a:p>
        </p:txBody>
      </p:sp>
      <p:sp>
        <p:nvSpPr>
          <p:cNvPr id="39" name="Rectangle 43">
            <a:extLst>
              <a:ext uri="{FF2B5EF4-FFF2-40B4-BE49-F238E27FC236}">
                <a16:creationId xmlns:a16="http://schemas.microsoft.com/office/drawing/2014/main" xmlns="" id="{69957A02-A5DC-4968-892C-27BEADBD695C}"/>
              </a:ext>
            </a:extLst>
          </p:cNvPr>
          <p:cNvSpPr>
            <a:spLocks/>
          </p:cNvSpPr>
          <p:nvPr/>
        </p:nvSpPr>
        <p:spPr bwMode="auto">
          <a:xfrm>
            <a:off x="4770836" y="4143210"/>
            <a:ext cx="181203"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C</a:t>
            </a:r>
            <a:endParaRPr lang="en-GB" sz="2476" b="1" spc="113" dirty="0">
              <a:solidFill>
                <a:schemeClr val="bg1"/>
              </a:solidFill>
              <a:latin typeface="+mj-lt"/>
              <a:ea typeface="Roboto" charset="0"/>
              <a:cs typeface="Roboto" charset="0"/>
              <a:sym typeface="Bebas Neue" charset="0"/>
            </a:endParaRPr>
          </a:p>
        </p:txBody>
      </p:sp>
      <p:sp>
        <p:nvSpPr>
          <p:cNvPr id="40" name="Freeform 130">
            <a:extLst>
              <a:ext uri="{FF2B5EF4-FFF2-40B4-BE49-F238E27FC236}">
                <a16:creationId xmlns:a16="http://schemas.microsoft.com/office/drawing/2014/main" xmlns="" id="{8CA96945-48B8-4865-A9A8-6B038273E145}"/>
              </a:ext>
            </a:extLst>
          </p:cNvPr>
          <p:cNvSpPr>
            <a:spLocks/>
          </p:cNvSpPr>
          <p:nvPr/>
        </p:nvSpPr>
        <p:spPr bwMode="auto">
          <a:xfrm>
            <a:off x="4558276" y="2214373"/>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41" name="Oval 131">
            <a:extLst>
              <a:ext uri="{FF2B5EF4-FFF2-40B4-BE49-F238E27FC236}">
                <a16:creationId xmlns:a16="http://schemas.microsoft.com/office/drawing/2014/main" xmlns="" id="{9FE58AD6-080F-44D0-BA7D-3730E4659E92}"/>
              </a:ext>
            </a:extLst>
          </p:cNvPr>
          <p:cNvSpPr>
            <a:spLocks noChangeArrowheads="1"/>
          </p:cNvSpPr>
          <p:nvPr/>
        </p:nvSpPr>
        <p:spPr bwMode="auto">
          <a:xfrm>
            <a:off x="4597392" y="2245968"/>
            <a:ext cx="528090" cy="528090"/>
          </a:xfrm>
          <a:prstGeom prst="ellipse">
            <a:avLst/>
          </a:pr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42" name="Freeform 137">
            <a:extLst>
              <a:ext uri="{FF2B5EF4-FFF2-40B4-BE49-F238E27FC236}">
                <a16:creationId xmlns:a16="http://schemas.microsoft.com/office/drawing/2014/main" xmlns="" id="{3046382E-911D-47C7-BE94-EC01FAA4E36E}"/>
              </a:ext>
            </a:extLst>
          </p:cNvPr>
          <p:cNvSpPr>
            <a:spLocks/>
          </p:cNvSpPr>
          <p:nvPr/>
        </p:nvSpPr>
        <p:spPr bwMode="auto">
          <a:xfrm>
            <a:off x="8439911" y="2214373"/>
            <a:ext cx="3573253" cy="591280"/>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rgbClr val="C01F75"/>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43" name="Oval 138">
            <a:extLst>
              <a:ext uri="{FF2B5EF4-FFF2-40B4-BE49-F238E27FC236}">
                <a16:creationId xmlns:a16="http://schemas.microsoft.com/office/drawing/2014/main" xmlns="" id="{A398E7CD-115D-40BD-A720-6F7C8B9077BF}"/>
              </a:ext>
            </a:extLst>
          </p:cNvPr>
          <p:cNvSpPr>
            <a:spLocks noChangeArrowheads="1"/>
          </p:cNvSpPr>
          <p:nvPr/>
        </p:nvSpPr>
        <p:spPr bwMode="auto">
          <a:xfrm>
            <a:off x="11445956" y="2245968"/>
            <a:ext cx="528090" cy="528090"/>
          </a:xfrm>
          <a:prstGeom prst="ellipse">
            <a:avLst/>
          </a:prstGeom>
          <a:solidFill>
            <a:srgbClr val="E64D92"/>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44" name="Rectangle 53">
            <a:extLst>
              <a:ext uri="{FF2B5EF4-FFF2-40B4-BE49-F238E27FC236}">
                <a16:creationId xmlns:a16="http://schemas.microsoft.com/office/drawing/2014/main" xmlns="" id="{45FB22D1-FED4-4FA4-AB06-5F71A50B4817}"/>
              </a:ext>
            </a:extLst>
          </p:cNvPr>
          <p:cNvSpPr>
            <a:spLocks/>
          </p:cNvSpPr>
          <p:nvPr/>
        </p:nvSpPr>
        <p:spPr bwMode="auto">
          <a:xfrm>
            <a:off x="11619399" y="2319512"/>
            <a:ext cx="181203"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dirty="0">
                <a:solidFill>
                  <a:schemeClr val="bg1"/>
                </a:solidFill>
                <a:latin typeface="+mj-lt"/>
                <a:ea typeface="Roboto" charset="0"/>
                <a:cs typeface="Roboto" charset="0"/>
                <a:sym typeface="Bebas Neue" charset="0"/>
              </a:rPr>
              <a:t>C</a:t>
            </a:r>
          </a:p>
        </p:txBody>
      </p:sp>
      <p:sp>
        <p:nvSpPr>
          <p:cNvPr id="45" name="TextBox 54">
            <a:extLst>
              <a:ext uri="{FF2B5EF4-FFF2-40B4-BE49-F238E27FC236}">
                <a16:creationId xmlns:a16="http://schemas.microsoft.com/office/drawing/2014/main" xmlns="" id="{85337708-ED36-4EE1-B4C5-6BD8B008220D}"/>
              </a:ext>
            </a:extLst>
          </p:cNvPr>
          <p:cNvSpPr txBox="1"/>
          <p:nvPr/>
        </p:nvSpPr>
        <p:spPr>
          <a:xfrm>
            <a:off x="8523378" y="2350531"/>
            <a:ext cx="2861867" cy="337080"/>
          </a:xfrm>
          <a:prstGeom prst="rect">
            <a:avLst/>
          </a:prstGeom>
          <a:noFill/>
        </p:spPr>
        <p:txBody>
          <a:bodyPr wrap="square" rtlCol="0">
            <a:spAutoFit/>
          </a:bodyPr>
          <a:lstStyle/>
          <a:p>
            <a:pPr algn="r">
              <a:lnSpc>
                <a:spcPts val="1665"/>
              </a:lnSpc>
            </a:pPr>
            <a:r>
              <a:rPr lang="en-GB" sz="2400" dirty="0">
                <a:solidFill>
                  <a:schemeClr val="bg1"/>
                </a:solidFill>
                <a:latin typeface="+mj-lt"/>
                <a:ea typeface="Lato Light" charset="0"/>
                <a:cs typeface="Lato Light" charset="0"/>
              </a:rPr>
              <a:t>Competence</a:t>
            </a:r>
          </a:p>
        </p:txBody>
      </p:sp>
      <p:sp>
        <p:nvSpPr>
          <p:cNvPr id="46" name="TextBox 55">
            <a:extLst>
              <a:ext uri="{FF2B5EF4-FFF2-40B4-BE49-F238E27FC236}">
                <a16:creationId xmlns:a16="http://schemas.microsoft.com/office/drawing/2014/main" xmlns="" id="{57B6EBD7-0033-4902-B265-6EA728BD5531}"/>
              </a:ext>
            </a:extLst>
          </p:cNvPr>
          <p:cNvSpPr txBox="1"/>
          <p:nvPr/>
        </p:nvSpPr>
        <p:spPr>
          <a:xfrm>
            <a:off x="5202237" y="2350532"/>
            <a:ext cx="2861867" cy="337080"/>
          </a:xfrm>
          <a:prstGeom prst="rect">
            <a:avLst/>
          </a:prstGeom>
          <a:noFill/>
        </p:spPr>
        <p:txBody>
          <a:bodyPr wrap="square" rtlCol="0">
            <a:spAutoFit/>
          </a:bodyPr>
          <a:lstStyle/>
          <a:p>
            <a:pPr>
              <a:lnSpc>
                <a:spcPts val="1665"/>
              </a:lnSpc>
            </a:pPr>
            <a:r>
              <a:rPr lang="en-GB" sz="2400" dirty="0">
                <a:solidFill>
                  <a:schemeClr val="bg1"/>
                </a:solidFill>
                <a:latin typeface="+mj-lt"/>
                <a:ea typeface="Lato Light" charset="0"/>
                <a:cs typeface="Lato Light" charset="0"/>
              </a:rPr>
              <a:t>Commitment</a:t>
            </a:r>
          </a:p>
        </p:txBody>
      </p:sp>
      <p:sp>
        <p:nvSpPr>
          <p:cNvPr id="47" name="Rectangle 56">
            <a:extLst>
              <a:ext uri="{FF2B5EF4-FFF2-40B4-BE49-F238E27FC236}">
                <a16:creationId xmlns:a16="http://schemas.microsoft.com/office/drawing/2014/main" xmlns="" id="{251C6594-2DDC-42F2-A1D3-F5B60D37C233}"/>
              </a:ext>
            </a:extLst>
          </p:cNvPr>
          <p:cNvSpPr>
            <a:spLocks/>
          </p:cNvSpPr>
          <p:nvPr/>
        </p:nvSpPr>
        <p:spPr bwMode="auto">
          <a:xfrm>
            <a:off x="4770836" y="2319512"/>
            <a:ext cx="181203"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C</a:t>
            </a:r>
            <a:endParaRPr lang="en-GB" sz="2476" b="1" spc="113" dirty="0">
              <a:solidFill>
                <a:schemeClr val="bg1"/>
              </a:solidFill>
              <a:latin typeface="+mj-lt"/>
              <a:ea typeface="Roboto" charset="0"/>
              <a:cs typeface="Roboto" charset="0"/>
              <a:sym typeface="Bebas Neue" charset="0"/>
            </a:endParaRPr>
          </a:p>
        </p:txBody>
      </p:sp>
      <p:sp>
        <p:nvSpPr>
          <p:cNvPr id="48" name="Freeform 130">
            <a:extLst>
              <a:ext uri="{FF2B5EF4-FFF2-40B4-BE49-F238E27FC236}">
                <a16:creationId xmlns:a16="http://schemas.microsoft.com/office/drawing/2014/main" xmlns="" id="{68F2287A-DA4A-4413-980B-E7A007E9D024}"/>
              </a:ext>
            </a:extLst>
          </p:cNvPr>
          <p:cNvSpPr>
            <a:spLocks/>
          </p:cNvSpPr>
          <p:nvPr/>
        </p:nvSpPr>
        <p:spPr bwMode="auto">
          <a:xfrm>
            <a:off x="4558276" y="3126222"/>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49" name="Oval 131">
            <a:extLst>
              <a:ext uri="{FF2B5EF4-FFF2-40B4-BE49-F238E27FC236}">
                <a16:creationId xmlns:a16="http://schemas.microsoft.com/office/drawing/2014/main" xmlns="" id="{0C30B8B7-3C8B-4772-A577-48DAA58BAAE6}"/>
              </a:ext>
            </a:extLst>
          </p:cNvPr>
          <p:cNvSpPr>
            <a:spLocks noChangeArrowheads="1"/>
          </p:cNvSpPr>
          <p:nvPr/>
        </p:nvSpPr>
        <p:spPr bwMode="auto">
          <a:xfrm>
            <a:off x="4597392" y="3157817"/>
            <a:ext cx="528090" cy="528090"/>
          </a:xfrm>
          <a:prstGeom prst="ellipse">
            <a:avLst/>
          </a:pr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50" name="Freeform 137">
            <a:extLst>
              <a:ext uri="{FF2B5EF4-FFF2-40B4-BE49-F238E27FC236}">
                <a16:creationId xmlns:a16="http://schemas.microsoft.com/office/drawing/2014/main" xmlns="" id="{B9CC6D86-FC27-43A0-9B07-B3F7283334F9}"/>
              </a:ext>
            </a:extLst>
          </p:cNvPr>
          <p:cNvSpPr>
            <a:spLocks/>
          </p:cNvSpPr>
          <p:nvPr/>
        </p:nvSpPr>
        <p:spPr bwMode="auto">
          <a:xfrm>
            <a:off x="8439911" y="3126222"/>
            <a:ext cx="3573253" cy="591280"/>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51" name="Oval 138">
            <a:extLst>
              <a:ext uri="{FF2B5EF4-FFF2-40B4-BE49-F238E27FC236}">
                <a16:creationId xmlns:a16="http://schemas.microsoft.com/office/drawing/2014/main" xmlns="" id="{110290E8-0292-4B1B-BD92-61A8208CF73A}"/>
              </a:ext>
            </a:extLst>
          </p:cNvPr>
          <p:cNvSpPr>
            <a:spLocks noChangeArrowheads="1"/>
          </p:cNvSpPr>
          <p:nvPr/>
        </p:nvSpPr>
        <p:spPr bwMode="auto">
          <a:xfrm>
            <a:off x="11445956" y="3157818"/>
            <a:ext cx="528090" cy="528090"/>
          </a:xfrm>
          <a:prstGeom prst="ellipse">
            <a:avLst/>
          </a:prstGeom>
          <a:solidFill>
            <a:schemeClr val="accent4">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52" name="Rectangle 83">
            <a:extLst>
              <a:ext uri="{FF2B5EF4-FFF2-40B4-BE49-F238E27FC236}">
                <a16:creationId xmlns:a16="http://schemas.microsoft.com/office/drawing/2014/main" xmlns="" id="{532756E7-DB03-4C85-A6BB-2E83C4BCECB7}"/>
              </a:ext>
            </a:extLst>
          </p:cNvPr>
          <p:cNvSpPr>
            <a:spLocks/>
          </p:cNvSpPr>
          <p:nvPr/>
        </p:nvSpPr>
        <p:spPr bwMode="auto">
          <a:xfrm>
            <a:off x="11619399" y="3231361"/>
            <a:ext cx="181203"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C</a:t>
            </a:r>
            <a:endParaRPr lang="en-GB" sz="2476" b="1" spc="113" dirty="0">
              <a:solidFill>
                <a:schemeClr val="bg1"/>
              </a:solidFill>
              <a:latin typeface="+mj-lt"/>
              <a:ea typeface="Roboto" charset="0"/>
              <a:cs typeface="Roboto" charset="0"/>
              <a:sym typeface="Bebas Neue" charset="0"/>
            </a:endParaRPr>
          </a:p>
        </p:txBody>
      </p:sp>
      <p:sp>
        <p:nvSpPr>
          <p:cNvPr id="53" name="TextBox 84">
            <a:extLst>
              <a:ext uri="{FF2B5EF4-FFF2-40B4-BE49-F238E27FC236}">
                <a16:creationId xmlns:a16="http://schemas.microsoft.com/office/drawing/2014/main" xmlns="" id="{58F24E93-DDE1-47B9-A6C5-929915918BB6}"/>
              </a:ext>
            </a:extLst>
          </p:cNvPr>
          <p:cNvSpPr txBox="1"/>
          <p:nvPr/>
        </p:nvSpPr>
        <p:spPr>
          <a:xfrm>
            <a:off x="8523378" y="3262382"/>
            <a:ext cx="2861867" cy="337080"/>
          </a:xfrm>
          <a:prstGeom prst="rect">
            <a:avLst/>
          </a:prstGeom>
          <a:noFill/>
        </p:spPr>
        <p:txBody>
          <a:bodyPr wrap="square" rtlCol="0">
            <a:spAutoFit/>
          </a:bodyPr>
          <a:lstStyle/>
          <a:p>
            <a:pPr algn="r">
              <a:lnSpc>
                <a:spcPts val="1665"/>
              </a:lnSpc>
            </a:pPr>
            <a:r>
              <a:rPr lang="en-GB" sz="2400" dirty="0">
                <a:solidFill>
                  <a:schemeClr val="bg1"/>
                </a:solidFill>
                <a:latin typeface="+mj-lt"/>
                <a:ea typeface="Lato Light" charset="0"/>
                <a:cs typeface="Lato Light" charset="0"/>
              </a:rPr>
              <a:t>Communication</a:t>
            </a:r>
          </a:p>
        </p:txBody>
      </p:sp>
      <p:sp>
        <p:nvSpPr>
          <p:cNvPr id="54" name="TextBox 85">
            <a:extLst>
              <a:ext uri="{FF2B5EF4-FFF2-40B4-BE49-F238E27FC236}">
                <a16:creationId xmlns:a16="http://schemas.microsoft.com/office/drawing/2014/main" xmlns="" id="{D08E4C6D-3E6D-4DDE-8827-74D951FA897F}"/>
              </a:ext>
            </a:extLst>
          </p:cNvPr>
          <p:cNvSpPr txBox="1"/>
          <p:nvPr/>
        </p:nvSpPr>
        <p:spPr>
          <a:xfrm>
            <a:off x="5202237" y="3262382"/>
            <a:ext cx="2861867" cy="337080"/>
          </a:xfrm>
          <a:prstGeom prst="rect">
            <a:avLst/>
          </a:prstGeom>
          <a:noFill/>
        </p:spPr>
        <p:txBody>
          <a:bodyPr wrap="square" rtlCol="0">
            <a:spAutoFit/>
          </a:bodyPr>
          <a:lstStyle/>
          <a:p>
            <a:pPr>
              <a:lnSpc>
                <a:spcPts val="1665"/>
              </a:lnSpc>
            </a:pPr>
            <a:r>
              <a:rPr lang="en-GB" sz="2400" dirty="0">
                <a:solidFill>
                  <a:schemeClr val="bg1"/>
                </a:solidFill>
                <a:latin typeface="+mj-lt"/>
                <a:ea typeface="Lato Light" charset="0"/>
                <a:cs typeface="Lato Light" charset="0"/>
              </a:rPr>
              <a:t>Credibility</a:t>
            </a:r>
          </a:p>
        </p:txBody>
      </p:sp>
      <p:sp>
        <p:nvSpPr>
          <p:cNvPr id="55" name="Rectangle 86">
            <a:extLst>
              <a:ext uri="{FF2B5EF4-FFF2-40B4-BE49-F238E27FC236}">
                <a16:creationId xmlns:a16="http://schemas.microsoft.com/office/drawing/2014/main" xmlns="" id="{9138EF7F-280E-4FD7-A26D-FB617EBC2C41}"/>
              </a:ext>
            </a:extLst>
          </p:cNvPr>
          <p:cNvSpPr>
            <a:spLocks/>
          </p:cNvSpPr>
          <p:nvPr/>
        </p:nvSpPr>
        <p:spPr bwMode="auto">
          <a:xfrm>
            <a:off x="4770836" y="3231361"/>
            <a:ext cx="181203"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C</a:t>
            </a:r>
            <a:endParaRPr lang="en-GB" sz="2476" b="1" spc="113" dirty="0">
              <a:solidFill>
                <a:schemeClr val="bg1"/>
              </a:solidFill>
              <a:latin typeface="+mj-lt"/>
              <a:ea typeface="Roboto" charset="0"/>
              <a:cs typeface="Roboto" charset="0"/>
              <a:sym typeface="Bebas Neue" charset="0"/>
            </a:endParaRPr>
          </a:p>
        </p:txBody>
      </p:sp>
      <p:sp>
        <p:nvSpPr>
          <p:cNvPr id="56" name="Freeform 130">
            <a:extLst>
              <a:ext uri="{FF2B5EF4-FFF2-40B4-BE49-F238E27FC236}">
                <a16:creationId xmlns:a16="http://schemas.microsoft.com/office/drawing/2014/main" xmlns="" id="{EA123E0C-7DBB-4409-B940-92BD10926DD1}"/>
              </a:ext>
            </a:extLst>
          </p:cNvPr>
          <p:cNvSpPr>
            <a:spLocks/>
          </p:cNvSpPr>
          <p:nvPr/>
        </p:nvSpPr>
        <p:spPr bwMode="auto">
          <a:xfrm>
            <a:off x="4558276" y="4942860"/>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57" name="Oval 131">
            <a:extLst>
              <a:ext uri="{FF2B5EF4-FFF2-40B4-BE49-F238E27FC236}">
                <a16:creationId xmlns:a16="http://schemas.microsoft.com/office/drawing/2014/main" xmlns="" id="{8570583F-3C2F-4C5B-92DC-92D42C82EA22}"/>
              </a:ext>
            </a:extLst>
          </p:cNvPr>
          <p:cNvSpPr>
            <a:spLocks noChangeArrowheads="1"/>
          </p:cNvSpPr>
          <p:nvPr/>
        </p:nvSpPr>
        <p:spPr bwMode="auto">
          <a:xfrm>
            <a:off x="4597392" y="4974455"/>
            <a:ext cx="528090" cy="528090"/>
          </a:xfrm>
          <a:prstGeom prst="ellipse">
            <a:avLst/>
          </a:prstGeom>
          <a:solidFill>
            <a:schemeClr val="accent2">
              <a:lumMod val="50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58" name="TextBox 41">
            <a:extLst>
              <a:ext uri="{FF2B5EF4-FFF2-40B4-BE49-F238E27FC236}">
                <a16:creationId xmlns:a16="http://schemas.microsoft.com/office/drawing/2014/main" xmlns="" id="{284753B5-721B-4CB7-835D-DC6529F22BE8}"/>
              </a:ext>
            </a:extLst>
          </p:cNvPr>
          <p:cNvSpPr txBox="1"/>
          <p:nvPr/>
        </p:nvSpPr>
        <p:spPr>
          <a:xfrm>
            <a:off x="5202237" y="5079020"/>
            <a:ext cx="2861867" cy="337080"/>
          </a:xfrm>
          <a:prstGeom prst="rect">
            <a:avLst/>
          </a:prstGeom>
          <a:noFill/>
        </p:spPr>
        <p:txBody>
          <a:bodyPr wrap="square" rtlCol="0">
            <a:spAutoFit/>
          </a:bodyPr>
          <a:lstStyle/>
          <a:p>
            <a:pPr>
              <a:lnSpc>
                <a:spcPts val="1665"/>
              </a:lnSpc>
            </a:pPr>
            <a:r>
              <a:rPr lang="en-GB" sz="2400" dirty="0">
                <a:solidFill>
                  <a:schemeClr val="bg1"/>
                </a:solidFill>
                <a:latin typeface="+mj-lt"/>
                <a:ea typeface="Lato Light" charset="0"/>
                <a:cs typeface="Lato Light" charset="0"/>
              </a:rPr>
              <a:t>Closer</a:t>
            </a:r>
          </a:p>
        </p:txBody>
      </p:sp>
      <p:sp>
        <p:nvSpPr>
          <p:cNvPr id="59" name="Rectangle 43">
            <a:extLst>
              <a:ext uri="{FF2B5EF4-FFF2-40B4-BE49-F238E27FC236}">
                <a16:creationId xmlns:a16="http://schemas.microsoft.com/office/drawing/2014/main" xmlns="" id="{E0085E8A-FFD3-4358-8E5A-C9D55C259F0A}"/>
              </a:ext>
            </a:extLst>
          </p:cNvPr>
          <p:cNvSpPr>
            <a:spLocks/>
          </p:cNvSpPr>
          <p:nvPr/>
        </p:nvSpPr>
        <p:spPr bwMode="auto">
          <a:xfrm>
            <a:off x="4770836" y="5047999"/>
            <a:ext cx="181203"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C</a:t>
            </a:r>
            <a:endParaRPr lang="en-GB" sz="2476" b="1" spc="113" dirty="0">
              <a:solidFill>
                <a:schemeClr val="bg1"/>
              </a:solidFill>
              <a:latin typeface="+mj-lt"/>
              <a:ea typeface="Roboto" charset="0"/>
              <a:cs typeface="Roboto" charset="0"/>
              <a:sym typeface="Bebas Neue" charset="0"/>
            </a:endParaRPr>
          </a:p>
        </p:txBody>
      </p:sp>
    </p:spTree>
    <p:extLst>
      <p:ext uri="{BB962C8B-B14F-4D97-AF65-F5344CB8AC3E}">
        <p14:creationId xmlns:p14="http://schemas.microsoft.com/office/powerpoint/2010/main" val="16260656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385554" y="3114913"/>
            <a:ext cx="9821959" cy="1582271"/>
          </a:xfrm>
        </p:spPr>
        <p:txBody>
          <a:bodyPr/>
          <a:lstStyle/>
          <a:p>
            <a:r>
              <a:rPr lang="en-GB" dirty="0"/>
              <a:t>Business Crisis Communication</a:t>
            </a:r>
          </a:p>
        </p:txBody>
      </p:sp>
    </p:spTree>
    <p:extLst>
      <p:ext uri="{BB962C8B-B14F-4D97-AF65-F5344CB8AC3E}">
        <p14:creationId xmlns:p14="http://schemas.microsoft.com/office/powerpoint/2010/main" val="164180792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41062" y="580704"/>
            <a:ext cx="8852375" cy="697353"/>
          </a:xfrm>
        </p:spPr>
        <p:txBody>
          <a:bodyPr>
            <a:normAutofit fontScale="92500"/>
          </a:bodyPr>
          <a:lstStyle/>
          <a:p>
            <a:r>
              <a:rPr lang="en-GB"/>
              <a:t>Purpose of Stakeholder Communication in Crisis</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39190" y="2607756"/>
            <a:ext cx="2951516" cy="24522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The purpose of crisis communication in and by organizations is to motivate stakeholders to participate in working on the recovery of the company</a:t>
            </a:r>
            <a:endParaRPr lang="en-GB" sz="2200" dirty="0">
              <a:latin typeface="+mj-lt"/>
              <a:sym typeface="Wingdings" panose="05000000000000000000" pitchFamily="2" charset="2"/>
            </a:endParaRPr>
          </a:p>
        </p:txBody>
      </p:sp>
      <p:cxnSp>
        <p:nvCxnSpPr>
          <p:cNvPr id="22" name="Straight Arrow Connector 24">
            <a:extLst>
              <a:ext uri="{FF2B5EF4-FFF2-40B4-BE49-F238E27FC236}">
                <a16:creationId xmlns:a16="http://schemas.microsoft.com/office/drawing/2014/main" xmlns="" id="{23B1E983-B502-4ACE-BD3F-8157C6DA6A62}"/>
              </a:ext>
            </a:extLst>
          </p:cNvPr>
          <p:cNvCxnSpPr>
            <a:cxnSpLocks/>
          </p:cNvCxnSpPr>
          <p:nvPr/>
        </p:nvCxnSpPr>
        <p:spPr>
          <a:xfrm flipH="1">
            <a:off x="5224440" y="4776900"/>
            <a:ext cx="1285621" cy="0"/>
          </a:xfrm>
          <a:prstGeom prst="straightConnector1">
            <a:avLst/>
          </a:prstGeom>
          <a:ln w="38100" cap="rnd">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3" name="Straight Arrow Connector 25">
            <a:extLst>
              <a:ext uri="{FF2B5EF4-FFF2-40B4-BE49-F238E27FC236}">
                <a16:creationId xmlns:a16="http://schemas.microsoft.com/office/drawing/2014/main" xmlns="" id="{113BCA72-F3F7-4EC4-A9B5-9AFD2B467626}"/>
              </a:ext>
            </a:extLst>
          </p:cNvPr>
          <p:cNvCxnSpPr>
            <a:cxnSpLocks/>
          </p:cNvCxnSpPr>
          <p:nvPr/>
        </p:nvCxnSpPr>
        <p:spPr>
          <a:xfrm flipH="1">
            <a:off x="5224439" y="3907086"/>
            <a:ext cx="1787620" cy="0"/>
          </a:xfrm>
          <a:prstGeom prst="straightConnector1">
            <a:avLst/>
          </a:prstGeom>
          <a:ln w="38100" cap="rnd">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24" name="Straight Arrow Connector 26">
            <a:extLst>
              <a:ext uri="{FF2B5EF4-FFF2-40B4-BE49-F238E27FC236}">
                <a16:creationId xmlns:a16="http://schemas.microsoft.com/office/drawing/2014/main" xmlns="" id="{34D13C73-3DC9-4FC9-8FDE-480C471C93DB}"/>
              </a:ext>
            </a:extLst>
          </p:cNvPr>
          <p:cNvCxnSpPr>
            <a:cxnSpLocks/>
          </p:cNvCxnSpPr>
          <p:nvPr/>
        </p:nvCxnSpPr>
        <p:spPr>
          <a:xfrm flipH="1">
            <a:off x="5224440" y="3040865"/>
            <a:ext cx="2286025" cy="0"/>
          </a:xfrm>
          <a:prstGeom prst="straightConnector1">
            <a:avLst/>
          </a:prstGeom>
          <a:ln w="38100" cap="rnd">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25" name="Freeform 12">
            <a:extLst>
              <a:ext uri="{FF2B5EF4-FFF2-40B4-BE49-F238E27FC236}">
                <a16:creationId xmlns:a16="http://schemas.microsoft.com/office/drawing/2014/main" xmlns="" id="{C576C5EA-BB87-4893-8C52-ACF6A8A401B3}"/>
              </a:ext>
            </a:extLst>
          </p:cNvPr>
          <p:cNvSpPr>
            <a:spLocks/>
          </p:cNvSpPr>
          <p:nvPr/>
        </p:nvSpPr>
        <p:spPr bwMode="auto">
          <a:xfrm>
            <a:off x="5764626" y="4776900"/>
            <a:ext cx="1001603" cy="866218"/>
          </a:xfrm>
          <a:custGeom>
            <a:avLst/>
            <a:gdLst>
              <a:gd name="T0" fmla="*/ 419 w 836"/>
              <a:gd name="T1" fmla="*/ 723 h 723"/>
              <a:gd name="T2" fmla="*/ 0 w 836"/>
              <a:gd name="T3" fmla="*/ 0 h 723"/>
              <a:gd name="T4" fmla="*/ 836 w 836"/>
              <a:gd name="T5" fmla="*/ 0 h 723"/>
              <a:gd name="T6" fmla="*/ 419 w 836"/>
              <a:gd name="T7" fmla="*/ 723 h 723"/>
              <a:gd name="T8" fmla="*/ 419 w 836"/>
              <a:gd name="T9" fmla="*/ 723 h 723"/>
            </a:gdLst>
            <a:ahLst/>
            <a:cxnLst>
              <a:cxn ang="0">
                <a:pos x="T0" y="T1"/>
              </a:cxn>
              <a:cxn ang="0">
                <a:pos x="T2" y="T3"/>
              </a:cxn>
              <a:cxn ang="0">
                <a:pos x="T4" y="T5"/>
              </a:cxn>
              <a:cxn ang="0">
                <a:pos x="T6" y="T7"/>
              </a:cxn>
              <a:cxn ang="0">
                <a:pos x="T8" y="T9"/>
              </a:cxn>
            </a:cxnLst>
            <a:rect l="0" t="0" r="r" b="b"/>
            <a:pathLst>
              <a:path w="836" h="723">
                <a:moveTo>
                  <a:pt x="419" y="723"/>
                </a:moveTo>
                <a:lnTo>
                  <a:pt x="0" y="0"/>
                </a:lnTo>
                <a:lnTo>
                  <a:pt x="836" y="0"/>
                </a:lnTo>
                <a:lnTo>
                  <a:pt x="419" y="723"/>
                </a:lnTo>
                <a:lnTo>
                  <a:pt x="419" y="723"/>
                </a:lnTo>
                <a:close/>
              </a:path>
            </a:pathLst>
          </a:custGeom>
          <a:solidFill>
            <a:schemeClr val="accent1">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35" name="Freeform 10">
            <a:extLst>
              <a:ext uri="{FF2B5EF4-FFF2-40B4-BE49-F238E27FC236}">
                <a16:creationId xmlns:a16="http://schemas.microsoft.com/office/drawing/2014/main" xmlns="" id="{39D93367-9916-4062-BA2A-B3175486CF9C}"/>
              </a:ext>
            </a:extLst>
          </p:cNvPr>
          <p:cNvSpPr>
            <a:spLocks/>
          </p:cNvSpPr>
          <p:nvPr/>
        </p:nvSpPr>
        <p:spPr bwMode="auto">
          <a:xfrm>
            <a:off x="6766228" y="4776900"/>
            <a:ext cx="999207" cy="866218"/>
          </a:xfrm>
          <a:custGeom>
            <a:avLst/>
            <a:gdLst>
              <a:gd name="T0" fmla="*/ 417 w 834"/>
              <a:gd name="T1" fmla="*/ 723 h 723"/>
              <a:gd name="T2" fmla="*/ 0 w 834"/>
              <a:gd name="T3" fmla="*/ 0 h 723"/>
              <a:gd name="T4" fmla="*/ 834 w 834"/>
              <a:gd name="T5" fmla="*/ 0 h 723"/>
              <a:gd name="T6" fmla="*/ 417 w 834"/>
              <a:gd name="T7" fmla="*/ 723 h 723"/>
              <a:gd name="T8" fmla="*/ 417 w 834"/>
              <a:gd name="T9" fmla="*/ 723 h 723"/>
            </a:gdLst>
            <a:ahLst/>
            <a:cxnLst>
              <a:cxn ang="0">
                <a:pos x="T0" y="T1"/>
              </a:cxn>
              <a:cxn ang="0">
                <a:pos x="T2" y="T3"/>
              </a:cxn>
              <a:cxn ang="0">
                <a:pos x="T4" y="T5"/>
              </a:cxn>
              <a:cxn ang="0">
                <a:pos x="T6" y="T7"/>
              </a:cxn>
              <a:cxn ang="0">
                <a:pos x="T8" y="T9"/>
              </a:cxn>
            </a:cxnLst>
            <a:rect l="0" t="0" r="r" b="b"/>
            <a:pathLst>
              <a:path w="834" h="723">
                <a:moveTo>
                  <a:pt x="417" y="723"/>
                </a:moveTo>
                <a:lnTo>
                  <a:pt x="0" y="0"/>
                </a:lnTo>
                <a:lnTo>
                  <a:pt x="834" y="0"/>
                </a:lnTo>
                <a:lnTo>
                  <a:pt x="417" y="723"/>
                </a:lnTo>
                <a:lnTo>
                  <a:pt x="417" y="723"/>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36" name="Freeform 6">
            <a:extLst>
              <a:ext uri="{FF2B5EF4-FFF2-40B4-BE49-F238E27FC236}">
                <a16:creationId xmlns:a16="http://schemas.microsoft.com/office/drawing/2014/main" xmlns="" id="{033FB6B4-166A-4A90-9477-3736ED6FECA0}"/>
              </a:ext>
            </a:extLst>
          </p:cNvPr>
          <p:cNvSpPr>
            <a:spLocks/>
          </p:cNvSpPr>
          <p:nvPr/>
        </p:nvSpPr>
        <p:spPr bwMode="auto">
          <a:xfrm>
            <a:off x="6266625" y="3040868"/>
            <a:ext cx="999207" cy="866219"/>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37" name="Freeform 7">
            <a:extLst>
              <a:ext uri="{FF2B5EF4-FFF2-40B4-BE49-F238E27FC236}">
                <a16:creationId xmlns:a16="http://schemas.microsoft.com/office/drawing/2014/main" xmlns="" id="{29EE71F6-FB5E-4CE3-9D13-5B53ED78A7E6}"/>
              </a:ext>
            </a:extLst>
          </p:cNvPr>
          <p:cNvSpPr>
            <a:spLocks/>
          </p:cNvSpPr>
          <p:nvPr/>
        </p:nvSpPr>
        <p:spPr bwMode="auto">
          <a:xfrm>
            <a:off x="6266625" y="3907088"/>
            <a:ext cx="999207" cy="869813"/>
          </a:xfrm>
          <a:custGeom>
            <a:avLst/>
            <a:gdLst>
              <a:gd name="T0" fmla="*/ 417 w 834"/>
              <a:gd name="T1" fmla="*/ 726 h 726"/>
              <a:gd name="T2" fmla="*/ 0 w 834"/>
              <a:gd name="T3" fmla="*/ 0 h 726"/>
              <a:gd name="T4" fmla="*/ 834 w 834"/>
              <a:gd name="T5" fmla="*/ 0 h 726"/>
              <a:gd name="T6" fmla="*/ 417 w 834"/>
              <a:gd name="T7" fmla="*/ 726 h 726"/>
              <a:gd name="T8" fmla="*/ 417 w 834"/>
              <a:gd name="T9" fmla="*/ 726 h 726"/>
            </a:gdLst>
            <a:ahLst/>
            <a:cxnLst>
              <a:cxn ang="0">
                <a:pos x="T0" y="T1"/>
              </a:cxn>
              <a:cxn ang="0">
                <a:pos x="T2" y="T3"/>
              </a:cxn>
              <a:cxn ang="0">
                <a:pos x="T4" y="T5"/>
              </a:cxn>
              <a:cxn ang="0">
                <a:pos x="T6" y="T7"/>
              </a:cxn>
              <a:cxn ang="0">
                <a:pos x="T8" y="T9"/>
              </a:cxn>
            </a:cxnLst>
            <a:rect l="0" t="0" r="r" b="b"/>
            <a:pathLst>
              <a:path w="834" h="726">
                <a:moveTo>
                  <a:pt x="417" y="726"/>
                </a:moveTo>
                <a:lnTo>
                  <a:pt x="0" y="0"/>
                </a:lnTo>
                <a:lnTo>
                  <a:pt x="834" y="0"/>
                </a:lnTo>
                <a:lnTo>
                  <a:pt x="417" y="726"/>
                </a:lnTo>
                <a:lnTo>
                  <a:pt x="417" y="726"/>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39" name="Freeform 13">
            <a:extLst>
              <a:ext uri="{FF2B5EF4-FFF2-40B4-BE49-F238E27FC236}">
                <a16:creationId xmlns:a16="http://schemas.microsoft.com/office/drawing/2014/main" xmlns="" id="{54BDB51D-CF3B-4D19-9F2F-B36952D5DF43}"/>
              </a:ext>
            </a:extLst>
          </p:cNvPr>
          <p:cNvSpPr>
            <a:spLocks/>
          </p:cNvSpPr>
          <p:nvPr/>
        </p:nvSpPr>
        <p:spPr bwMode="auto">
          <a:xfrm>
            <a:off x="5764626" y="3907088"/>
            <a:ext cx="1001603" cy="869813"/>
          </a:xfrm>
          <a:custGeom>
            <a:avLst/>
            <a:gdLst>
              <a:gd name="T0" fmla="*/ 419 w 836"/>
              <a:gd name="T1" fmla="*/ 0 h 726"/>
              <a:gd name="T2" fmla="*/ 0 w 836"/>
              <a:gd name="T3" fmla="*/ 726 h 726"/>
              <a:gd name="T4" fmla="*/ 836 w 836"/>
              <a:gd name="T5" fmla="*/ 726 h 726"/>
              <a:gd name="T6" fmla="*/ 419 w 836"/>
              <a:gd name="T7" fmla="*/ 0 h 726"/>
              <a:gd name="T8" fmla="*/ 419 w 836"/>
              <a:gd name="T9" fmla="*/ 0 h 726"/>
            </a:gdLst>
            <a:ahLst/>
            <a:cxnLst>
              <a:cxn ang="0">
                <a:pos x="T0" y="T1"/>
              </a:cxn>
              <a:cxn ang="0">
                <a:pos x="T2" y="T3"/>
              </a:cxn>
              <a:cxn ang="0">
                <a:pos x="T4" y="T5"/>
              </a:cxn>
              <a:cxn ang="0">
                <a:pos x="T6" y="T7"/>
              </a:cxn>
              <a:cxn ang="0">
                <a:pos x="T8" y="T9"/>
              </a:cxn>
            </a:cxnLst>
            <a:rect l="0" t="0" r="r" b="b"/>
            <a:pathLst>
              <a:path w="836" h="726">
                <a:moveTo>
                  <a:pt x="419" y="0"/>
                </a:moveTo>
                <a:lnTo>
                  <a:pt x="0" y="726"/>
                </a:lnTo>
                <a:lnTo>
                  <a:pt x="836" y="726"/>
                </a:lnTo>
                <a:lnTo>
                  <a:pt x="419" y="0"/>
                </a:lnTo>
                <a:lnTo>
                  <a:pt x="419"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40" name="Freeform 7">
            <a:extLst>
              <a:ext uri="{FF2B5EF4-FFF2-40B4-BE49-F238E27FC236}">
                <a16:creationId xmlns:a16="http://schemas.microsoft.com/office/drawing/2014/main" xmlns="" id="{D1AF4B8A-A492-44D6-8C75-C61041602FE6}"/>
              </a:ext>
            </a:extLst>
          </p:cNvPr>
          <p:cNvSpPr>
            <a:spLocks/>
          </p:cNvSpPr>
          <p:nvPr/>
        </p:nvSpPr>
        <p:spPr bwMode="auto">
          <a:xfrm>
            <a:off x="6266625" y="4776900"/>
            <a:ext cx="999207" cy="866218"/>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47" name="Freeform 10">
            <a:extLst>
              <a:ext uri="{FF2B5EF4-FFF2-40B4-BE49-F238E27FC236}">
                <a16:creationId xmlns:a16="http://schemas.microsoft.com/office/drawing/2014/main" xmlns="" id="{98A0821C-C3DB-4693-907E-D95295D6EB95}"/>
              </a:ext>
            </a:extLst>
          </p:cNvPr>
          <p:cNvSpPr>
            <a:spLocks/>
          </p:cNvSpPr>
          <p:nvPr/>
        </p:nvSpPr>
        <p:spPr bwMode="auto">
          <a:xfrm>
            <a:off x="6766228" y="3907088"/>
            <a:ext cx="999207" cy="869813"/>
          </a:xfrm>
          <a:custGeom>
            <a:avLst/>
            <a:gdLst>
              <a:gd name="T0" fmla="*/ 417 w 834"/>
              <a:gd name="T1" fmla="*/ 0 h 726"/>
              <a:gd name="T2" fmla="*/ 0 w 834"/>
              <a:gd name="T3" fmla="*/ 726 h 726"/>
              <a:gd name="T4" fmla="*/ 834 w 834"/>
              <a:gd name="T5" fmla="*/ 726 h 726"/>
              <a:gd name="T6" fmla="*/ 417 w 834"/>
              <a:gd name="T7" fmla="*/ 0 h 726"/>
              <a:gd name="T8" fmla="*/ 417 w 834"/>
              <a:gd name="T9" fmla="*/ 0 h 726"/>
            </a:gdLst>
            <a:ahLst/>
            <a:cxnLst>
              <a:cxn ang="0">
                <a:pos x="T0" y="T1"/>
              </a:cxn>
              <a:cxn ang="0">
                <a:pos x="T2" y="T3"/>
              </a:cxn>
              <a:cxn ang="0">
                <a:pos x="T4" y="T5"/>
              </a:cxn>
              <a:cxn ang="0">
                <a:pos x="T6" y="T7"/>
              </a:cxn>
              <a:cxn ang="0">
                <a:pos x="T8" y="T9"/>
              </a:cxn>
            </a:cxnLst>
            <a:rect l="0" t="0" r="r" b="b"/>
            <a:pathLst>
              <a:path w="834" h="726">
                <a:moveTo>
                  <a:pt x="417" y="0"/>
                </a:moveTo>
                <a:lnTo>
                  <a:pt x="0" y="726"/>
                </a:lnTo>
                <a:lnTo>
                  <a:pt x="834" y="726"/>
                </a:lnTo>
                <a:lnTo>
                  <a:pt x="417" y="0"/>
                </a:lnTo>
                <a:lnTo>
                  <a:pt x="417" y="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48" name="Freeform 5">
            <a:extLst>
              <a:ext uri="{FF2B5EF4-FFF2-40B4-BE49-F238E27FC236}">
                <a16:creationId xmlns:a16="http://schemas.microsoft.com/office/drawing/2014/main" xmlns="" id="{3574ADD6-F4B7-4472-86A6-C4CC6D00853F}"/>
              </a:ext>
            </a:extLst>
          </p:cNvPr>
          <p:cNvSpPr>
            <a:spLocks/>
          </p:cNvSpPr>
          <p:nvPr/>
        </p:nvSpPr>
        <p:spPr bwMode="auto">
          <a:xfrm>
            <a:off x="7265831" y="4776900"/>
            <a:ext cx="1001603" cy="866218"/>
          </a:xfrm>
          <a:custGeom>
            <a:avLst/>
            <a:gdLst>
              <a:gd name="T0" fmla="*/ 417 w 836"/>
              <a:gd name="T1" fmla="*/ 0 h 723"/>
              <a:gd name="T2" fmla="*/ 836 w 836"/>
              <a:gd name="T3" fmla="*/ 723 h 723"/>
              <a:gd name="T4" fmla="*/ 0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836" y="723"/>
                </a:lnTo>
                <a:lnTo>
                  <a:pt x="0" y="723"/>
                </a:lnTo>
                <a:lnTo>
                  <a:pt x="417" y="0"/>
                </a:lnTo>
                <a:lnTo>
                  <a:pt x="417" y="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49" name="Freeform 6">
            <a:extLst>
              <a:ext uri="{FF2B5EF4-FFF2-40B4-BE49-F238E27FC236}">
                <a16:creationId xmlns:a16="http://schemas.microsoft.com/office/drawing/2014/main" xmlns="" id="{1A05528C-219D-4D93-9CE0-057A71D22A34}"/>
              </a:ext>
            </a:extLst>
          </p:cNvPr>
          <p:cNvSpPr>
            <a:spLocks/>
          </p:cNvSpPr>
          <p:nvPr/>
        </p:nvSpPr>
        <p:spPr bwMode="auto">
          <a:xfrm>
            <a:off x="5265022" y="4776900"/>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0" name="Freeform 6">
            <a:extLst>
              <a:ext uri="{FF2B5EF4-FFF2-40B4-BE49-F238E27FC236}">
                <a16:creationId xmlns:a16="http://schemas.microsoft.com/office/drawing/2014/main" xmlns="" id="{7ACDB3FC-6402-4F7C-B220-D7003F4F530C}"/>
              </a:ext>
            </a:extLst>
          </p:cNvPr>
          <p:cNvSpPr>
            <a:spLocks/>
          </p:cNvSpPr>
          <p:nvPr/>
        </p:nvSpPr>
        <p:spPr bwMode="auto">
          <a:xfrm>
            <a:off x="8259414" y="4776900"/>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1" name="Freeform 10">
            <a:extLst>
              <a:ext uri="{FF2B5EF4-FFF2-40B4-BE49-F238E27FC236}">
                <a16:creationId xmlns:a16="http://schemas.microsoft.com/office/drawing/2014/main" xmlns="" id="{A4CDBCE1-CE7A-4938-BE1E-BCC8A4B7193D}"/>
              </a:ext>
            </a:extLst>
          </p:cNvPr>
          <p:cNvSpPr>
            <a:spLocks/>
          </p:cNvSpPr>
          <p:nvPr/>
        </p:nvSpPr>
        <p:spPr bwMode="auto">
          <a:xfrm rot="10800000">
            <a:off x="7265000" y="3040866"/>
            <a:ext cx="999207" cy="866218"/>
          </a:xfrm>
          <a:custGeom>
            <a:avLst/>
            <a:gdLst>
              <a:gd name="T0" fmla="*/ 417 w 834"/>
              <a:gd name="T1" fmla="*/ 723 h 723"/>
              <a:gd name="T2" fmla="*/ 0 w 834"/>
              <a:gd name="T3" fmla="*/ 0 h 723"/>
              <a:gd name="T4" fmla="*/ 834 w 834"/>
              <a:gd name="T5" fmla="*/ 0 h 723"/>
              <a:gd name="T6" fmla="*/ 417 w 834"/>
              <a:gd name="T7" fmla="*/ 723 h 723"/>
              <a:gd name="T8" fmla="*/ 417 w 834"/>
              <a:gd name="T9" fmla="*/ 723 h 723"/>
            </a:gdLst>
            <a:ahLst/>
            <a:cxnLst>
              <a:cxn ang="0">
                <a:pos x="T0" y="T1"/>
              </a:cxn>
              <a:cxn ang="0">
                <a:pos x="T2" y="T3"/>
              </a:cxn>
              <a:cxn ang="0">
                <a:pos x="T4" y="T5"/>
              </a:cxn>
              <a:cxn ang="0">
                <a:pos x="T6" y="T7"/>
              </a:cxn>
              <a:cxn ang="0">
                <a:pos x="T8" y="T9"/>
              </a:cxn>
            </a:cxnLst>
            <a:rect l="0" t="0" r="r" b="b"/>
            <a:pathLst>
              <a:path w="834" h="723">
                <a:moveTo>
                  <a:pt x="417" y="723"/>
                </a:moveTo>
                <a:lnTo>
                  <a:pt x="0" y="0"/>
                </a:lnTo>
                <a:lnTo>
                  <a:pt x="834" y="0"/>
                </a:lnTo>
                <a:lnTo>
                  <a:pt x="417" y="723"/>
                </a:lnTo>
                <a:lnTo>
                  <a:pt x="417" y="723"/>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2" name="Freeform 15">
            <a:extLst>
              <a:ext uri="{FF2B5EF4-FFF2-40B4-BE49-F238E27FC236}">
                <a16:creationId xmlns:a16="http://schemas.microsoft.com/office/drawing/2014/main" xmlns="" id="{2131F6E3-9F91-4FA3-B2D5-DAFE2AA992DC}"/>
              </a:ext>
            </a:extLst>
          </p:cNvPr>
          <p:cNvSpPr>
            <a:spLocks/>
          </p:cNvSpPr>
          <p:nvPr/>
        </p:nvSpPr>
        <p:spPr bwMode="auto">
          <a:xfrm rot="10800000">
            <a:off x="7764605" y="4776899"/>
            <a:ext cx="999207" cy="866219"/>
          </a:xfrm>
          <a:custGeom>
            <a:avLst/>
            <a:gdLst>
              <a:gd name="T0" fmla="*/ 417 w 834"/>
              <a:gd name="T1" fmla="*/ 0 h 723"/>
              <a:gd name="T2" fmla="*/ 0 w 834"/>
              <a:gd name="T3" fmla="*/ 723 h 723"/>
              <a:gd name="T4" fmla="*/ 834 w 834"/>
              <a:gd name="T5" fmla="*/ 723 h 723"/>
              <a:gd name="T6" fmla="*/ 417 w 834"/>
              <a:gd name="T7" fmla="*/ 0 h 723"/>
              <a:gd name="T8" fmla="*/ 417 w 834"/>
              <a:gd name="T9" fmla="*/ 0 h 723"/>
            </a:gdLst>
            <a:ahLst/>
            <a:cxnLst>
              <a:cxn ang="0">
                <a:pos x="T0" y="T1"/>
              </a:cxn>
              <a:cxn ang="0">
                <a:pos x="T2" y="T3"/>
              </a:cxn>
              <a:cxn ang="0">
                <a:pos x="T4" y="T5"/>
              </a:cxn>
              <a:cxn ang="0">
                <a:pos x="T6" y="T7"/>
              </a:cxn>
              <a:cxn ang="0">
                <a:pos x="T8" y="T9"/>
              </a:cxn>
            </a:cxnLst>
            <a:rect l="0" t="0" r="r" b="b"/>
            <a:pathLst>
              <a:path w="834" h="723">
                <a:moveTo>
                  <a:pt x="417" y="0"/>
                </a:moveTo>
                <a:lnTo>
                  <a:pt x="0" y="723"/>
                </a:lnTo>
                <a:lnTo>
                  <a:pt x="834" y="723"/>
                </a:lnTo>
                <a:lnTo>
                  <a:pt x="417" y="0"/>
                </a:lnTo>
                <a:lnTo>
                  <a:pt x="417" y="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3" name="Freeform 16">
            <a:extLst>
              <a:ext uri="{FF2B5EF4-FFF2-40B4-BE49-F238E27FC236}">
                <a16:creationId xmlns:a16="http://schemas.microsoft.com/office/drawing/2014/main" xmlns="" id="{68FE5535-9B35-44E6-97DE-79D6A5B4561B}"/>
              </a:ext>
            </a:extLst>
          </p:cNvPr>
          <p:cNvSpPr>
            <a:spLocks/>
          </p:cNvSpPr>
          <p:nvPr/>
        </p:nvSpPr>
        <p:spPr bwMode="auto">
          <a:xfrm rot="10800000">
            <a:off x="7764605" y="3907086"/>
            <a:ext cx="999207" cy="869813"/>
          </a:xfrm>
          <a:custGeom>
            <a:avLst/>
            <a:gdLst>
              <a:gd name="T0" fmla="*/ 417 w 834"/>
              <a:gd name="T1" fmla="*/ 726 h 726"/>
              <a:gd name="T2" fmla="*/ 0 w 834"/>
              <a:gd name="T3" fmla="*/ 0 h 726"/>
              <a:gd name="T4" fmla="*/ 834 w 834"/>
              <a:gd name="T5" fmla="*/ 0 h 726"/>
              <a:gd name="T6" fmla="*/ 417 w 834"/>
              <a:gd name="T7" fmla="*/ 726 h 726"/>
              <a:gd name="T8" fmla="*/ 417 w 834"/>
              <a:gd name="T9" fmla="*/ 726 h 726"/>
            </a:gdLst>
            <a:ahLst/>
            <a:cxnLst>
              <a:cxn ang="0">
                <a:pos x="T0" y="T1"/>
              </a:cxn>
              <a:cxn ang="0">
                <a:pos x="T2" y="T3"/>
              </a:cxn>
              <a:cxn ang="0">
                <a:pos x="T4" y="T5"/>
              </a:cxn>
              <a:cxn ang="0">
                <a:pos x="T6" y="T7"/>
              </a:cxn>
              <a:cxn ang="0">
                <a:pos x="T8" y="T9"/>
              </a:cxn>
            </a:cxnLst>
            <a:rect l="0" t="0" r="r" b="b"/>
            <a:pathLst>
              <a:path w="834" h="726">
                <a:moveTo>
                  <a:pt x="417" y="726"/>
                </a:moveTo>
                <a:lnTo>
                  <a:pt x="0" y="0"/>
                </a:lnTo>
                <a:lnTo>
                  <a:pt x="834" y="0"/>
                </a:lnTo>
                <a:lnTo>
                  <a:pt x="417" y="726"/>
                </a:lnTo>
                <a:lnTo>
                  <a:pt x="417" y="726"/>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4" name="Freeform 17">
            <a:extLst>
              <a:ext uri="{FF2B5EF4-FFF2-40B4-BE49-F238E27FC236}">
                <a16:creationId xmlns:a16="http://schemas.microsoft.com/office/drawing/2014/main" xmlns="" id="{5C240D4E-2A50-43A4-BE0B-56E398E872C5}"/>
              </a:ext>
            </a:extLst>
          </p:cNvPr>
          <p:cNvSpPr>
            <a:spLocks/>
          </p:cNvSpPr>
          <p:nvPr/>
        </p:nvSpPr>
        <p:spPr bwMode="auto">
          <a:xfrm rot="10800000">
            <a:off x="7265000" y="3907086"/>
            <a:ext cx="999207" cy="869813"/>
          </a:xfrm>
          <a:custGeom>
            <a:avLst/>
            <a:gdLst>
              <a:gd name="T0" fmla="*/ 417 w 834"/>
              <a:gd name="T1" fmla="*/ 0 h 726"/>
              <a:gd name="T2" fmla="*/ 0 w 834"/>
              <a:gd name="T3" fmla="*/ 726 h 726"/>
              <a:gd name="T4" fmla="*/ 834 w 834"/>
              <a:gd name="T5" fmla="*/ 726 h 726"/>
              <a:gd name="T6" fmla="*/ 417 w 834"/>
              <a:gd name="T7" fmla="*/ 0 h 726"/>
              <a:gd name="T8" fmla="*/ 417 w 834"/>
              <a:gd name="T9" fmla="*/ 0 h 726"/>
            </a:gdLst>
            <a:ahLst/>
            <a:cxnLst>
              <a:cxn ang="0">
                <a:pos x="T0" y="T1"/>
              </a:cxn>
              <a:cxn ang="0">
                <a:pos x="T2" y="T3"/>
              </a:cxn>
              <a:cxn ang="0">
                <a:pos x="T4" y="T5"/>
              </a:cxn>
              <a:cxn ang="0">
                <a:pos x="T6" y="T7"/>
              </a:cxn>
              <a:cxn ang="0">
                <a:pos x="T8" y="T9"/>
              </a:cxn>
            </a:cxnLst>
            <a:rect l="0" t="0" r="r" b="b"/>
            <a:pathLst>
              <a:path w="834" h="726">
                <a:moveTo>
                  <a:pt x="417" y="0"/>
                </a:moveTo>
                <a:lnTo>
                  <a:pt x="0" y="726"/>
                </a:lnTo>
                <a:lnTo>
                  <a:pt x="834" y="726"/>
                </a:lnTo>
                <a:lnTo>
                  <a:pt x="417" y="0"/>
                </a:lnTo>
                <a:lnTo>
                  <a:pt x="417" y="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5" name="Freeform 5">
            <a:extLst>
              <a:ext uri="{FF2B5EF4-FFF2-40B4-BE49-F238E27FC236}">
                <a16:creationId xmlns:a16="http://schemas.microsoft.com/office/drawing/2014/main" xmlns="" id="{90111AF4-BF43-4015-9573-496CCC9C16E0}"/>
              </a:ext>
            </a:extLst>
          </p:cNvPr>
          <p:cNvSpPr>
            <a:spLocks/>
          </p:cNvSpPr>
          <p:nvPr/>
        </p:nvSpPr>
        <p:spPr bwMode="auto">
          <a:xfrm rot="10800000">
            <a:off x="6763001" y="3040866"/>
            <a:ext cx="1001603" cy="866218"/>
          </a:xfrm>
          <a:custGeom>
            <a:avLst/>
            <a:gdLst>
              <a:gd name="T0" fmla="*/ 417 w 836"/>
              <a:gd name="T1" fmla="*/ 0 h 723"/>
              <a:gd name="T2" fmla="*/ 836 w 836"/>
              <a:gd name="T3" fmla="*/ 723 h 723"/>
              <a:gd name="T4" fmla="*/ 0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836" y="723"/>
                </a:lnTo>
                <a:lnTo>
                  <a:pt x="0" y="723"/>
                </a:lnTo>
                <a:lnTo>
                  <a:pt x="417" y="0"/>
                </a:lnTo>
                <a:lnTo>
                  <a:pt x="417" y="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6" name="Freeform 6">
            <a:extLst>
              <a:ext uri="{FF2B5EF4-FFF2-40B4-BE49-F238E27FC236}">
                <a16:creationId xmlns:a16="http://schemas.microsoft.com/office/drawing/2014/main" xmlns="" id="{701BA0F7-7987-4907-8EE5-B2EAE6C29EE8}"/>
              </a:ext>
            </a:extLst>
          </p:cNvPr>
          <p:cNvSpPr>
            <a:spLocks/>
          </p:cNvSpPr>
          <p:nvPr/>
        </p:nvSpPr>
        <p:spPr bwMode="auto">
          <a:xfrm>
            <a:off x="6759407" y="2174647"/>
            <a:ext cx="1001603" cy="866218"/>
          </a:xfrm>
          <a:custGeom>
            <a:avLst/>
            <a:gdLst>
              <a:gd name="T0" fmla="*/ 417 w 836"/>
              <a:gd name="T1" fmla="*/ 0 h 723"/>
              <a:gd name="T2" fmla="*/ 0 w 836"/>
              <a:gd name="T3" fmla="*/ 723 h 723"/>
              <a:gd name="T4" fmla="*/ 836 w 836"/>
              <a:gd name="T5" fmla="*/ 723 h 723"/>
              <a:gd name="T6" fmla="*/ 417 w 836"/>
              <a:gd name="T7" fmla="*/ 0 h 723"/>
              <a:gd name="T8" fmla="*/ 417 w 836"/>
              <a:gd name="T9" fmla="*/ 0 h 723"/>
            </a:gdLst>
            <a:ahLst/>
            <a:cxnLst>
              <a:cxn ang="0">
                <a:pos x="T0" y="T1"/>
              </a:cxn>
              <a:cxn ang="0">
                <a:pos x="T2" y="T3"/>
              </a:cxn>
              <a:cxn ang="0">
                <a:pos x="T4" y="T5"/>
              </a:cxn>
              <a:cxn ang="0">
                <a:pos x="T6" y="T7"/>
              </a:cxn>
              <a:cxn ang="0">
                <a:pos x="T8" y="T9"/>
              </a:cxn>
            </a:cxnLst>
            <a:rect l="0" t="0" r="r" b="b"/>
            <a:pathLst>
              <a:path w="836" h="723">
                <a:moveTo>
                  <a:pt x="417" y="0"/>
                </a:moveTo>
                <a:lnTo>
                  <a:pt x="0" y="723"/>
                </a:lnTo>
                <a:lnTo>
                  <a:pt x="836" y="723"/>
                </a:lnTo>
                <a:lnTo>
                  <a:pt x="417" y="0"/>
                </a:lnTo>
                <a:lnTo>
                  <a:pt x="417" y="0"/>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cxnSp>
        <p:nvCxnSpPr>
          <p:cNvPr id="57" name="Straight Arrow Connector 27">
            <a:extLst>
              <a:ext uri="{FF2B5EF4-FFF2-40B4-BE49-F238E27FC236}">
                <a16:creationId xmlns:a16="http://schemas.microsoft.com/office/drawing/2014/main" xmlns="" id="{29D14BDE-7FAF-41C5-9A33-32E1031ACDCC}"/>
              </a:ext>
            </a:extLst>
          </p:cNvPr>
          <p:cNvCxnSpPr>
            <a:cxnSpLocks/>
            <a:stCxn id="56" idx="0"/>
          </p:cNvCxnSpPr>
          <p:nvPr/>
        </p:nvCxnSpPr>
        <p:spPr>
          <a:xfrm flipH="1">
            <a:off x="5224440" y="2174647"/>
            <a:ext cx="2034570" cy="3572"/>
          </a:xfrm>
          <a:prstGeom prst="straightConnector1">
            <a:avLst/>
          </a:prstGeom>
          <a:ln w="38100" cap="rnd">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63" name="TextBox 38">
            <a:extLst>
              <a:ext uri="{FF2B5EF4-FFF2-40B4-BE49-F238E27FC236}">
                <a16:creationId xmlns:a16="http://schemas.microsoft.com/office/drawing/2014/main" xmlns="" id="{6EF67D73-0F5D-493E-BF43-881866182E42}"/>
              </a:ext>
            </a:extLst>
          </p:cNvPr>
          <p:cNvSpPr txBox="1"/>
          <p:nvPr/>
        </p:nvSpPr>
        <p:spPr>
          <a:xfrm>
            <a:off x="3632566" y="1960017"/>
            <a:ext cx="1438727"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Cooperation</a:t>
            </a:r>
          </a:p>
        </p:txBody>
      </p:sp>
      <p:sp>
        <p:nvSpPr>
          <p:cNvPr id="65" name="TextBox 40">
            <a:extLst>
              <a:ext uri="{FF2B5EF4-FFF2-40B4-BE49-F238E27FC236}">
                <a16:creationId xmlns:a16="http://schemas.microsoft.com/office/drawing/2014/main" xmlns="" id="{5A781672-0626-4427-B9E3-1F79F48622DF}"/>
              </a:ext>
            </a:extLst>
          </p:cNvPr>
          <p:cNvSpPr txBox="1"/>
          <p:nvPr/>
        </p:nvSpPr>
        <p:spPr>
          <a:xfrm>
            <a:off x="3023040" y="2815468"/>
            <a:ext cx="2048253"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Common Interests</a:t>
            </a:r>
          </a:p>
        </p:txBody>
      </p:sp>
      <p:sp>
        <p:nvSpPr>
          <p:cNvPr id="67" name="TextBox 42">
            <a:extLst>
              <a:ext uri="{FF2B5EF4-FFF2-40B4-BE49-F238E27FC236}">
                <a16:creationId xmlns:a16="http://schemas.microsoft.com/office/drawing/2014/main" xmlns="" id="{8245064A-2CB3-4AD3-AE11-BF19287855B1}"/>
              </a:ext>
            </a:extLst>
          </p:cNvPr>
          <p:cNvSpPr txBox="1"/>
          <p:nvPr/>
        </p:nvSpPr>
        <p:spPr>
          <a:xfrm>
            <a:off x="3597683" y="3681687"/>
            <a:ext cx="1473610"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Expectations</a:t>
            </a:r>
          </a:p>
        </p:txBody>
      </p:sp>
      <p:sp>
        <p:nvSpPr>
          <p:cNvPr id="69" name="TextBox 44">
            <a:extLst>
              <a:ext uri="{FF2B5EF4-FFF2-40B4-BE49-F238E27FC236}">
                <a16:creationId xmlns:a16="http://schemas.microsoft.com/office/drawing/2014/main" xmlns="" id="{242DD594-54B6-489D-A00F-20E096C8F16C}"/>
              </a:ext>
            </a:extLst>
          </p:cNvPr>
          <p:cNvSpPr txBox="1"/>
          <p:nvPr/>
        </p:nvSpPr>
        <p:spPr>
          <a:xfrm>
            <a:off x="3693480" y="4551501"/>
            <a:ext cx="1377813" cy="400110"/>
          </a:xfrm>
          <a:prstGeom prst="rect">
            <a:avLst/>
          </a:prstGeom>
          <a:noFill/>
        </p:spPr>
        <p:txBody>
          <a:bodyPr wrap="none" rtlCol="0" anchor="ctr" anchorCtr="0">
            <a:spAutoFit/>
          </a:bodyPr>
          <a:lstStyle/>
          <a:p>
            <a:pPr algn="r"/>
            <a:r>
              <a:rPr lang="en-GB" sz="2000" b="1" dirty="0">
                <a:solidFill>
                  <a:schemeClr val="tx2"/>
                </a:solidFill>
                <a:latin typeface="+mj-lt"/>
                <a:ea typeface="League Spartan" charset="0"/>
                <a:cs typeface="Poppins" pitchFamily="2" charset="77"/>
              </a:rPr>
              <a:t>Perceptions</a:t>
            </a:r>
          </a:p>
        </p:txBody>
      </p:sp>
      <p:sp>
        <p:nvSpPr>
          <p:cNvPr id="9" name="Legende: mit Pfeil nach rechts 8">
            <a:extLst>
              <a:ext uri="{FF2B5EF4-FFF2-40B4-BE49-F238E27FC236}">
                <a16:creationId xmlns:a16="http://schemas.microsoft.com/office/drawing/2014/main" xmlns="" id="{367D3967-AD11-4783-928A-42E9604E963B}"/>
              </a:ext>
            </a:extLst>
          </p:cNvPr>
          <p:cNvSpPr/>
          <p:nvPr/>
        </p:nvSpPr>
        <p:spPr>
          <a:xfrm flipH="1">
            <a:off x="9198576" y="2174648"/>
            <a:ext cx="2854233" cy="3468472"/>
          </a:xfrm>
          <a:prstGeom prst="right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t>Stakeholders</a:t>
            </a:r>
          </a:p>
          <a:p>
            <a:pPr algn="ctr"/>
            <a:r>
              <a:rPr lang="en-GB" dirty="0"/>
              <a:t>= all groups inside and outside the organization, </a:t>
            </a:r>
          </a:p>
          <a:p>
            <a:pPr algn="ctr"/>
            <a:r>
              <a:rPr lang="en-GB" dirty="0"/>
              <a:t>who influence performance and goal achievement of the organization with what they do</a:t>
            </a:r>
          </a:p>
        </p:txBody>
      </p:sp>
      <p:sp>
        <p:nvSpPr>
          <p:cNvPr id="71" name="TextBox 34">
            <a:extLst>
              <a:ext uri="{FF2B5EF4-FFF2-40B4-BE49-F238E27FC236}">
                <a16:creationId xmlns:a16="http://schemas.microsoft.com/office/drawing/2014/main" xmlns="" id="{3BD1943D-E307-4BAB-9A7A-E288D780A46D}"/>
              </a:ext>
            </a:extLst>
          </p:cNvPr>
          <p:cNvSpPr txBox="1"/>
          <p:nvPr/>
        </p:nvSpPr>
        <p:spPr>
          <a:xfrm>
            <a:off x="4596615" y="5679115"/>
            <a:ext cx="5129737" cy="369332"/>
          </a:xfrm>
          <a:prstGeom prst="rect">
            <a:avLst/>
          </a:prstGeom>
          <a:noFill/>
        </p:spPr>
        <p:txBody>
          <a:bodyPr wrap="square" rtlCol="0" anchor="b" anchorCtr="0">
            <a:spAutoFit/>
          </a:bodyPr>
          <a:lstStyle/>
          <a:p>
            <a:pPr algn="ctr"/>
            <a:r>
              <a:rPr lang="en-GB" b="1" dirty="0">
                <a:solidFill>
                  <a:schemeClr val="tx2"/>
                </a:solidFill>
                <a:latin typeface="+mj-lt"/>
                <a:ea typeface="League Spartan" charset="0"/>
                <a:cs typeface="Poppins" pitchFamily="2" charset="77"/>
              </a:rPr>
              <a:t>Management of Stakeholder-Relationships</a:t>
            </a:r>
          </a:p>
        </p:txBody>
      </p:sp>
    </p:spTree>
    <p:extLst>
      <p:ext uri="{BB962C8B-B14F-4D97-AF65-F5344CB8AC3E}">
        <p14:creationId xmlns:p14="http://schemas.microsoft.com/office/powerpoint/2010/main" val="27079339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185514" y="622987"/>
            <a:ext cx="10200943" cy="880160"/>
          </a:xfrm>
        </p:spPr>
        <p:txBody>
          <a:bodyPr>
            <a:noAutofit/>
          </a:bodyPr>
          <a:lstStyle/>
          <a:p>
            <a:r>
              <a:rPr lang="en-GB" dirty="0"/>
              <a:t>Responsibilities for Stakeholder Communication in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8" y="2142491"/>
            <a:ext cx="2590250" cy="340636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dirty="0">
                <a:latin typeface="+mj-lt"/>
              </a:rPr>
              <a:t>The PR department alone cannot manage the organization's stakeholder relationships - who is responsible for them in times of crisis?</a:t>
            </a:r>
            <a:endParaRPr lang="en-GB" dirty="0">
              <a:latin typeface="+mj-lt"/>
              <a:sym typeface="Wingdings" panose="05000000000000000000" pitchFamily="2" charset="2"/>
            </a:endParaRPr>
          </a:p>
        </p:txBody>
      </p:sp>
      <p:grpSp>
        <p:nvGrpSpPr>
          <p:cNvPr id="4" name="Gruppieren 3">
            <a:extLst>
              <a:ext uri="{FF2B5EF4-FFF2-40B4-BE49-F238E27FC236}">
                <a16:creationId xmlns:a16="http://schemas.microsoft.com/office/drawing/2014/main" xmlns="" id="{F42754C3-45E4-454B-BA38-AA0643FB68C8}"/>
              </a:ext>
            </a:extLst>
          </p:cNvPr>
          <p:cNvGrpSpPr>
            <a:grpSpLocks noChangeAspect="1"/>
          </p:cNvGrpSpPr>
          <p:nvPr/>
        </p:nvGrpSpPr>
        <p:grpSpPr>
          <a:xfrm>
            <a:off x="5463809" y="1908914"/>
            <a:ext cx="4144553" cy="4299643"/>
            <a:chOff x="6275234" y="2175839"/>
            <a:chExt cx="2856886" cy="2963790"/>
          </a:xfrm>
        </p:grpSpPr>
        <p:sp>
          <p:nvSpPr>
            <p:cNvPr id="31" name="Freeform: Shape 8784">
              <a:extLst>
                <a:ext uri="{FF2B5EF4-FFF2-40B4-BE49-F238E27FC236}">
                  <a16:creationId xmlns:a16="http://schemas.microsoft.com/office/drawing/2014/main" xmlns="" id="{DE59E2D7-7244-4388-AB8E-9946D9169B66}"/>
                </a:ext>
              </a:extLst>
            </p:cNvPr>
            <p:cNvSpPr/>
            <p:nvPr/>
          </p:nvSpPr>
          <p:spPr>
            <a:xfrm>
              <a:off x="7677570" y="2287727"/>
              <a:ext cx="862784" cy="1340174"/>
            </a:xfrm>
            <a:custGeom>
              <a:avLst/>
              <a:gdLst/>
              <a:ahLst/>
              <a:cxnLst>
                <a:cxn ang="3cd4">
                  <a:pos x="hc" y="t"/>
                </a:cxn>
                <a:cxn ang="cd2">
                  <a:pos x="l" y="vc"/>
                </a:cxn>
                <a:cxn ang="cd4">
                  <a:pos x="hc" y="b"/>
                </a:cxn>
                <a:cxn ang="0">
                  <a:pos x="r" y="vc"/>
                </a:cxn>
              </a:cxnLst>
              <a:rect l="l" t="t" r="r" b="b"/>
              <a:pathLst>
                <a:path w="348" h="540">
                  <a:moveTo>
                    <a:pt x="0" y="0"/>
                  </a:moveTo>
                  <a:lnTo>
                    <a:pt x="0" y="540"/>
                  </a:lnTo>
                  <a:lnTo>
                    <a:pt x="348" y="127"/>
                  </a:lnTo>
                  <a:cubicBezTo>
                    <a:pt x="314" y="142"/>
                    <a:pt x="277" y="150"/>
                    <a:pt x="240" y="150"/>
                  </a:cubicBezTo>
                  <a:cubicBezTo>
                    <a:pt x="136" y="150"/>
                    <a:pt x="44" y="90"/>
                    <a:pt x="0" y="0"/>
                  </a:cubicBez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32" name="Freeform: Shape 8785">
              <a:extLst>
                <a:ext uri="{FF2B5EF4-FFF2-40B4-BE49-F238E27FC236}">
                  <a16:creationId xmlns:a16="http://schemas.microsoft.com/office/drawing/2014/main" xmlns="" id="{4F6410FA-7204-4660-AE94-9041F7F33023}"/>
                </a:ext>
              </a:extLst>
            </p:cNvPr>
            <p:cNvSpPr/>
            <p:nvPr/>
          </p:nvSpPr>
          <p:spPr>
            <a:xfrm>
              <a:off x="6770023" y="2287727"/>
              <a:ext cx="862784" cy="1340174"/>
            </a:xfrm>
            <a:custGeom>
              <a:avLst/>
              <a:gdLst/>
              <a:ahLst/>
              <a:cxnLst>
                <a:cxn ang="3cd4">
                  <a:pos x="hc" y="t"/>
                </a:cxn>
                <a:cxn ang="cd2">
                  <a:pos x="l" y="vc"/>
                </a:cxn>
                <a:cxn ang="cd4">
                  <a:pos x="hc" y="b"/>
                </a:cxn>
                <a:cxn ang="0">
                  <a:pos x="r" y="vc"/>
                </a:cxn>
              </a:cxnLst>
              <a:rect l="l" t="t" r="r" b="b"/>
              <a:pathLst>
                <a:path w="348" h="540">
                  <a:moveTo>
                    <a:pt x="280" y="87"/>
                  </a:moveTo>
                  <a:cubicBezTo>
                    <a:pt x="232" y="127"/>
                    <a:pt x="172" y="149"/>
                    <a:pt x="109" y="149"/>
                  </a:cubicBezTo>
                  <a:cubicBezTo>
                    <a:pt x="72" y="149"/>
                    <a:pt x="34" y="141"/>
                    <a:pt x="0" y="126"/>
                  </a:cubicBezTo>
                  <a:lnTo>
                    <a:pt x="348" y="540"/>
                  </a:lnTo>
                  <a:lnTo>
                    <a:pt x="348" y="0"/>
                  </a:lnTo>
                  <a:cubicBezTo>
                    <a:pt x="332" y="33"/>
                    <a:pt x="309" y="63"/>
                    <a:pt x="280" y="87"/>
                  </a:cubicBezTo>
                  <a:close/>
                </a:path>
              </a:pathLst>
            </a:custGeom>
            <a:solidFill>
              <a:schemeClr val="accent5">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33" name="Freeform: Shape 8786">
              <a:extLst>
                <a:ext uri="{FF2B5EF4-FFF2-40B4-BE49-F238E27FC236}">
                  <a16:creationId xmlns:a16="http://schemas.microsoft.com/office/drawing/2014/main" xmlns="" id="{A02AF16E-2074-4382-B7AB-9E21D69E613C}"/>
                </a:ext>
              </a:extLst>
            </p:cNvPr>
            <p:cNvSpPr/>
            <p:nvPr/>
          </p:nvSpPr>
          <p:spPr>
            <a:xfrm>
              <a:off x="6275234" y="2633331"/>
              <a:ext cx="1320284" cy="1024400"/>
            </a:xfrm>
            <a:custGeom>
              <a:avLst/>
              <a:gdLst/>
              <a:ahLst/>
              <a:cxnLst>
                <a:cxn ang="3cd4">
                  <a:pos x="hc" y="t"/>
                </a:cxn>
                <a:cxn ang="cd2">
                  <a:pos x="l" y="vc"/>
                </a:cxn>
                <a:cxn ang="cd4">
                  <a:pos x="hc" y="b"/>
                </a:cxn>
                <a:cxn ang="0">
                  <a:pos x="r" y="vc"/>
                </a:cxn>
              </a:cxnLst>
              <a:rect l="l" t="t" r="r" b="b"/>
              <a:pathLst>
                <a:path w="532" h="413">
                  <a:moveTo>
                    <a:pt x="532" y="413"/>
                  </a:moveTo>
                  <a:lnTo>
                    <a:pt x="185" y="0"/>
                  </a:lnTo>
                  <a:cubicBezTo>
                    <a:pt x="194" y="35"/>
                    <a:pt x="196" y="73"/>
                    <a:pt x="189" y="109"/>
                  </a:cubicBezTo>
                  <a:cubicBezTo>
                    <a:pt x="171" y="212"/>
                    <a:pt x="97" y="292"/>
                    <a:pt x="0" y="319"/>
                  </a:cubicBezTo>
                  <a:close/>
                </a:path>
              </a:pathLst>
            </a:custGeom>
            <a:solidFill>
              <a:schemeClr val="accent5"/>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38" name="Freeform: Shape 8788">
              <a:extLst>
                <a:ext uri="{FF2B5EF4-FFF2-40B4-BE49-F238E27FC236}">
                  <a16:creationId xmlns:a16="http://schemas.microsoft.com/office/drawing/2014/main" xmlns="" id="{A4875FC3-FF0A-4196-B0CE-42DF1C916745}"/>
                </a:ext>
              </a:extLst>
            </p:cNvPr>
            <p:cNvSpPr/>
            <p:nvPr/>
          </p:nvSpPr>
          <p:spPr>
            <a:xfrm>
              <a:off x="6449283" y="3747248"/>
              <a:ext cx="1161154" cy="1260608"/>
            </a:xfrm>
            <a:custGeom>
              <a:avLst/>
              <a:gdLst/>
              <a:ahLst/>
              <a:cxnLst>
                <a:cxn ang="3cd4">
                  <a:pos x="hc" y="t"/>
                </a:cxn>
                <a:cxn ang="cd2">
                  <a:pos x="l" y="vc"/>
                </a:cxn>
                <a:cxn ang="cd4">
                  <a:pos x="hc" y="b"/>
                </a:cxn>
                <a:cxn ang="0">
                  <a:pos x="r" y="vc"/>
                </a:cxn>
              </a:cxnLst>
              <a:rect l="l" t="t" r="r" b="b"/>
              <a:pathLst>
                <a:path w="468" h="508">
                  <a:moveTo>
                    <a:pt x="110" y="285"/>
                  </a:moveTo>
                  <a:cubicBezTo>
                    <a:pt x="207" y="321"/>
                    <a:pt x="274" y="408"/>
                    <a:pt x="284" y="508"/>
                  </a:cubicBezTo>
                  <a:lnTo>
                    <a:pt x="468" y="0"/>
                  </a:lnTo>
                  <a:lnTo>
                    <a:pt x="0" y="270"/>
                  </a:lnTo>
                  <a:cubicBezTo>
                    <a:pt x="7" y="269"/>
                    <a:pt x="13" y="269"/>
                    <a:pt x="19" y="269"/>
                  </a:cubicBezTo>
                  <a:cubicBezTo>
                    <a:pt x="50" y="269"/>
                    <a:pt x="80" y="274"/>
                    <a:pt x="110" y="285"/>
                  </a:cubicBezTo>
                  <a:close/>
                </a:path>
              </a:pathLst>
            </a:custGeom>
            <a:solidFill>
              <a:schemeClr val="accent4"/>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1" name="Freeform: Shape 8789">
              <a:extLst>
                <a:ext uri="{FF2B5EF4-FFF2-40B4-BE49-F238E27FC236}">
                  <a16:creationId xmlns:a16="http://schemas.microsoft.com/office/drawing/2014/main" xmlns="" id="{416618AE-1BF0-48CD-A3C8-45E4024EDDD9}"/>
                </a:ext>
              </a:extLst>
            </p:cNvPr>
            <p:cNvSpPr/>
            <p:nvPr/>
          </p:nvSpPr>
          <p:spPr>
            <a:xfrm>
              <a:off x="7197693" y="3764654"/>
              <a:ext cx="917485" cy="1260608"/>
            </a:xfrm>
            <a:custGeom>
              <a:avLst/>
              <a:gdLst/>
              <a:ahLst/>
              <a:cxnLst>
                <a:cxn ang="3cd4">
                  <a:pos x="hc" y="t"/>
                </a:cxn>
                <a:cxn ang="cd2">
                  <a:pos x="l" y="vc"/>
                </a:cxn>
                <a:cxn ang="cd4">
                  <a:pos x="hc" y="b"/>
                </a:cxn>
                <a:cxn ang="0">
                  <a:pos x="r" y="vc"/>
                </a:cxn>
              </a:cxnLst>
              <a:rect l="l" t="t" r="r" b="b"/>
              <a:pathLst>
                <a:path w="370" h="508">
                  <a:moveTo>
                    <a:pt x="184" y="432"/>
                  </a:moveTo>
                  <a:cubicBezTo>
                    <a:pt x="254" y="432"/>
                    <a:pt x="321" y="460"/>
                    <a:pt x="370" y="508"/>
                  </a:cubicBezTo>
                  <a:lnTo>
                    <a:pt x="185" y="0"/>
                  </a:lnTo>
                  <a:lnTo>
                    <a:pt x="0" y="507"/>
                  </a:lnTo>
                  <a:cubicBezTo>
                    <a:pt x="26" y="481"/>
                    <a:pt x="58" y="461"/>
                    <a:pt x="93" y="448"/>
                  </a:cubicBezTo>
                  <a:cubicBezTo>
                    <a:pt x="123" y="438"/>
                    <a:pt x="153" y="432"/>
                    <a:pt x="184" y="432"/>
                  </a:cubicBezTo>
                  <a:close/>
                </a:path>
              </a:pathLst>
            </a:custGeom>
            <a:solidFill>
              <a:schemeClr val="accent3">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2" name="Freeform: Shape 8790">
              <a:extLst>
                <a:ext uri="{FF2B5EF4-FFF2-40B4-BE49-F238E27FC236}">
                  <a16:creationId xmlns:a16="http://schemas.microsoft.com/office/drawing/2014/main" xmlns="" id="{156AA3E6-E871-42E8-9FA2-436AADF3EDA5}"/>
                </a:ext>
              </a:extLst>
            </p:cNvPr>
            <p:cNvSpPr/>
            <p:nvPr/>
          </p:nvSpPr>
          <p:spPr>
            <a:xfrm>
              <a:off x="7699947" y="3747248"/>
              <a:ext cx="1161154" cy="1260608"/>
            </a:xfrm>
            <a:custGeom>
              <a:avLst/>
              <a:gdLst/>
              <a:ahLst/>
              <a:cxnLst>
                <a:cxn ang="3cd4">
                  <a:pos x="hc" y="t"/>
                </a:cxn>
                <a:cxn ang="cd2">
                  <a:pos x="l" y="vc"/>
                </a:cxn>
                <a:cxn ang="cd4">
                  <a:pos x="hc" y="b"/>
                </a:cxn>
                <a:cxn ang="0">
                  <a:pos x="r" y="vc"/>
                </a:cxn>
              </a:cxnLst>
              <a:rect l="l" t="t" r="r" b="b"/>
              <a:pathLst>
                <a:path w="468" h="508">
                  <a:moveTo>
                    <a:pt x="448" y="270"/>
                  </a:moveTo>
                  <a:cubicBezTo>
                    <a:pt x="455" y="270"/>
                    <a:pt x="462" y="270"/>
                    <a:pt x="468" y="271"/>
                  </a:cubicBezTo>
                  <a:lnTo>
                    <a:pt x="0" y="0"/>
                  </a:lnTo>
                  <a:lnTo>
                    <a:pt x="184" y="508"/>
                  </a:lnTo>
                  <a:cubicBezTo>
                    <a:pt x="188" y="471"/>
                    <a:pt x="199" y="435"/>
                    <a:pt x="218" y="403"/>
                  </a:cubicBezTo>
                  <a:cubicBezTo>
                    <a:pt x="265" y="321"/>
                    <a:pt x="354" y="270"/>
                    <a:pt x="448" y="270"/>
                  </a:cubicBezTo>
                  <a:close/>
                </a:path>
              </a:pathLst>
            </a:custGeom>
            <a:solidFill>
              <a:schemeClr val="accent3"/>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3" name="Freeform: Shape 8791">
              <a:extLst>
                <a:ext uri="{FF2B5EF4-FFF2-40B4-BE49-F238E27FC236}">
                  <a16:creationId xmlns:a16="http://schemas.microsoft.com/office/drawing/2014/main" xmlns="" id="{D237751A-5A2B-42D0-B66F-9542368BE5A5}"/>
                </a:ext>
              </a:extLst>
            </p:cNvPr>
            <p:cNvSpPr/>
            <p:nvPr/>
          </p:nvSpPr>
          <p:spPr>
            <a:xfrm>
              <a:off x="7722325" y="3473743"/>
              <a:ext cx="1320284" cy="902566"/>
            </a:xfrm>
            <a:custGeom>
              <a:avLst/>
              <a:gdLst/>
              <a:ahLst/>
              <a:cxnLst>
                <a:cxn ang="3cd4">
                  <a:pos x="hc" y="t"/>
                </a:cxn>
                <a:cxn ang="cd2">
                  <a:pos x="l" y="vc"/>
                </a:cxn>
                <a:cxn ang="cd4">
                  <a:pos x="hc" y="b"/>
                </a:cxn>
                <a:cxn ang="0">
                  <a:pos x="r" y="vc"/>
                </a:cxn>
              </a:cxnLst>
              <a:rect l="l" t="t" r="r" b="b"/>
              <a:pathLst>
                <a:path w="532" h="364">
                  <a:moveTo>
                    <a:pt x="467" y="364"/>
                  </a:moveTo>
                  <a:cubicBezTo>
                    <a:pt x="447" y="334"/>
                    <a:pt x="433" y="299"/>
                    <a:pt x="426" y="262"/>
                  </a:cubicBezTo>
                  <a:cubicBezTo>
                    <a:pt x="408" y="159"/>
                    <a:pt x="451" y="59"/>
                    <a:pt x="532" y="0"/>
                  </a:cubicBezTo>
                  <a:lnTo>
                    <a:pt x="0" y="94"/>
                  </a:lnTo>
                  <a:close/>
                </a:path>
              </a:pathLst>
            </a:custGeom>
            <a:solidFill>
              <a:schemeClr val="accent2"/>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4" name="Freeform: Shape 8792">
              <a:extLst>
                <a:ext uri="{FF2B5EF4-FFF2-40B4-BE49-F238E27FC236}">
                  <a16:creationId xmlns:a16="http://schemas.microsoft.com/office/drawing/2014/main" xmlns="" id="{A093B717-1FD7-491B-BDC6-BF26FA0263A8}"/>
                </a:ext>
              </a:extLst>
            </p:cNvPr>
            <p:cNvSpPr/>
            <p:nvPr/>
          </p:nvSpPr>
          <p:spPr>
            <a:xfrm>
              <a:off x="7714867" y="2630844"/>
              <a:ext cx="1317797" cy="1026886"/>
            </a:xfrm>
            <a:custGeom>
              <a:avLst/>
              <a:gdLst/>
              <a:ahLst/>
              <a:cxnLst>
                <a:cxn ang="3cd4">
                  <a:pos x="hc" y="t"/>
                </a:cxn>
                <a:cxn ang="cd2">
                  <a:pos x="l" y="vc"/>
                </a:cxn>
                <a:cxn ang="cd4">
                  <a:pos x="hc" y="b"/>
                </a:cxn>
                <a:cxn ang="0">
                  <a:pos x="r" y="vc"/>
                </a:cxn>
              </a:cxnLst>
              <a:rect l="l" t="t" r="r" b="b"/>
              <a:pathLst>
                <a:path w="531" h="414">
                  <a:moveTo>
                    <a:pt x="434" y="269"/>
                  </a:moveTo>
                  <a:cubicBezTo>
                    <a:pt x="354" y="202"/>
                    <a:pt x="322" y="97"/>
                    <a:pt x="348" y="0"/>
                  </a:cubicBezTo>
                  <a:lnTo>
                    <a:pt x="0" y="414"/>
                  </a:lnTo>
                  <a:lnTo>
                    <a:pt x="531" y="321"/>
                  </a:lnTo>
                  <a:cubicBezTo>
                    <a:pt x="496" y="311"/>
                    <a:pt x="463" y="293"/>
                    <a:pt x="434" y="269"/>
                  </a:cubicBezTo>
                  <a:close/>
                </a:path>
              </a:pathLst>
            </a:custGeom>
            <a:solidFill>
              <a:schemeClr val="accent1">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5" name="Freeform: Shape 8793">
              <a:extLst>
                <a:ext uri="{FF2B5EF4-FFF2-40B4-BE49-F238E27FC236}">
                  <a16:creationId xmlns:a16="http://schemas.microsoft.com/office/drawing/2014/main" xmlns="" id="{A453207B-C919-439F-B439-4AAE2A919017}"/>
                </a:ext>
              </a:extLst>
            </p:cNvPr>
            <p:cNvSpPr/>
            <p:nvPr/>
          </p:nvSpPr>
          <p:spPr>
            <a:xfrm>
              <a:off x="7744702" y="2245459"/>
              <a:ext cx="832948" cy="325719"/>
            </a:xfrm>
            <a:custGeom>
              <a:avLst/>
              <a:gdLst/>
              <a:ahLst/>
              <a:cxnLst>
                <a:cxn ang="3cd4">
                  <a:pos x="hc" y="t"/>
                </a:cxn>
                <a:cxn ang="cd2">
                  <a:pos x="l" y="vc"/>
                </a:cxn>
                <a:cxn ang="cd4">
                  <a:pos x="hc" y="b"/>
                </a:cxn>
                <a:cxn ang="0">
                  <a:pos x="r" y="vc"/>
                </a:cxn>
              </a:cxnLst>
              <a:rect l="l" t="t" r="r" b="b"/>
              <a:pathLst>
                <a:path w="336" h="132">
                  <a:moveTo>
                    <a:pt x="336" y="94"/>
                  </a:moveTo>
                  <a:lnTo>
                    <a:pt x="286" y="87"/>
                  </a:lnTo>
                  <a:lnTo>
                    <a:pt x="295" y="108"/>
                  </a:lnTo>
                  <a:cubicBezTo>
                    <a:pt x="269" y="118"/>
                    <a:pt x="241" y="124"/>
                    <a:pt x="211" y="124"/>
                  </a:cubicBezTo>
                  <a:cubicBezTo>
                    <a:pt x="123" y="124"/>
                    <a:pt x="46" y="73"/>
                    <a:pt x="8" y="0"/>
                  </a:cubicBezTo>
                  <a:lnTo>
                    <a:pt x="0" y="4"/>
                  </a:lnTo>
                  <a:cubicBezTo>
                    <a:pt x="40" y="80"/>
                    <a:pt x="120" y="132"/>
                    <a:pt x="211" y="132"/>
                  </a:cubicBezTo>
                  <a:cubicBezTo>
                    <a:pt x="242" y="132"/>
                    <a:pt x="271" y="127"/>
                    <a:pt x="298" y="116"/>
                  </a:cubicBezTo>
                  <a:lnTo>
                    <a:pt x="305" y="132"/>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46" name="Freeform: Shape 8794">
              <a:extLst>
                <a:ext uri="{FF2B5EF4-FFF2-40B4-BE49-F238E27FC236}">
                  <a16:creationId xmlns:a16="http://schemas.microsoft.com/office/drawing/2014/main" xmlns="" id="{435FE59A-1BB2-4E47-BF46-28199922CA79}"/>
                </a:ext>
              </a:extLst>
            </p:cNvPr>
            <p:cNvSpPr/>
            <p:nvPr/>
          </p:nvSpPr>
          <p:spPr>
            <a:xfrm>
              <a:off x="6799868" y="2175839"/>
              <a:ext cx="783219" cy="407771"/>
            </a:xfrm>
            <a:custGeom>
              <a:avLst/>
              <a:gdLst/>
              <a:ahLst/>
              <a:cxnLst>
                <a:cxn ang="3cd4">
                  <a:pos x="hc" y="t"/>
                </a:cxn>
                <a:cxn ang="cd2">
                  <a:pos x="l" y="vc"/>
                </a:cxn>
                <a:cxn ang="cd4">
                  <a:pos x="hc" y="b"/>
                </a:cxn>
                <a:cxn ang="0">
                  <a:pos x="r" y="vc"/>
                </a:cxn>
              </a:cxnLst>
              <a:rect l="l" t="t" r="r" b="b"/>
              <a:pathLst>
                <a:path w="316" h="165">
                  <a:moveTo>
                    <a:pt x="314" y="0"/>
                  </a:moveTo>
                  <a:lnTo>
                    <a:pt x="272" y="26"/>
                  </a:lnTo>
                  <a:lnTo>
                    <a:pt x="292" y="37"/>
                  </a:lnTo>
                  <a:cubicBezTo>
                    <a:pt x="279" y="62"/>
                    <a:pt x="261" y="84"/>
                    <a:pt x="238" y="103"/>
                  </a:cubicBezTo>
                  <a:cubicBezTo>
                    <a:pt x="171" y="160"/>
                    <a:pt x="79" y="171"/>
                    <a:pt x="3" y="139"/>
                  </a:cubicBezTo>
                  <a:lnTo>
                    <a:pt x="0" y="147"/>
                  </a:lnTo>
                  <a:cubicBezTo>
                    <a:pt x="79" y="180"/>
                    <a:pt x="174" y="169"/>
                    <a:pt x="244" y="110"/>
                  </a:cubicBezTo>
                  <a:cubicBezTo>
                    <a:pt x="268" y="90"/>
                    <a:pt x="286" y="67"/>
                    <a:pt x="300" y="41"/>
                  </a:cubicBezTo>
                  <a:lnTo>
                    <a:pt x="316" y="50"/>
                  </a:lnTo>
                  <a:close/>
                </a:path>
              </a:pathLst>
            </a:custGeom>
            <a:solidFill>
              <a:schemeClr val="accent5">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58" name="Freeform: Shape 8795">
              <a:extLst>
                <a:ext uri="{FF2B5EF4-FFF2-40B4-BE49-F238E27FC236}">
                  <a16:creationId xmlns:a16="http://schemas.microsoft.com/office/drawing/2014/main" xmlns="" id="{AC2F4905-0319-4A04-92E7-D1811D61CF1A}"/>
                </a:ext>
              </a:extLst>
            </p:cNvPr>
            <p:cNvSpPr/>
            <p:nvPr/>
          </p:nvSpPr>
          <p:spPr>
            <a:xfrm>
              <a:off x="8853642" y="3516013"/>
              <a:ext cx="243668" cy="860297"/>
            </a:xfrm>
            <a:custGeom>
              <a:avLst/>
              <a:gdLst/>
              <a:ahLst/>
              <a:cxnLst>
                <a:cxn ang="3cd4">
                  <a:pos x="hc" y="t"/>
                </a:cxn>
                <a:cxn ang="cd2">
                  <a:pos x="l" y="vc"/>
                </a:cxn>
                <a:cxn ang="cd4">
                  <a:pos x="hc" y="b"/>
                </a:cxn>
                <a:cxn ang="0">
                  <a:pos x="r" y="vc"/>
                </a:cxn>
              </a:cxnLst>
              <a:rect l="l" t="t" r="r" b="b"/>
              <a:pathLst>
                <a:path w="99" h="347">
                  <a:moveTo>
                    <a:pt x="63" y="347"/>
                  </a:moveTo>
                  <a:lnTo>
                    <a:pt x="61" y="296"/>
                  </a:lnTo>
                  <a:lnTo>
                    <a:pt x="42" y="309"/>
                  </a:lnTo>
                  <a:cubicBezTo>
                    <a:pt x="28" y="285"/>
                    <a:pt x="17" y="258"/>
                    <a:pt x="12" y="229"/>
                  </a:cubicBezTo>
                  <a:cubicBezTo>
                    <a:pt x="-3" y="142"/>
                    <a:pt x="33" y="58"/>
                    <a:pt x="99" y="7"/>
                  </a:cubicBezTo>
                  <a:lnTo>
                    <a:pt x="94" y="0"/>
                  </a:lnTo>
                  <a:cubicBezTo>
                    <a:pt x="25" y="53"/>
                    <a:pt x="-12" y="140"/>
                    <a:pt x="4" y="231"/>
                  </a:cubicBezTo>
                  <a:cubicBezTo>
                    <a:pt x="9" y="261"/>
                    <a:pt x="20" y="289"/>
                    <a:pt x="35" y="313"/>
                  </a:cubicBezTo>
                  <a:lnTo>
                    <a:pt x="20" y="323"/>
                  </a:lnTo>
                  <a:close/>
                </a:path>
              </a:pathLst>
            </a:custGeom>
            <a:solidFill>
              <a:schemeClr val="accent2"/>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59" name="Freeform: Shape 8796">
              <a:extLst>
                <a:ext uri="{FF2B5EF4-FFF2-40B4-BE49-F238E27FC236}">
                  <a16:creationId xmlns:a16="http://schemas.microsoft.com/office/drawing/2014/main" xmlns="" id="{42DDF3F2-0407-45D6-8817-20AF3CB6595E}"/>
                </a:ext>
              </a:extLst>
            </p:cNvPr>
            <p:cNvSpPr/>
            <p:nvPr/>
          </p:nvSpPr>
          <p:spPr>
            <a:xfrm>
              <a:off x="8624892" y="2633332"/>
              <a:ext cx="507228" cy="728517"/>
            </a:xfrm>
            <a:custGeom>
              <a:avLst/>
              <a:gdLst/>
              <a:ahLst/>
              <a:cxnLst>
                <a:cxn ang="3cd4">
                  <a:pos x="hc" y="t"/>
                </a:cxn>
                <a:cxn ang="cd2">
                  <a:pos x="l" y="vc"/>
                </a:cxn>
                <a:cxn ang="cd4">
                  <a:pos x="hc" y="b"/>
                </a:cxn>
                <a:cxn ang="0">
                  <a:pos x="r" y="vc"/>
                </a:cxn>
              </a:cxnLst>
              <a:rect l="l" t="t" r="r" b="b"/>
              <a:pathLst>
                <a:path w="205" h="294">
                  <a:moveTo>
                    <a:pt x="205" y="284"/>
                  </a:moveTo>
                  <a:lnTo>
                    <a:pt x="172" y="247"/>
                  </a:lnTo>
                  <a:lnTo>
                    <a:pt x="165" y="269"/>
                  </a:lnTo>
                  <a:cubicBezTo>
                    <a:pt x="138" y="260"/>
                    <a:pt x="113" y="246"/>
                    <a:pt x="91" y="227"/>
                  </a:cubicBezTo>
                  <a:cubicBezTo>
                    <a:pt x="23" y="170"/>
                    <a:pt x="-4" y="82"/>
                    <a:pt x="14" y="2"/>
                  </a:cubicBezTo>
                  <a:lnTo>
                    <a:pt x="6" y="0"/>
                  </a:lnTo>
                  <a:cubicBezTo>
                    <a:pt x="-13" y="84"/>
                    <a:pt x="15" y="175"/>
                    <a:pt x="85" y="233"/>
                  </a:cubicBezTo>
                  <a:cubicBezTo>
                    <a:pt x="109" y="253"/>
                    <a:pt x="135" y="268"/>
                    <a:pt x="162" y="277"/>
                  </a:cubicBezTo>
                  <a:lnTo>
                    <a:pt x="157" y="294"/>
                  </a:lnTo>
                  <a:close/>
                </a:path>
              </a:pathLst>
            </a:custGeom>
            <a:solidFill>
              <a:schemeClr val="accent1">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60" name="Freeform: Shape 8797">
              <a:extLst>
                <a:ext uri="{FF2B5EF4-FFF2-40B4-BE49-F238E27FC236}">
                  <a16:creationId xmlns:a16="http://schemas.microsoft.com/office/drawing/2014/main" xmlns="" id="{E7CE1392-6D47-45D4-9202-5EDD1806FC4C}"/>
                </a:ext>
              </a:extLst>
            </p:cNvPr>
            <p:cNvSpPr/>
            <p:nvPr/>
          </p:nvSpPr>
          <p:spPr>
            <a:xfrm>
              <a:off x="8194736" y="4493170"/>
              <a:ext cx="653926" cy="609170"/>
            </a:xfrm>
            <a:custGeom>
              <a:avLst/>
              <a:gdLst/>
              <a:ahLst/>
              <a:cxnLst>
                <a:cxn ang="3cd4">
                  <a:pos x="hc" y="t"/>
                </a:cxn>
                <a:cxn ang="cd2">
                  <a:pos x="l" y="vc"/>
                </a:cxn>
                <a:cxn ang="cd4">
                  <a:pos x="hc" y="b"/>
                </a:cxn>
                <a:cxn ang="0">
                  <a:pos x="r" y="vc"/>
                </a:cxn>
              </a:cxnLst>
              <a:rect l="l" t="t" r="r" b="b"/>
              <a:pathLst>
                <a:path w="264" h="246">
                  <a:moveTo>
                    <a:pt x="18" y="246"/>
                  </a:moveTo>
                  <a:lnTo>
                    <a:pt x="49" y="206"/>
                  </a:lnTo>
                  <a:lnTo>
                    <a:pt x="26" y="203"/>
                  </a:lnTo>
                  <a:cubicBezTo>
                    <a:pt x="31" y="176"/>
                    <a:pt x="40" y="148"/>
                    <a:pt x="54" y="123"/>
                  </a:cubicBezTo>
                  <a:cubicBezTo>
                    <a:pt x="99" y="46"/>
                    <a:pt x="181" y="5"/>
                    <a:pt x="263" y="9"/>
                  </a:cubicBezTo>
                  <a:lnTo>
                    <a:pt x="264" y="0"/>
                  </a:lnTo>
                  <a:cubicBezTo>
                    <a:pt x="178" y="-4"/>
                    <a:pt x="93" y="39"/>
                    <a:pt x="47" y="119"/>
                  </a:cubicBezTo>
                  <a:cubicBezTo>
                    <a:pt x="32" y="145"/>
                    <a:pt x="22" y="174"/>
                    <a:pt x="18" y="202"/>
                  </a:cubicBezTo>
                  <a:lnTo>
                    <a:pt x="0" y="200"/>
                  </a:lnTo>
                  <a:close/>
                </a:path>
              </a:pathLst>
            </a:custGeom>
            <a:solidFill>
              <a:schemeClr val="accent3"/>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61" name="Freeform: Shape 8798">
              <a:extLst>
                <a:ext uri="{FF2B5EF4-FFF2-40B4-BE49-F238E27FC236}">
                  <a16:creationId xmlns:a16="http://schemas.microsoft.com/office/drawing/2014/main" xmlns="" id="{9D6683AD-4D16-4483-942E-53FBABF68F3A}"/>
                </a:ext>
              </a:extLst>
            </p:cNvPr>
            <p:cNvSpPr/>
            <p:nvPr/>
          </p:nvSpPr>
          <p:spPr>
            <a:xfrm>
              <a:off x="6377178" y="4445928"/>
              <a:ext cx="706141" cy="559442"/>
            </a:xfrm>
            <a:custGeom>
              <a:avLst/>
              <a:gdLst/>
              <a:ahLst/>
              <a:cxnLst>
                <a:cxn ang="3cd4">
                  <a:pos x="hc" y="t"/>
                </a:cxn>
                <a:cxn ang="cd2">
                  <a:pos x="l" y="vc"/>
                </a:cxn>
                <a:cxn ang="cd4">
                  <a:pos x="hc" y="b"/>
                </a:cxn>
                <a:cxn ang="0">
                  <a:pos x="r" y="vc"/>
                </a:cxn>
              </a:cxnLst>
              <a:rect l="l" t="t" r="r" b="b"/>
              <a:pathLst>
                <a:path w="285" h="226">
                  <a:moveTo>
                    <a:pt x="0" y="25"/>
                  </a:moveTo>
                  <a:lnTo>
                    <a:pt x="45" y="49"/>
                  </a:lnTo>
                  <a:lnTo>
                    <a:pt x="44" y="26"/>
                  </a:lnTo>
                  <a:cubicBezTo>
                    <a:pt x="72" y="25"/>
                    <a:pt x="100" y="30"/>
                    <a:pt x="127" y="40"/>
                  </a:cubicBezTo>
                  <a:cubicBezTo>
                    <a:pt x="211" y="70"/>
                    <a:pt x="265" y="144"/>
                    <a:pt x="276" y="226"/>
                  </a:cubicBezTo>
                  <a:lnTo>
                    <a:pt x="285" y="225"/>
                  </a:lnTo>
                  <a:cubicBezTo>
                    <a:pt x="274" y="139"/>
                    <a:pt x="217" y="63"/>
                    <a:pt x="130" y="32"/>
                  </a:cubicBezTo>
                  <a:cubicBezTo>
                    <a:pt x="102" y="21"/>
                    <a:pt x="72" y="17"/>
                    <a:pt x="43" y="17"/>
                  </a:cubicBezTo>
                  <a:lnTo>
                    <a:pt x="42" y="0"/>
                  </a:lnTo>
                  <a:close/>
                </a:path>
              </a:pathLst>
            </a:custGeom>
            <a:solidFill>
              <a:schemeClr val="accent4"/>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62" name="Freeform: Shape 8799">
              <a:extLst>
                <a:ext uri="{FF2B5EF4-FFF2-40B4-BE49-F238E27FC236}">
                  <a16:creationId xmlns:a16="http://schemas.microsoft.com/office/drawing/2014/main" xmlns="" id="{F3A939CB-CFFA-44D6-930D-44AE0572CBC7}"/>
                </a:ext>
              </a:extLst>
            </p:cNvPr>
            <p:cNvSpPr/>
            <p:nvPr/>
          </p:nvSpPr>
          <p:spPr>
            <a:xfrm>
              <a:off x="7202658" y="4910879"/>
              <a:ext cx="857812" cy="228750"/>
            </a:xfrm>
            <a:custGeom>
              <a:avLst/>
              <a:gdLst/>
              <a:ahLst/>
              <a:cxnLst>
                <a:cxn ang="3cd4">
                  <a:pos x="hc" y="t"/>
                </a:cxn>
                <a:cxn ang="cd2">
                  <a:pos x="l" y="vc"/>
                </a:cxn>
                <a:cxn ang="cd4">
                  <a:pos x="hc" y="b"/>
                </a:cxn>
                <a:cxn ang="0">
                  <a:pos x="r" y="vc"/>
                </a:cxn>
              </a:cxnLst>
              <a:rect l="l" t="t" r="r" b="b"/>
              <a:pathLst>
                <a:path w="346" h="93">
                  <a:moveTo>
                    <a:pt x="0" y="93"/>
                  </a:moveTo>
                  <a:lnTo>
                    <a:pt x="49" y="83"/>
                  </a:lnTo>
                  <a:lnTo>
                    <a:pt x="34" y="66"/>
                  </a:lnTo>
                  <a:cubicBezTo>
                    <a:pt x="55" y="48"/>
                    <a:pt x="79" y="33"/>
                    <a:pt x="107" y="23"/>
                  </a:cubicBezTo>
                  <a:cubicBezTo>
                    <a:pt x="190" y="-8"/>
                    <a:pt x="279" y="14"/>
                    <a:pt x="341" y="70"/>
                  </a:cubicBezTo>
                  <a:lnTo>
                    <a:pt x="346" y="63"/>
                  </a:lnTo>
                  <a:cubicBezTo>
                    <a:pt x="283" y="5"/>
                    <a:pt x="190" y="-17"/>
                    <a:pt x="104" y="14"/>
                  </a:cubicBezTo>
                  <a:cubicBezTo>
                    <a:pt x="75" y="25"/>
                    <a:pt x="50" y="40"/>
                    <a:pt x="28" y="60"/>
                  </a:cubicBezTo>
                  <a:lnTo>
                    <a:pt x="16" y="47"/>
                  </a:lnTo>
                  <a:close/>
                </a:path>
              </a:pathLst>
            </a:custGeom>
            <a:solidFill>
              <a:schemeClr val="accent3">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64" name="Freeform: Shape 8800">
              <a:extLst>
                <a:ext uri="{FF2B5EF4-FFF2-40B4-BE49-F238E27FC236}">
                  <a16:creationId xmlns:a16="http://schemas.microsoft.com/office/drawing/2014/main" xmlns="" id="{86A8AC19-5D3D-4C43-9FC4-FB4AFCAFD65C}"/>
                </a:ext>
              </a:extLst>
            </p:cNvPr>
            <p:cNvSpPr/>
            <p:nvPr/>
          </p:nvSpPr>
          <p:spPr>
            <a:xfrm>
              <a:off x="6277721" y="2573657"/>
              <a:ext cx="450040" cy="780732"/>
            </a:xfrm>
            <a:custGeom>
              <a:avLst/>
              <a:gdLst/>
              <a:ahLst/>
              <a:cxnLst>
                <a:cxn ang="3cd4">
                  <a:pos x="hc" y="t"/>
                </a:cxn>
                <a:cxn ang="cd2">
                  <a:pos x="l" y="vc"/>
                </a:cxn>
                <a:cxn ang="cd4">
                  <a:pos x="hc" y="b"/>
                </a:cxn>
                <a:cxn ang="0">
                  <a:pos x="r" y="vc"/>
                </a:cxn>
              </a:cxnLst>
              <a:rect l="l" t="t" r="r" b="b"/>
              <a:pathLst>
                <a:path w="182" h="315">
                  <a:moveTo>
                    <a:pt x="150" y="0"/>
                  </a:moveTo>
                  <a:lnTo>
                    <a:pt x="134" y="48"/>
                  </a:lnTo>
                  <a:lnTo>
                    <a:pt x="157" y="43"/>
                  </a:lnTo>
                  <a:cubicBezTo>
                    <a:pt x="162" y="70"/>
                    <a:pt x="163" y="99"/>
                    <a:pt x="158" y="128"/>
                  </a:cubicBezTo>
                  <a:cubicBezTo>
                    <a:pt x="142" y="215"/>
                    <a:pt x="79" y="282"/>
                    <a:pt x="0" y="307"/>
                  </a:cubicBezTo>
                  <a:lnTo>
                    <a:pt x="3" y="315"/>
                  </a:lnTo>
                  <a:cubicBezTo>
                    <a:pt x="85" y="289"/>
                    <a:pt x="150" y="220"/>
                    <a:pt x="166" y="130"/>
                  </a:cubicBezTo>
                  <a:cubicBezTo>
                    <a:pt x="172" y="100"/>
                    <a:pt x="171" y="70"/>
                    <a:pt x="165" y="42"/>
                  </a:cubicBezTo>
                  <a:lnTo>
                    <a:pt x="182" y="38"/>
                  </a:lnTo>
                  <a:close/>
                </a:path>
              </a:pathLst>
            </a:custGeom>
            <a:solidFill>
              <a:schemeClr val="accent5"/>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grpSp>
      <p:sp>
        <p:nvSpPr>
          <p:cNvPr id="79" name="Ellipse 78">
            <a:extLst>
              <a:ext uri="{FF2B5EF4-FFF2-40B4-BE49-F238E27FC236}">
                <a16:creationId xmlns:a16="http://schemas.microsoft.com/office/drawing/2014/main" xmlns="" id="{FFA8CA90-AF2E-4EB6-A085-FE89AED3D78F}"/>
              </a:ext>
            </a:extLst>
          </p:cNvPr>
          <p:cNvSpPr>
            <a:spLocks noChangeAspect="1"/>
          </p:cNvSpPr>
          <p:nvPr/>
        </p:nvSpPr>
        <p:spPr>
          <a:xfrm>
            <a:off x="6140929" y="2793421"/>
            <a:ext cx="2703735" cy="2703735"/>
          </a:xfrm>
          <a:prstGeom prst="ellipse">
            <a:avLst/>
          </a:prstGeom>
          <a:solidFill>
            <a:schemeClr val="bg1">
              <a:alpha val="70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chemeClr val="tx2"/>
              </a:solidFill>
            </a:endParaRPr>
          </a:p>
        </p:txBody>
      </p:sp>
      <p:sp>
        <p:nvSpPr>
          <p:cNvPr id="5" name="Ellipse 4">
            <a:extLst>
              <a:ext uri="{FF2B5EF4-FFF2-40B4-BE49-F238E27FC236}">
                <a16:creationId xmlns:a16="http://schemas.microsoft.com/office/drawing/2014/main" xmlns="" id="{314168DF-FD4D-4F8E-A26A-B5013687B780}"/>
              </a:ext>
            </a:extLst>
          </p:cNvPr>
          <p:cNvSpPr/>
          <p:nvPr/>
        </p:nvSpPr>
        <p:spPr>
          <a:xfrm>
            <a:off x="6944960" y="3583663"/>
            <a:ext cx="1080000" cy="1080000"/>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a:solidFill>
                  <a:schemeClr val="tx2"/>
                </a:solidFill>
              </a:rPr>
              <a:t>Manage-ment</a:t>
            </a:r>
            <a:endParaRPr lang="en-GB" sz="1200" dirty="0">
              <a:solidFill>
                <a:schemeClr val="tx2"/>
              </a:solidFill>
            </a:endParaRPr>
          </a:p>
        </p:txBody>
      </p:sp>
      <p:sp>
        <p:nvSpPr>
          <p:cNvPr id="6" name="Textfeld 5">
            <a:extLst>
              <a:ext uri="{FF2B5EF4-FFF2-40B4-BE49-F238E27FC236}">
                <a16:creationId xmlns:a16="http://schemas.microsoft.com/office/drawing/2014/main" xmlns="" id="{C32FE64D-22D5-49D6-8442-28C9FA534200}"/>
              </a:ext>
            </a:extLst>
          </p:cNvPr>
          <p:cNvSpPr txBox="1"/>
          <p:nvPr/>
        </p:nvSpPr>
        <p:spPr>
          <a:xfrm>
            <a:off x="6494825" y="3566416"/>
            <a:ext cx="506870" cy="338554"/>
          </a:xfrm>
          <a:prstGeom prst="rect">
            <a:avLst/>
          </a:prstGeom>
          <a:noFill/>
        </p:spPr>
        <p:txBody>
          <a:bodyPr wrap="none" rtlCol="0">
            <a:spAutoFit/>
          </a:bodyPr>
          <a:lstStyle/>
          <a:p>
            <a:r>
              <a:rPr lang="en-GB" sz="1600" b="1" dirty="0">
                <a:solidFill>
                  <a:schemeClr val="tx2"/>
                </a:solidFill>
              </a:rPr>
              <a:t>CSR</a:t>
            </a:r>
          </a:p>
        </p:txBody>
      </p:sp>
      <p:sp>
        <p:nvSpPr>
          <p:cNvPr id="80" name="Textfeld 79">
            <a:extLst>
              <a:ext uri="{FF2B5EF4-FFF2-40B4-BE49-F238E27FC236}">
                <a16:creationId xmlns:a16="http://schemas.microsoft.com/office/drawing/2014/main" xmlns="" id="{E8506FB7-C840-473F-BB19-403AF1FB96B4}"/>
              </a:ext>
            </a:extLst>
          </p:cNvPr>
          <p:cNvSpPr txBox="1"/>
          <p:nvPr/>
        </p:nvSpPr>
        <p:spPr>
          <a:xfrm>
            <a:off x="6617769" y="3027700"/>
            <a:ext cx="1060868" cy="584775"/>
          </a:xfrm>
          <a:prstGeom prst="rect">
            <a:avLst/>
          </a:prstGeom>
          <a:noFill/>
        </p:spPr>
        <p:txBody>
          <a:bodyPr wrap="none" rtlCol="0">
            <a:spAutoFit/>
          </a:bodyPr>
          <a:lstStyle/>
          <a:p>
            <a:r>
              <a:rPr lang="en-GB" sz="1600" b="1" dirty="0">
                <a:solidFill>
                  <a:schemeClr val="tx2"/>
                </a:solidFill>
              </a:rPr>
              <a:t>Marketing</a:t>
            </a:r>
            <a:br>
              <a:rPr lang="en-GB" sz="1600" b="1" dirty="0">
                <a:solidFill>
                  <a:schemeClr val="tx2"/>
                </a:solidFill>
              </a:rPr>
            </a:br>
            <a:endParaRPr lang="en-GB" sz="1600" b="1" dirty="0">
              <a:solidFill>
                <a:schemeClr val="tx2"/>
              </a:solidFill>
            </a:endParaRPr>
          </a:p>
        </p:txBody>
      </p:sp>
      <p:sp>
        <p:nvSpPr>
          <p:cNvPr id="81" name="Textfeld 80">
            <a:extLst>
              <a:ext uri="{FF2B5EF4-FFF2-40B4-BE49-F238E27FC236}">
                <a16:creationId xmlns:a16="http://schemas.microsoft.com/office/drawing/2014/main" xmlns="" id="{07AA0D79-25D2-408B-B0FA-7324C6BC0469}"/>
              </a:ext>
            </a:extLst>
          </p:cNvPr>
          <p:cNvSpPr txBox="1"/>
          <p:nvPr/>
        </p:nvSpPr>
        <p:spPr>
          <a:xfrm>
            <a:off x="7563139" y="2891862"/>
            <a:ext cx="663964" cy="830997"/>
          </a:xfrm>
          <a:prstGeom prst="rect">
            <a:avLst/>
          </a:prstGeom>
          <a:noFill/>
        </p:spPr>
        <p:txBody>
          <a:bodyPr wrap="none" rtlCol="0">
            <a:spAutoFit/>
          </a:bodyPr>
          <a:lstStyle/>
          <a:p>
            <a:r>
              <a:rPr lang="en-GB" sz="1600" b="1" dirty="0">
                <a:solidFill>
                  <a:schemeClr val="tx2"/>
                </a:solidFill>
              </a:rPr>
              <a:t>Sales </a:t>
            </a:r>
            <a:br>
              <a:rPr lang="en-GB" sz="1600" b="1" dirty="0">
                <a:solidFill>
                  <a:schemeClr val="tx2"/>
                </a:solidFill>
              </a:rPr>
            </a:br>
            <a:r>
              <a:rPr lang="en-GB" sz="1600" b="1" dirty="0">
                <a:solidFill>
                  <a:schemeClr val="tx2"/>
                </a:solidFill>
              </a:rPr>
              <a:t>Force</a:t>
            </a:r>
            <a:br>
              <a:rPr lang="en-GB" sz="1600" b="1" dirty="0">
                <a:solidFill>
                  <a:schemeClr val="tx2"/>
                </a:solidFill>
              </a:rPr>
            </a:br>
            <a:endParaRPr lang="en-GB" sz="1600" b="1" dirty="0">
              <a:solidFill>
                <a:schemeClr val="tx2"/>
              </a:solidFill>
            </a:endParaRPr>
          </a:p>
        </p:txBody>
      </p:sp>
      <p:sp>
        <p:nvSpPr>
          <p:cNvPr id="82" name="Textfeld 81">
            <a:extLst>
              <a:ext uri="{FF2B5EF4-FFF2-40B4-BE49-F238E27FC236}">
                <a16:creationId xmlns:a16="http://schemas.microsoft.com/office/drawing/2014/main" xmlns="" id="{B0673B5F-62FA-4673-B741-997852BD0555}"/>
              </a:ext>
            </a:extLst>
          </p:cNvPr>
          <p:cNvSpPr txBox="1"/>
          <p:nvPr/>
        </p:nvSpPr>
        <p:spPr>
          <a:xfrm>
            <a:off x="7894638" y="3560971"/>
            <a:ext cx="1113125" cy="338554"/>
          </a:xfrm>
          <a:prstGeom prst="rect">
            <a:avLst/>
          </a:prstGeom>
          <a:noFill/>
        </p:spPr>
        <p:txBody>
          <a:bodyPr wrap="none" rtlCol="0">
            <a:spAutoFit/>
          </a:bodyPr>
          <a:lstStyle/>
          <a:p>
            <a:r>
              <a:rPr lang="en-GB" sz="1600" b="1" dirty="0">
                <a:solidFill>
                  <a:schemeClr val="tx2"/>
                </a:solidFill>
              </a:rPr>
              <a:t>Purchasing</a:t>
            </a:r>
          </a:p>
        </p:txBody>
      </p:sp>
      <p:sp>
        <p:nvSpPr>
          <p:cNvPr id="83" name="Textfeld 82">
            <a:extLst>
              <a:ext uri="{FF2B5EF4-FFF2-40B4-BE49-F238E27FC236}">
                <a16:creationId xmlns:a16="http://schemas.microsoft.com/office/drawing/2014/main" xmlns="" id="{EDE2AFC8-507F-47C1-8A1E-67266B138380}"/>
              </a:ext>
            </a:extLst>
          </p:cNvPr>
          <p:cNvSpPr txBox="1"/>
          <p:nvPr/>
        </p:nvSpPr>
        <p:spPr>
          <a:xfrm>
            <a:off x="8007364" y="3972610"/>
            <a:ext cx="971613" cy="584775"/>
          </a:xfrm>
          <a:prstGeom prst="rect">
            <a:avLst/>
          </a:prstGeom>
          <a:noFill/>
        </p:spPr>
        <p:txBody>
          <a:bodyPr wrap="none" rtlCol="0">
            <a:spAutoFit/>
          </a:bodyPr>
          <a:lstStyle/>
          <a:p>
            <a:r>
              <a:rPr lang="en-GB" sz="1600" b="1" dirty="0">
                <a:solidFill>
                  <a:schemeClr val="tx2"/>
                </a:solidFill>
              </a:rPr>
              <a:t>Investor</a:t>
            </a:r>
            <a:br>
              <a:rPr lang="en-GB" sz="1600" b="1" dirty="0">
                <a:solidFill>
                  <a:schemeClr val="tx2"/>
                </a:solidFill>
              </a:rPr>
            </a:br>
            <a:r>
              <a:rPr lang="en-GB" sz="1600" b="1" dirty="0">
                <a:solidFill>
                  <a:schemeClr val="tx2"/>
                </a:solidFill>
              </a:rPr>
              <a:t>Relations</a:t>
            </a:r>
          </a:p>
        </p:txBody>
      </p:sp>
      <p:sp>
        <p:nvSpPr>
          <p:cNvPr id="85" name="Textfeld 84">
            <a:extLst>
              <a:ext uri="{FF2B5EF4-FFF2-40B4-BE49-F238E27FC236}">
                <a16:creationId xmlns:a16="http://schemas.microsoft.com/office/drawing/2014/main" xmlns="" id="{4F6A6A29-FEF5-46D3-904C-0BAE406AD395}"/>
              </a:ext>
            </a:extLst>
          </p:cNvPr>
          <p:cNvSpPr txBox="1"/>
          <p:nvPr/>
        </p:nvSpPr>
        <p:spPr>
          <a:xfrm>
            <a:off x="7850956" y="4641166"/>
            <a:ext cx="574196" cy="338554"/>
          </a:xfrm>
          <a:prstGeom prst="rect">
            <a:avLst/>
          </a:prstGeom>
          <a:noFill/>
        </p:spPr>
        <p:txBody>
          <a:bodyPr wrap="none" rtlCol="0">
            <a:spAutoFit/>
          </a:bodyPr>
          <a:lstStyle/>
          <a:p>
            <a:r>
              <a:rPr lang="en-GB" sz="1600" b="1" dirty="0">
                <a:solidFill>
                  <a:schemeClr val="tx2"/>
                </a:solidFill>
              </a:rPr>
              <a:t>R&amp;D</a:t>
            </a:r>
          </a:p>
        </p:txBody>
      </p:sp>
      <p:sp>
        <p:nvSpPr>
          <p:cNvPr id="86" name="Textfeld 85">
            <a:extLst>
              <a:ext uri="{FF2B5EF4-FFF2-40B4-BE49-F238E27FC236}">
                <a16:creationId xmlns:a16="http://schemas.microsoft.com/office/drawing/2014/main" xmlns="" id="{DA15CDE3-CD63-4F10-9C63-B56AE7DBC4B5}"/>
              </a:ext>
            </a:extLst>
          </p:cNvPr>
          <p:cNvSpPr txBox="1"/>
          <p:nvPr/>
        </p:nvSpPr>
        <p:spPr>
          <a:xfrm>
            <a:off x="7304960" y="4864572"/>
            <a:ext cx="429926" cy="338554"/>
          </a:xfrm>
          <a:prstGeom prst="rect">
            <a:avLst/>
          </a:prstGeom>
          <a:noFill/>
        </p:spPr>
        <p:txBody>
          <a:bodyPr wrap="none" rtlCol="0">
            <a:spAutoFit/>
          </a:bodyPr>
          <a:lstStyle/>
          <a:p>
            <a:r>
              <a:rPr lang="en-GB" sz="1600" b="1" dirty="0">
                <a:solidFill>
                  <a:schemeClr val="tx2"/>
                </a:solidFill>
              </a:rPr>
              <a:t>HR</a:t>
            </a:r>
          </a:p>
        </p:txBody>
      </p:sp>
      <p:sp>
        <p:nvSpPr>
          <p:cNvPr id="87" name="Textfeld 86">
            <a:extLst>
              <a:ext uri="{FF2B5EF4-FFF2-40B4-BE49-F238E27FC236}">
                <a16:creationId xmlns:a16="http://schemas.microsoft.com/office/drawing/2014/main" xmlns="" id="{AC081AD8-542A-445B-A779-CCCB81DFFDDA}"/>
              </a:ext>
            </a:extLst>
          </p:cNvPr>
          <p:cNvSpPr txBox="1"/>
          <p:nvPr/>
        </p:nvSpPr>
        <p:spPr>
          <a:xfrm>
            <a:off x="6398751" y="4641165"/>
            <a:ext cx="1038169" cy="584775"/>
          </a:xfrm>
          <a:prstGeom prst="rect">
            <a:avLst/>
          </a:prstGeom>
          <a:noFill/>
        </p:spPr>
        <p:txBody>
          <a:bodyPr wrap="none" rtlCol="0">
            <a:spAutoFit/>
          </a:bodyPr>
          <a:lstStyle/>
          <a:p>
            <a:r>
              <a:rPr lang="en-GB" sz="1600" b="1" dirty="0">
                <a:solidFill>
                  <a:schemeClr val="tx2"/>
                </a:solidFill>
              </a:rPr>
              <a:t>Corporate</a:t>
            </a:r>
            <a:br>
              <a:rPr lang="en-GB" sz="1600" b="1" dirty="0">
                <a:solidFill>
                  <a:schemeClr val="tx2"/>
                </a:solidFill>
              </a:rPr>
            </a:br>
            <a:r>
              <a:rPr lang="en-GB" sz="1600" b="1" dirty="0">
                <a:solidFill>
                  <a:schemeClr val="tx2"/>
                </a:solidFill>
              </a:rPr>
              <a:t>Affairs</a:t>
            </a:r>
          </a:p>
        </p:txBody>
      </p:sp>
      <p:sp>
        <p:nvSpPr>
          <p:cNvPr id="88" name="Textfeld 87">
            <a:extLst>
              <a:ext uri="{FF2B5EF4-FFF2-40B4-BE49-F238E27FC236}">
                <a16:creationId xmlns:a16="http://schemas.microsoft.com/office/drawing/2014/main" xmlns="" id="{FC45DC03-74F1-4B49-844D-E6C690FB9A7E}"/>
              </a:ext>
            </a:extLst>
          </p:cNvPr>
          <p:cNvSpPr txBox="1"/>
          <p:nvPr/>
        </p:nvSpPr>
        <p:spPr>
          <a:xfrm>
            <a:off x="5198542" y="2635535"/>
            <a:ext cx="883640" cy="584775"/>
          </a:xfrm>
          <a:prstGeom prst="rect">
            <a:avLst/>
          </a:prstGeom>
          <a:noFill/>
        </p:spPr>
        <p:txBody>
          <a:bodyPr wrap="none" rtlCol="0">
            <a:spAutoFit/>
          </a:bodyPr>
          <a:lstStyle/>
          <a:p>
            <a:r>
              <a:rPr lang="en-GB" sz="1600" dirty="0">
                <a:solidFill>
                  <a:schemeClr val="tx2"/>
                </a:solidFill>
              </a:rPr>
              <a:t>Social</a:t>
            </a:r>
            <a:br>
              <a:rPr lang="en-GB" sz="1600" dirty="0">
                <a:solidFill>
                  <a:schemeClr val="tx2"/>
                </a:solidFill>
              </a:rPr>
            </a:br>
            <a:r>
              <a:rPr lang="en-GB" sz="1600" dirty="0">
                <a:solidFill>
                  <a:schemeClr val="tx2"/>
                </a:solidFill>
              </a:rPr>
              <a:t>Partners</a:t>
            </a:r>
          </a:p>
        </p:txBody>
      </p:sp>
      <p:sp>
        <p:nvSpPr>
          <p:cNvPr id="89" name="Textfeld 88">
            <a:extLst>
              <a:ext uri="{FF2B5EF4-FFF2-40B4-BE49-F238E27FC236}">
                <a16:creationId xmlns:a16="http://schemas.microsoft.com/office/drawing/2014/main" xmlns="" id="{87581B28-FFF7-4B2D-8E5B-8A539853CDF8}"/>
              </a:ext>
            </a:extLst>
          </p:cNvPr>
          <p:cNvSpPr txBox="1"/>
          <p:nvPr/>
        </p:nvSpPr>
        <p:spPr>
          <a:xfrm>
            <a:off x="5198541" y="3154363"/>
            <a:ext cx="663964" cy="338554"/>
          </a:xfrm>
          <a:prstGeom prst="rect">
            <a:avLst/>
          </a:prstGeom>
          <a:noFill/>
        </p:spPr>
        <p:txBody>
          <a:bodyPr wrap="none" rtlCol="0">
            <a:spAutoFit/>
          </a:bodyPr>
          <a:lstStyle/>
          <a:p>
            <a:r>
              <a:rPr lang="en-GB" sz="1600" dirty="0">
                <a:solidFill>
                  <a:schemeClr val="tx2"/>
                </a:solidFill>
              </a:rPr>
              <a:t>NGOs</a:t>
            </a:r>
          </a:p>
        </p:txBody>
      </p:sp>
      <p:sp>
        <p:nvSpPr>
          <p:cNvPr id="90" name="Textfeld 89">
            <a:extLst>
              <a:ext uri="{FF2B5EF4-FFF2-40B4-BE49-F238E27FC236}">
                <a16:creationId xmlns:a16="http://schemas.microsoft.com/office/drawing/2014/main" xmlns="" id="{7A672199-5046-4447-94BC-CF916D1CDE54}"/>
              </a:ext>
            </a:extLst>
          </p:cNvPr>
          <p:cNvSpPr txBox="1"/>
          <p:nvPr/>
        </p:nvSpPr>
        <p:spPr>
          <a:xfrm>
            <a:off x="6116672" y="1943213"/>
            <a:ext cx="1112484" cy="338554"/>
          </a:xfrm>
          <a:prstGeom prst="rect">
            <a:avLst/>
          </a:prstGeom>
          <a:noFill/>
        </p:spPr>
        <p:txBody>
          <a:bodyPr wrap="none" rtlCol="0">
            <a:spAutoFit/>
          </a:bodyPr>
          <a:lstStyle/>
          <a:p>
            <a:r>
              <a:rPr lang="en-GB" sz="1600" dirty="0">
                <a:solidFill>
                  <a:schemeClr val="tx2"/>
                </a:solidFill>
              </a:rPr>
              <a:t>Consumers</a:t>
            </a:r>
          </a:p>
        </p:txBody>
      </p:sp>
      <p:sp>
        <p:nvSpPr>
          <p:cNvPr id="91" name="Textfeld 90">
            <a:extLst>
              <a:ext uri="{FF2B5EF4-FFF2-40B4-BE49-F238E27FC236}">
                <a16:creationId xmlns:a16="http://schemas.microsoft.com/office/drawing/2014/main" xmlns="" id="{59CF9703-E165-4EDD-B884-AFDFE3974E35}"/>
              </a:ext>
            </a:extLst>
          </p:cNvPr>
          <p:cNvSpPr txBox="1"/>
          <p:nvPr/>
        </p:nvSpPr>
        <p:spPr>
          <a:xfrm>
            <a:off x="7834048" y="1800175"/>
            <a:ext cx="1069716" cy="584775"/>
          </a:xfrm>
          <a:prstGeom prst="rect">
            <a:avLst/>
          </a:prstGeom>
          <a:noFill/>
        </p:spPr>
        <p:txBody>
          <a:bodyPr wrap="none" rtlCol="0">
            <a:spAutoFit/>
          </a:bodyPr>
          <a:lstStyle/>
          <a:p>
            <a:r>
              <a:rPr lang="en-GB" sz="1600" dirty="0">
                <a:solidFill>
                  <a:schemeClr val="tx2"/>
                </a:solidFill>
              </a:rPr>
              <a:t>Business </a:t>
            </a:r>
            <a:br>
              <a:rPr lang="en-GB" sz="1600" dirty="0">
                <a:solidFill>
                  <a:schemeClr val="tx2"/>
                </a:solidFill>
              </a:rPr>
            </a:br>
            <a:r>
              <a:rPr lang="en-GB" sz="1600" dirty="0">
                <a:solidFill>
                  <a:schemeClr val="tx2"/>
                </a:solidFill>
              </a:rPr>
              <a:t>Customers</a:t>
            </a:r>
          </a:p>
        </p:txBody>
      </p:sp>
      <p:sp>
        <p:nvSpPr>
          <p:cNvPr id="92" name="Textfeld 91">
            <a:extLst>
              <a:ext uri="{FF2B5EF4-FFF2-40B4-BE49-F238E27FC236}">
                <a16:creationId xmlns:a16="http://schemas.microsoft.com/office/drawing/2014/main" xmlns="" id="{CA685777-A173-4B46-BCF3-06A81A283839}"/>
              </a:ext>
            </a:extLst>
          </p:cNvPr>
          <p:cNvSpPr txBox="1"/>
          <p:nvPr/>
        </p:nvSpPr>
        <p:spPr>
          <a:xfrm>
            <a:off x="8944636" y="2568302"/>
            <a:ext cx="1570045" cy="338554"/>
          </a:xfrm>
          <a:prstGeom prst="rect">
            <a:avLst/>
          </a:prstGeom>
          <a:noFill/>
        </p:spPr>
        <p:txBody>
          <a:bodyPr wrap="none" rtlCol="0">
            <a:spAutoFit/>
          </a:bodyPr>
          <a:lstStyle/>
          <a:p>
            <a:r>
              <a:rPr lang="en-GB" sz="1600" dirty="0">
                <a:solidFill>
                  <a:schemeClr val="tx2"/>
                </a:solidFill>
              </a:rPr>
              <a:t>Business Partner</a:t>
            </a:r>
          </a:p>
        </p:txBody>
      </p:sp>
      <p:sp>
        <p:nvSpPr>
          <p:cNvPr id="93" name="Textfeld 92">
            <a:extLst>
              <a:ext uri="{FF2B5EF4-FFF2-40B4-BE49-F238E27FC236}">
                <a16:creationId xmlns:a16="http://schemas.microsoft.com/office/drawing/2014/main" xmlns="" id="{78027A12-0660-47C7-9A45-9CC53D17EF2C}"/>
              </a:ext>
            </a:extLst>
          </p:cNvPr>
          <p:cNvSpPr txBox="1"/>
          <p:nvPr/>
        </p:nvSpPr>
        <p:spPr>
          <a:xfrm>
            <a:off x="9161384" y="3058555"/>
            <a:ext cx="945772" cy="338554"/>
          </a:xfrm>
          <a:prstGeom prst="rect">
            <a:avLst/>
          </a:prstGeom>
          <a:noFill/>
        </p:spPr>
        <p:txBody>
          <a:bodyPr wrap="none" rtlCol="0">
            <a:spAutoFit/>
          </a:bodyPr>
          <a:lstStyle/>
          <a:p>
            <a:r>
              <a:rPr lang="en-GB" sz="1600" dirty="0">
                <a:solidFill>
                  <a:schemeClr val="tx2"/>
                </a:solidFill>
              </a:rPr>
              <a:t>Suppliers</a:t>
            </a:r>
          </a:p>
        </p:txBody>
      </p:sp>
      <p:sp>
        <p:nvSpPr>
          <p:cNvPr id="94" name="Textfeld 93">
            <a:extLst>
              <a:ext uri="{FF2B5EF4-FFF2-40B4-BE49-F238E27FC236}">
                <a16:creationId xmlns:a16="http://schemas.microsoft.com/office/drawing/2014/main" xmlns="" id="{2A6879EE-A8C4-4171-A917-769DA17CA14D}"/>
              </a:ext>
            </a:extLst>
          </p:cNvPr>
          <p:cNvSpPr txBox="1"/>
          <p:nvPr/>
        </p:nvSpPr>
        <p:spPr>
          <a:xfrm>
            <a:off x="9462843" y="4027056"/>
            <a:ext cx="936090" cy="338554"/>
          </a:xfrm>
          <a:prstGeom prst="rect">
            <a:avLst/>
          </a:prstGeom>
          <a:noFill/>
        </p:spPr>
        <p:txBody>
          <a:bodyPr wrap="none" rtlCol="0">
            <a:spAutoFit/>
          </a:bodyPr>
          <a:lstStyle/>
          <a:p>
            <a:r>
              <a:rPr lang="en-GB" sz="1600" dirty="0">
                <a:solidFill>
                  <a:schemeClr val="tx2"/>
                </a:solidFill>
              </a:rPr>
              <a:t>Investors</a:t>
            </a:r>
          </a:p>
        </p:txBody>
      </p:sp>
      <p:sp>
        <p:nvSpPr>
          <p:cNvPr id="95" name="Textfeld 94">
            <a:extLst>
              <a:ext uri="{FF2B5EF4-FFF2-40B4-BE49-F238E27FC236}">
                <a16:creationId xmlns:a16="http://schemas.microsoft.com/office/drawing/2014/main" xmlns="" id="{40882095-30D2-4500-A2B0-4DB066802F40}"/>
              </a:ext>
            </a:extLst>
          </p:cNvPr>
          <p:cNvSpPr txBox="1"/>
          <p:nvPr/>
        </p:nvSpPr>
        <p:spPr>
          <a:xfrm>
            <a:off x="9462843" y="4517309"/>
            <a:ext cx="673261" cy="338554"/>
          </a:xfrm>
          <a:prstGeom prst="rect">
            <a:avLst/>
          </a:prstGeom>
          <a:noFill/>
        </p:spPr>
        <p:txBody>
          <a:bodyPr wrap="none" rtlCol="0">
            <a:spAutoFit/>
          </a:bodyPr>
          <a:lstStyle/>
          <a:p>
            <a:r>
              <a:rPr lang="en-GB" sz="1600" dirty="0">
                <a:solidFill>
                  <a:schemeClr val="tx2"/>
                </a:solidFill>
              </a:rPr>
              <a:t>Banks</a:t>
            </a:r>
          </a:p>
        </p:txBody>
      </p:sp>
      <p:sp>
        <p:nvSpPr>
          <p:cNvPr id="96" name="Textfeld 95">
            <a:extLst>
              <a:ext uri="{FF2B5EF4-FFF2-40B4-BE49-F238E27FC236}">
                <a16:creationId xmlns:a16="http://schemas.microsoft.com/office/drawing/2014/main" xmlns="" id="{E726B5A6-B247-49DF-8C70-828FE6B9632E}"/>
              </a:ext>
            </a:extLst>
          </p:cNvPr>
          <p:cNvSpPr txBox="1"/>
          <p:nvPr/>
        </p:nvSpPr>
        <p:spPr>
          <a:xfrm>
            <a:off x="8684168" y="5533041"/>
            <a:ext cx="1932645" cy="338554"/>
          </a:xfrm>
          <a:prstGeom prst="rect">
            <a:avLst/>
          </a:prstGeom>
          <a:noFill/>
        </p:spPr>
        <p:txBody>
          <a:bodyPr wrap="none" rtlCol="0">
            <a:spAutoFit/>
          </a:bodyPr>
          <a:lstStyle/>
          <a:p>
            <a:r>
              <a:rPr lang="en-GB" sz="1600" dirty="0">
                <a:solidFill>
                  <a:schemeClr val="tx2"/>
                </a:solidFill>
              </a:rPr>
              <a:t>Science and research</a:t>
            </a:r>
          </a:p>
        </p:txBody>
      </p:sp>
      <p:sp>
        <p:nvSpPr>
          <p:cNvPr id="97" name="Textfeld 96">
            <a:extLst>
              <a:ext uri="{FF2B5EF4-FFF2-40B4-BE49-F238E27FC236}">
                <a16:creationId xmlns:a16="http://schemas.microsoft.com/office/drawing/2014/main" xmlns="" id="{E722C12A-5A32-488D-84D2-33BF46D9B9F8}"/>
              </a:ext>
            </a:extLst>
          </p:cNvPr>
          <p:cNvSpPr txBox="1"/>
          <p:nvPr/>
        </p:nvSpPr>
        <p:spPr>
          <a:xfrm>
            <a:off x="6707660" y="6241251"/>
            <a:ext cx="1828001" cy="584775"/>
          </a:xfrm>
          <a:prstGeom prst="rect">
            <a:avLst/>
          </a:prstGeom>
          <a:noFill/>
        </p:spPr>
        <p:txBody>
          <a:bodyPr wrap="none" rtlCol="0">
            <a:spAutoFit/>
          </a:bodyPr>
          <a:lstStyle/>
          <a:p>
            <a:r>
              <a:rPr lang="en-GB" sz="1600" dirty="0">
                <a:solidFill>
                  <a:schemeClr val="tx2"/>
                </a:solidFill>
              </a:rPr>
              <a:t>Young professionals</a:t>
            </a:r>
            <a:br>
              <a:rPr lang="en-GB" sz="1600" dirty="0">
                <a:solidFill>
                  <a:schemeClr val="tx2"/>
                </a:solidFill>
              </a:rPr>
            </a:br>
            <a:r>
              <a:rPr lang="en-GB" sz="1600" dirty="0">
                <a:solidFill>
                  <a:schemeClr val="tx2"/>
                </a:solidFill>
              </a:rPr>
              <a:t>and top performers</a:t>
            </a:r>
          </a:p>
        </p:txBody>
      </p:sp>
      <p:sp>
        <p:nvSpPr>
          <p:cNvPr id="98" name="Textfeld 97">
            <a:extLst>
              <a:ext uri="{FF2B5EF4-FFF2-40B4-BE49-F238E27FC236}">
                <a16:creationId xmlns:a16="http://schemas.microsoft.com/office/drawing/2014/main" xmlns="" id="{AEF4A2D3-080D-4E97-8DC5-CBC5613EC9B1}"/>
              </a:ext>
            </a:extLst>
          </p:cNvPr>
          <p:cNvSpPr txBox="1"/>
          <p:nvPr/>
        </p:nvSpPr>
        <p:spPr>
          <a:xfrm>
            <a:off x="4988614" y="5540379"/>
            <a:ext cx="1388393" cy="338554"/>
          </a:xfrm>
          <a:prstGeom prst="rect">
            <a:avLst/>
          </a:prstGeom>
          <a:noFill/>
        </p:spPr>
        <p:txBody>
          <a:bodyPr wrap="none" rtlCol="0">
            <a:spAutoFit/>
          </a:bodyPr>
          <a:lstStyle/>
          <a:p>
            <a:pPr algn="r"/>
            <a:r>
              <a:rPr lang="en-GB" sz="1600" dirty="0">
                <a:solidFill>
                  <a:schemeClr val="tx2"/>
                </a:solidFill>
              </a:rPr>
              <a:t>Political actors</a:t>
            </a:r>
          </a:p>
        </p:txBody>
      </p:sp>
    </p:spTree>
    <p:extLst>
      <p:ext uri="{BB962C8B-B14F-4D97-AF65-F5344CB8AC3E}">
        <p14:creationId xmlns:p14="http://schemas.microsoft.com/office/powerpoint/2010/main" val="614147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7144" y="531928"/>
            <a:ext cx="8852375" cy="697353"/>
          </a:xfrm>
        </p:spPr>
        <p:txBody>
          <a:bodyPr>
            <a:normAutofit/>
          </a:bodyPr>
          <a:lstStyle/>
          <a:p>
            <a:r>
              <a:rPr lang="en-GB" dirty="0"/>
              <a:t>Effective Communication</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3647391" cy="532560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Effective communication is a process of exchanging ideas, thoughts, knowledge and information such that the purpose or intention is fulfilled in the best possible manner. In simple words, it is nothing but the presentation of views by the sender in a way best understood by the receiver.</a:t>
            </a:r>
          </a:p>
          <a:p>
            <a:pPr algn="l">
              <a:lnSpc>
                <a:spcPct val="100000"/>
              </a:lnSpc>
              <a:spcBef>
                <a:spcPts val="600"/>
              </a:spcBef>
            </a:pPr>
            <a:r>
              <a:rPr lang="en-GB" altLang="de-DE" sz="2200" b="1" dirty="0">
                <a:latin typeface="+mj-lt"/>
                <a:sym typeface="Wingdings" panose="05000000000000000000" pitchFamily="2" charset="2"/>
              </a:rPr>
              <a:t>It doesn’t matter what you say if you don’t say it right!</a:t>
            </a:r>
          </a:p>
          <a:p>
            <a:pPr algn="l">
              <a:lnSpc>
                <a:spcPts val="1500"/>
              </a:lnSpc>
              <a:spcBef>
                <a:spcPts val="600"/>
              </a:spcBef>
            </a:pPr>
            <a:endParaRPr lang="en-GB" altLang="de-DE" sz="2200" dirty="0">
              <a:latin typeface="+mj-lt"/>
              <a:sym typeface="Wingdings" panose="05000000000000000000" pitchFamily="2" charset="2"/>
            </a:endParaRPr>
          </a:p>
          <a:p>
            <a:pPr algn="l">
              <a:lnSpc>
                <a:spcPts val="1500"/>
              </a:lnSpc>
              <a:spcBef>
                <a:spcPts val="600"/>
              </a:spcBef>
            </a:pPr>
            <a:endParaRPr lang="en-GB" altLang="de-DE" sz="2200" dirty="0">
              <a:latin typeface="+mj-lt"/>
              <a:sym typeface="Wingdings" panose="05000000000000000000" pitchFamily="2" charset="2"/>
            </a:endParaRPr>
          </a:p>
          <a:p>
            <a:pPr algn="l">
              <a:lnSpc>
                <a:spcPts val="1500"/>
              </a:lnSpc>
              <a:spcBef>
                <a:spcPts val="600"/>
              </a:spcBef>
            </a:pPr>
            <a:endParaRPr lang="en-GB" altLang="de-DE" sz="2200" dirty="0">
              <a:latin typeface="+mj-lt"/>
            </a:endParaRPr>
          </a:p>
          <a:p>
            <a:pPr algn="l">
              <a:lnSpc>
                <a:spcPts val="1500"/>
              </a:lnSpc>
              <a:spcBef>
                <a:spcPts val="600"/>
              </a:spcBef>
            </a:pPr>
            <a:endParaRPr lang="en-GB" sz="2200" dirty="0">
              <a:latin typeface="+mj-lt"/>
              <a:sym typeface="Wingdings" panose="05000000000000000000" pitchFamily="2" charset="2"/>
            </a:endParaRPr>
          </a:p>
        </p:txBody>
      </p:sp>
      <p:sp>
        <p:nvSpPr>
          <p:cNvPr id="47" name="Freeform 5">
            <a:extLst>
              <a:ext uri="{FF2B5EF4-FFF2-40B4-BE49-F238E27FC236}">
                <a16:creationId xmlns:a16="http://schemas.microsoft.com/office/drawing/2014/main" xmlns="" id="{F0F355FB-616D-46B2-B5A2-078AC19FA443}"/>
              </a:ext>
            </a:extLst>
          </p:cNvPr>
          <p:cNvSpPr>
            <a:spLocks/>
          </p:cNvSpPr>
          <p:nvPr/>
        </p:nvSpPr>
        <p:spPr bwMode="auto">
          <a:xfrm>
            <a:off x="6093333" y="3524530"/>
            <a:ext cx="3320033" cy="1801133"/>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48" name="Freeform 6">
            <a:extLst>
              <a:ext uri="{FF2B5EF4-FFF2-40B4-BE49-F238E27FC236}">
                <a16:creationId xmlns:a16="http://schemas.microsoft.com/office/drawing/2014/main" xmlns="" id="{82F8EF92-8F05-4D32-B1BD-A1B1FE93B4EB}"/>
              </a:ext>
            </a:extLst>
          </p:cNvPr>
          <p:cNvSpPr>
            <a:spLocks/>
          </p:cNvSpPr>
          <p:nvPr/>
        </p:nvSpPr>
        <p:spPr bwMode="auto">
          <a:xfrm>
            <a:off x="7753349" y="4426444"/>
            <a:ext cx="1660018" cy="1383206"/>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49" name="Freeform 7">
            <a:extLst>
              <a:ext uri="{FF2B5EF4-FFF2-40B4-BE49-F238E27FC236}">
                <a16:creationId xmlns:a16="http://schemas.microsoft.com/office/drawing/2014/main" xmlns="" id="{E7287EA3-E378-430C-8547-27CE40E00876}"/>
              </a:ext>
            </a:extLst>
          </p:cNvPr>
          <p:cNvSpPr>
            <a:spLocks/>
          </p:cNvSpPr>
          <p:nvPr/>
        </p:nvSpPr>
        <p:spPr bwMode="auto">
          <a:xfrm>
            <a:off x="6093332" y="4426444"/>
            <a:ext cx="1660018" cy="1383206"/>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0" name="Freeform 5">
            <a:extLst>
              <a:ext uri="{FF2B5EF4-FFF2-40B4-BE49-F238E27FC236}">
                <a16:creationId xmlns:a16="http://schemas.microsoft.com/office/drawing/2014/main" xmlns="" id="{4FF01DC9-631F-4C9B-A884-6BEE81104FB8}"/>
              </a:ext>
            </a:extLst>
          </p:cNvPr>
          <p:cNvSpPr>
            <a:spLocks/>
          </p:cNvSpPr>
          <p:nvPr/>
        </p:nvSpPr>
        <p:spPr bwMode="auto">
          <a:xfrm>
            <a:off x="6373643" y="3271179"/>
            <a:ext cx="2759413" cy="1496994"/>
          </a:xfrm>
          <a:custGeom>
            <a:avLst/>
            <a:gdLst>
              <a:gd name="T0" fmla="*/ 1401 w 2802"/>
              <a:gd name="T1" fmla="*/ 0 h 1336"/>
              <a:gd name="T2" fmla="*/ 2802 w 2802"/>
              <a:gd name="T3" fmla="*/ 669 h 1336"/>
              <a:gd name="T4" fmla="*/ 1401 w 2802"/>
              <a:gd name="T5" fmla="*/ 1336 h 1336"/>
              <a:gd name="T6" fmla="*/ 0 w 2802"/>
              <a:gd name="T7" fmla="*/ 669 h 1336"/>
              <a:gd name="T8" fmla="*/ 1401 w 2802"/>
              <a:gd name="T9" fmla="*/ 0 h 1336"/>
            </a:gdLst>
            <a:ahLst/>
            <a:cxnLst>
              <a:cxn ang="0">
                <a:pos x="T0" y="T1"/>
              </a:cxn>
              <a:cxn ang="0">
                <a:pos x="T2" y="T3"/>
              </a:cxn>
              <a:cxn ang="0">
                <a:pos x="T4" y="T5"/>
              </a:cxn>
              <a:cxn ang="0">
                <a:pos x="T6" y="T7"/>
              </a:cxn>
              <a:cxn ang="0">
                <a:pos x="T8" y="T9"/>
              </a:cxn>
            </a:cxnLst>
            <a:rect l="0" t="0" r="r" b="b"/>
            <a:pathLst>
              <a:path w="2802" h="1336">
                <a:moveTo>
                  <a:pt x="1401" y="0"/>
                </a:moveTo>
                <a:lnTo>
                  <a:pt x="2802" y="669"/>
                </a:lnTo>
                <a:lnTo>
                  <a:pt x="1401" y="1336"/>
                </a:lnTo>
                <a:lnTo>
                  <a:pt x="0" y="669"/>
                </a:lnTo>
                <a:lnTo>
                  <a:pt x="1401"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1" name="Freeform 6">
            <a:extLst>
              <a:ext uri="{FF2B5EF4-FFF2-40B4-BE49-F238E27FC236}">
                <a16:creationId xmlns:a16="http://schemas.microsoft.com/office/drawing/2014/main" xmlns="" id="{BCA0FCA0-8874-4116-A76F-0E69A565B90F}"/>
              </a:ext>
            </a:extLst>
          </p:cNvPr>
          <p:cNvSpPr>
            <a:spLocks/>
          </p:cNvSpPr>
          <p:nvPr/>
        </p:nvSpPr>
        <p:spPr bwMode="auto">
          <a:xfrm>
            <a:off x="7753350" y="4020797"/>
            <a:ext cx="1379707" cy="1149638"/>
          </a:xfrm>
          <a:custGeom>
            <a:avLst/>
            <a:gdLst>
              <a:gd name="T0" fmla="*/ 0 w 1401"/>
              <a:gd name="T1" fmla="*/ 1026 h 1026"/>
              <a:gd name="T2" fmla="*/ 1401 w 1401"/>
              <a:gd name="T3" fmla="*/ 357 h 1026"/>
              <a:gd name="T4" fmla="*/ 1401 w 1401"/>
              <a:gd name="T5" fmla="*/ 0 h 1026"/>
              <a:gd name="T6" fmla="*/ 0 w 1401"/>
              <a:gd name="T7" fmla="*/ 667 h 1026"/>
              <a:gd name="T8" fmla="*/ 0 w 1401"/>
              <a:gd name="T9" fmla="*/ 1026 h 1026"/>
            </a:gdLst>
            <a:ahLst/>
            <a:cxnLst>
              <a:cxn ang="0">
                <a:pos x="T0" y="T1"/>
              </a:cxn>
              <a:cxn ang="0">
                <a:pos x="T2" y="T3"/>
              </a:cxn>
              <a:cxn ang="0">
                <a:pos x="T4" y="T5"/>
              </a:cxn>
              <a:cxn ang="0">
                <a:pos x="T6" y="T7"/>
              </a:cxn>
              <a:cxn ang="0">
                <a:pos x="T8" y="T9"/>
              </a:cxn>
            </a:cxnLst>
            <a:rect l="0" t="0" r="r" b="b"/>
            <a:pathLst>
              <a:path w="1401" h="1026">
                <a:moveTo>
                  <a:pt x="0" y="1026"/>
                </a:moveTo>
                <a:lnTo>
                  <a:pt x="1401" y="357"/>
                </a:lnTo>
                <a:lnTo>
                  <a:pt x="1401" y="0"/>
                </a:lnTo>
                <a:lnTo>
                  <a:pt x="0" y="667"/>
                </a:lnTo>
                <a:lnTo>
                  <a:pt x="0" y="1026"/>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2" name="Freeform 7">
            <a:extLst>
              <a:ext uri="{FF2B5EF4-FFF2-40B4-BE49-F238E27FC236}">
                <a16:creationId xmlns:a16="http://schemas.microsoft.com/office/drawing/2014/main" xmlns="" id="{6A1CC2DF-A296-4D7B-8D09-F8B0175435A7}"/>
              </a:ext>
            </a:extLst>
          </p:cNvPr>
          <p:cNvSpPr>
            <a:spLocks/>
          </p:cNvSpPr>
          <p:nvPr/>
        </p:nvSpPr>
        <p:spPr bwMode="auto">
          <a:xfrm>
            <a:off x="6373643" y="4020797"/>
            <a:ext cx="1379707" cy="1149638"/>
          </a:xfrm>
          <a:custGeom>
            <a:avLst/>
            <a:gdLst>
              <a:gd name="T0" fmla="*/ 1401 w 1401"/>
              <a:gd name="T1" fmla="*/ 1026 h 1026"/>
              <a:gd name="T2" fmla="*/ 0 w 1401"/>
              <a:gd name="T3" fmla="*/ 357 h 1026"/>
              <a:gd name="T4" fmla="*/ 0 w 1401"/>
              <a:gd name="T5" fmla="*/ 0 h 1026"/>
              <a:gd name="T6" fmla="*/ 1401 w 1401"/>
              <a:gd name="T7" fmla="*/ 667 h 1026"/>
              <a:gd name="T8" fmla="*/ 1401 w 1401"/>
              <a:gd name="T9" fmla="*/ 1026 h 1026"/>
            </a:gdLst>
            <a:ahLst/>
            <a:cxnLst>
              <a:cxn ang="0">
                <a:pos x="T0" y="T1"/>
              </a:cxn>
              <a:cxn ang="0">
                <a:pos x="T2" y="T3"/>
              </a:cxn>
              <a:cxn ang="0">
                <a:pos x="T4" y="T5"/>
              </a:cxn>
              <a:cxn ang="0">
                <a:pos x="T6" y="T7"/>
              </a:cxn>
              <a:cxn ang="0">
                <a:pos x="T8" y="T9"/>
              </a:cxn>
            </a:cxnLst>
            <a:rect l="0" t="0" r="r" b="b"/>
            <a:pathLst>
              <a:path w="1401" h="1026">
                <a:moveTo>
                  <a:pt x="1401" y="1026"/>
                </a:moveTo>
                <a:lnTo>
                  <a:pt x="0" y="357"/>
                </a:lnTo>
                <a:lnTo>
                  <a:pt x="0" y="0"/>
                </a:lnTo>
                <a:lnTo>
                  <a:pt x="1401" y="667"/>
                </a:lnTo>
                <a:lnTo>
                  <a:pt x="1401" y="1026"/>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3" name="Freeform 19">
            <a:extLst>
              <a:ext uri="{FF2B5EF4-FFF2-40B4-BE49-F238E27FC236}">
                <a16:creationId xmlns:a16="http://schemas.microsoft.com/office/drawing/2014/main" xmlns="" id="{FD7A94C4-2C0F-4801-9376-DF7BF874279E}"/>
              </a:ext>
            </a:extLst>
          </p:cNvPr>
          <p:cNvSpPr>
            <a:spLocks/>
          </p:cNvSpPr>
          <p:nvPr/>
        </p:nvSpPr>
        <p:spPr bwMode="auto">
          <a:xfrm>
            <a:off x="6639048" y="3054923"/>
            <a:ext cx="2228605" cy="1210145"/>
          </a:xfrm>
          <a:custGeom>
            <a:avLst/>
            <a:gdLst>
              <a:gd name="T0" fmla="*/ 1130 w 2263"/>
              <a:gd name="T1" fmla="*/ 0 h 1080"/>
              <a:gd name="T2" fmla="*/ 2263 w 2263"/>
              <a:gd name="T3" fmla="*/ 540 h 1080"/>
              <a:gd name="T4" fmla="*/ 1130 w 2263"/>
              <a:gd name="T5" fmla="*/ 1080 h 1080"/>
              <a:gd name="T6" fmla="*/ 0 w 2263"/>
              <a:gd name="T7" fmla="*/ 540 h 1080"/>
              <a:gd name="T8" fmla="*/ 1130 w 2263"/>
              <a:gd name="T9" fmla="*/ 0 h 1080"/>
            </a:gdLst>
            <a:ahLst/>
            <a:cxnLst>
              <a:cxn ang="0">
                <a:pos x="T0" y="T1"/>
              </a:cxn>
              <a:cxn ang="0">
                <a:pos x="T2" y="T3"/>
              </a:cxn>
              <a:cxn ang="0">
                <a:pos x="T4" y="T5"/>
              </a:cxn>
              <a:cxn ang="0">
                <a:pos x="T6" y="T7"/>
              </a:cxn>
              <a:cxn ang="0">
                <a:pos x="T8" y="T9"/>
              </a:cxn>
            </a:cxnLst>
            <a:rect l="0" t="0" r="r" b="b"/>
            <a:pathLst>
              <a:path w="2263" h="1080">
                <a:moveTo>
                  <a:pt x="1130" y="0"/>
                </a:moveTo>
                <a:lnTo>
                  <a:pt x="2263" y="540"/>
                </a:lnTo>
                <a:lnTo>
                  <a:pt x="1130" y="1080"/>
                </a:lnTo>
                <a:lnTo>
                  <a:pt x="0" y="540"/>
                </a:lnTo>
                <a:lnTo>
                  <a:pt x="1130"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4" name="Freeform 20">
            <a:extLst>
              <a:ext uri="{FF2B5EF4-FFF2-40B4-BE49-F238E27FC236}">
                <a16:creationId xmlns:a16="http://schemas.microsoft.com/office/drawing/2014/main" xmlns="" id="{8D9CD0A4-347C-4037-A250-6909FE2114DC}"/>
              </a:ext>
            </a:extLst>
          </p:cNvPr>
          <p:cNvSpPr>
            <a:spLocks/>
          </p:cNvSpPr>
          <p:nvPr/>
        </p:nvSpPr>
        <p:spPr bwMode="auto">
          <a:xfrm>
            <a:off x="7751873" y="3659995"/>
            <a:ext cx="1115780" cy="1003973"/>
          </a:xfrm>
          <a:custGeom>
            <a:avLst/>
            <a:gdLst>
              <a:gd name="T0" fmla="*/ 0 w 1133"/>
              <a:gd name="T1" fmla="*/ 896 h 896"/>
              <a:gd name="T2" fmla="*/ 1133 w 1133"/>
              <a:gd name="T3" fmla="*/ 357 h 896"/>
              <a:gd name="T4" fmla="*/ 1133 w 1133"/>
              <a:gd name="T5" fmla="*/ 0 h 896"/>
              <a:gd name="T6" fmla="*/ 0 w 1133"/>
              <a:gd name="T7" fmla="*/ 542 h 896"/>
              <a:gd name="T8" fmla="*/ 0 w 1133"/>
              <a:gd name="T9" fmla="*/ 896 h 896"/>
            </a:gdLst>
            <a:ahLst/>
            <a:cxnLst>
              <a:cxn ang="0">
                <a:pos x="T0" y="T1"/>
              </a:cxn>
              <a:cxn ang="0">
                <a:pos x="T2" y="T3"/>
              </a:cxn>
              <a:cxn ang="0">
                <a:pos x="T4" y="T5"/>
              </a:cxn>
              <a:cxn ang="0">
                <a:pos x="T6" y="T7"/>
              </a:cxn>
              <a:cxn ang="0">
                <a:pos x="T8" y="T9"/>
              </a:cxn>
            </a:cxnLst>
            <a:rect l="0" t="0" r="r" b="b"/>
            <a:pathLst>
              <a:path w="1133" h="896">
                <a:moveTo>
                  <a:pt x="0" y="896"/>
                </a:moveTo>
                <a:lnTo>
                  <a:pt x="1133" y="357"/>
                </a:lnTo>
                <a:lnTo>
                  <a:pt x="1133" y="0"/>
                </a:lnTo>
                <a:lnTo>
                  <a:pt x="0" y="542"/>
                </a:lnTo>
                <a:lnTo>
                  <a:pt x="0" y="896"/>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5" name="Freeform 21">
            <a:extLst>
              <a:ext uri="{FF2B5EF4-FFF2-40B4-BE49-F238E27FC236}">
                <a16:creationId xmlns:a16="http://schemas.microsoft.com/office/drawing/2014/main" xmlns="" id="{BAFF470C-53B4-4FF9-92A5-17B4AAED2FCA}"/>
              </a:ext>
            </a:extLst>
          </p:cNvPr>
          <p:cNvSpPr>
            <a:spLocks/>
          </p:cNvSpPr>
          <p:nvPr/>
        </p:nvSpPr>
        <p:spPr bwMode="auto">
          <a:xfrm>
            <a:off x="6639048" y="3659995"/>
            <a:ext cx="1112825" cy="1003973"/>
          </a:xfrm>
          <a:custGeom>
            <a:avLst/>
            <a:gdLst>
              <a:gd name="T0" fmla="*/ 1130 w 1130"/>
              <a:gd name="T1" fmla="*/ 896 h 896"/>
              <a:gd name="T2" fmla="*/ 0 w 1130"/>
              <a:gd name="T3" fmla="*/ 357 h 896"/>
              <a:gd name="T4" fmla="*/ 0 w 1130"/>
              <a:gd name="T5" fmla="*/ 0 h 896"/>
              <a:gd name="T6" fmla="*/ 1130 w 1130"/>
              <a:gd name="T7" fmla="*/ 542 h 896"/>
              <a:gd name="T8" fmla="*/ 1130 w 1130"/>
              <a:gd name="T9" fmla="*/ 896 h 896"/>
            </a:gdLst>
            <a:ahLst/>
            <a:cxnLst>
              <a:cxn ang="0">
                <a:pos x="T0" y="T1"/>
              </a:cxn>
              <a:cxn ang="0">
                <a:pos x="T2" y="T3"/>
              </a:cxn>
              <a:cxn ang="0">
                <a:pos x="T4" y="T5"/>
              </a:cxn>
              <a:cxn ang="0">
                <a:pos x="T6" y="T7"/>
              </a:cxn>
              <a:cxn ang="0">
                <a:pos x="T8" y="T9"/>
              </a:cxn>
            </a:cxnLst>
            <a:rect l="0" t="0" r="r" b="b"/>
            <a:pathLst>
              <a:path w="1130" h="896">
                <a:moveTo>
                  <a:pt x="1130" y="896"/>
                </a:moveTo>
                <a:lnTo>
                  <a:pt x="0" y="357"/>
                </a:lnTo>
                <a:lnTo>
                  <a:pt x="0" y="0"/>
                </a:lnTo>
                <a:lnTo>
                  <a:pt x="1130" y="542"/>
                </a:lnTo>
                <a:lnTo>
                  <a:pt x="1130" y="896"/>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6" name="Freeform 11">
            <a:extLst>
              <a:ext uri="{FF2B5EF4-FFF2-40B4-BE49-F238E27FC236}">
                <a16:creationId xmlns:a16="http://schemas.microsoft.com/office/drawing/2014/main" xmlns="" id="{84818EF6-93B1-4FC1-A53D-95539C7B733C}"/>
              </a:ext>
            </a:extLst>
          </p:cNvPr>
          <p:cNvSpPr>
            <a:spLocks/>
          </p:cNvSpPr>
          <p:nvPr/>
        </p:nvSpPr>
        <p:spPr bwMode="auto">
          <a:xfrm>
            <a:off x="6965508" y="2959679"/>
            <a:ext cx="1575682" cy="856066"/>
          </a:xfrm>
          <a:custGeom>
            <a:avLst/>
            <a:gdLst>
              <a:gd name="T0" fmla="*/ 799 w 1600"/>
              <a:gd name="T1" fmla="*/ 0 h 764"/>
              <a:gd name="T2" fmla="*/ 1600 w 1600"/>
              <a:gd name="T3" fmla="*/ 382 h 764"/>
              <a:gd name="T4" fmla="*/ 799 w 1600"/>
              <a:gd name="T5" fmla="*/ 764 h 764"/>
              <a:gd name="T6" fmla="*/ 0 w 1600"/>
              <a:gd name="T7" fmla="*/ 382 h 764"/>
              <a:gd name="T8" fmla="*/ 799 w 1600"/>
              <a:gd name="T9" fmla="*/ 0 h 764"/>
            </a:gdLst>
            <a:ahLst/>
            <a:cxnLst>
              <a:cxn ang="0">
                <a:pos x="T0" y="T1"/>
              </a:cxn>
              <a:cxn ang="0">
                <a:pos x="T2" y="T3"/>
              </a:cxn>
              <a:cxn ang="0">
                <a:pos x="T4" y="T5"/>
              </a:cxn>
              <a:cxn ang="0">
                <a:pos x="T6" y="T7"/>
              </a:cxn>
              <a:cxn ang="0">
                <a:pos x="T8" y="T9"/>
              </a:cxn>
            </a:cxnLst>
            <a:rect l="0" t="0" r="r" b="b"/>
            <a:pathLst>
              <a:path w="1600" h="764">
                <a:moveTo>
                  <a:pt x="799" y="0"/>
                </a:moveTo>
                <a:lnTo>
                  <a:pt x="1600" y="382"/>
                </a:lnTo>
                <a:lnTo>
                  <a:pt x="799" y="764"/>
                </a:lnTo>
                <a:lnTo>
                  <a:pt x="0" y="382"/>
                </a:lnTo>
                <a:lnTo>
                  <a:pt x="799"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57" name="Freeform 12">
            <a:extLst>
              <a:ext uri="{FF2B5EF4-FFF2-40B4-BE49-F238E27FC236}">
                <a16:creationId xmlns:a16="http://schemas.microsoft.com/office/drawing/2014/main" xmlns="" id="{05B35309-613F-4568-AF80-F9AA5B303ED8}"/>
              </a:ext>
            </a:extLst>
          </p:cNvPr>
          <p:cNvSpPr>
            <a:spLocks/>
          </p:cNvSpPr>
          <p:nvPr/>
        </p:nvSpPr>
        <p:spPr bwMode="auto">
          <a:xfrm>
            <a:off x="7752365" y="3387712"/>
            <a:ext cx="788826" cy="773149"/>
          </a:xfrm>
          <a:custGeom>
            <a:avLst/>
            <a:gdLst>
              <a:gd name="T0" fmla="*/ 0 w 801"/>
              <a:gd name="T1" fmla="*/ 690 h 690"/>
              <a:gd name="T2" fmla="*/ 801 w 801"/>
              <a:gd name="T3" fmla="*/ 308 h 690"/>
              <a:gd name="T4" fmla="*/ 801 w 801"/>
              <a:gd name="T5" fmla="*/ 0 h 690"/>
              <a:gd name="T6" fmla="*/ 0 w 801"/>
              <a:gd name="T7" fmla="*/ 382 h 690"/>
              <a:gd name="T8" fmla="*/ 0 w 801"/>
              <a:gd name="T9" fmla="*/ 690 h 690"/>
            </a:gdLst>
            <a:ahLst/>
            <a:cxnLst>
              <a:cxn ang="0">
                <a:pos x="T0" y="T1"/>
              </a:cxn>
              <a:cxn ang="0">
                <a:pos x="T2" y="T3"/>
              </a:cxn>
              <a:cxn ang="0">
                <a:pos x="T4" y="T5"/>
              </a:cxn>
              <a:cxn ang="0">
                <a:pos x="T6" y="T7"/>
              </a:cxn>
              <a:cxn ang="0">
                <a:pos x="T8" y="T9"/>
              </a:cxn>
            </a:cxnLst>
            <a:rect l="0" t="0" r="r" b="b"/>
            <a:pathLst>
              <a:path w="801" h="690">
                <a:moveTo>
                  <a:pt x="0" y="690"/>
                </a:moveTo>
                <a:lnTo>
                  <a:pt x="801" y="308"/>
                </a:lnTo>
                <a:lnTo>
                  <a:pt x="801" y="0"/>
                </a:lnTo>
                <a:lnTo>
                  <a:pt x="0" y="382"/>
                </a:lnTo>
                <a:lnTo>
                  <a:pt x="0" y="690"/>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63" name="Freeform 13">
            <a:extLst>
              <a:ext uri="{FF2B5EF4-FFF2-40B4-BE49-F238E27FC236}">
                <a16:creationId xmlns:a16="http://schemas.microsoft.com/office/drawing/2014/main" xmlns="" id="{4B10F73F-C66B-46F8-9717-2C3D3E8570D6}"/>
              </a:ext>
            </a:extLst>
          </p:cNvPr>
          <p:cNvSpPr>
            <a:spLocks/>
          </p:cNvSpPr>
          <p:nvPr/>
        </p:nvSpPr>
        <p:spPr bwMode="auto">
          <a:xfrm>
            <a:off x="6965509" y="3387712"/>
            <a:ext cx="786857" cy="773149"/>
          </a:xfrm>
          <a:custGeom>
            <a:avLst/>
            <a:gdLst>
              <a:gd name="T0" fmla="*/ 799 w 799"/>
              <a:gd name="T1" fmla="*/ 690 h 690"/>
              <a:gd name="T2" fmla="*/ 0 w 799"/>
              <a:gd name="T3" fmla="*/ 308 h 690"/>
              <a:gd name="T4" fmla="*/ 0 w 799"/>
              <a:gd name="T5" fmla="*/ 0 h 690"/>
              <a:gd name="T6" fmla="*/ 799 w 799"/>
              <a:gd name="T7" fmla="*/ 382 h 690"/>
              <a:gd name="T8" fmla="*/ 799 w 799"/>
              <a:gd name="T9" fmla="*/ 690 h 690"/>
            </a:gdLst>
            <a:ahLst/>
            <a:cxnLst>
              <a:cxn ang="0">
                <a:pos x="T0" y="T1"/>
              </a:cxn>
              <a:cxn ang="0">
                <a:pos x="T2" y="T3"/>
              </a:cxn>
              <a:cxn ang="0">
                <a:pos x="T4" y="T5"/>
              </a:cxn>
              <a:cxn ang="0">
                <a:pos x="T6" y="T7"/>
              </a:cxn>
              <a:cxn ang="0">
                <a:pos x="T8" y="T9"/>
              </a:cxn>
            </a:cxnLst>
            <a:rect l="0" t="0" r="r" b="b"/>
            <a:pathLst>
              <a:path w="799" h="690">
                <a:moveTo>
                  <a:pt x="799" y="690"/>
                </a:moveTo>
                <a:lnTo>
                  <a:pt x="0" y="308"/>
                </a:lnTo>
                <a:lnTo>
                  <a:pt x="0" y="0"/>
                </a:lnTo>
                <a:lnTo>
                  <a:pt x="799" y="382"/>
                </a:lnTo>
                <a:lnTo>
                  <a:pt x="799" y="690"/>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65" name="Freeform 14">
            <a:extLst>
              <a:ext uri="{FF2B5EF4-FFF2-40B4-BE49-F238E27FC236}">
                <a16:creationId xmlns:a16="http://schemas.microsoft.com/office/drawing/2014/main" xmlns="" id="{89E3B134-5F7E-492F-9086-F22C50CCEBF0}"/>
              </a:ext>
            </a:extLst>
          </p:cNvPr>
          <p:cNvSpPr>
            <a:spLocks/>
          </p:cNvSpPr>
          <p:nvPr/>
        </p:nvSpPr>
        <p:spPr bwMode="auto">
          <a:xfrm>
            <a:off x="7196937" y="2762470"/>
            <a:ext cx="1112825" cy="603952"/>
          </a:xfrm>
          <a:custGeom>
            <a:avLst/>
            <a:gdLst>
              <a:gd name="T0" fmla="*/ 565 w 1130"/>
              <a:gd name="T1" fmla="*/ 0 h 539"/>
              <a:gd name="T2" fmla="*/ 1130 w 1130"/>
              <a:gd name="T3" fmla="*/ 271 h 539"/>
              <a:gd name="T4" fmla="*/ 565 w 1130"/>
              <a:gd name="T5" fmla="*/ 539 h 539"/>
              <a:gd name="T6" fmla="*/ 0 w 1130"/>
              <a:gd name="T7" fmla="*/ 271 h 539"/>
              <a:gd name="T8" fmla="*/ 565 w 1130"/>
              <a:gd name="T9" fmla="*/ 0 h 539"/>
            </a:gdLst>
            <a:ahLst/>
            <a:cxnLst>
              <a:cxn ang="0">
                <a:pos x="T0" y="T1"/>
              </a:cxn>
              <a:cxn ang="0">
                <a:pos x="T2" y="T3"/>
              </a:cxn>
              <a:cxn ang="0">
                <a:pos x="T4" y="T5"/>
              </a:cxn>
              <a:cxn ang="0">
                <a:pos x="T6" y="T7"/>
              </a:cxn>
              <a:cxn ang="0">
                <a:pos x="T8" y="T9"/>
              </a:cxn>
            </a:cxnLst>
            <a:rect l="0" t="0" r="r" b="b"/>
            <a:pathLst>
              <a:path w="1130" h="539">
                <a:moveTo>
                  <a:pt x="565" y="0"/>
                </a:moveTo>
                <a:lnTo>
                  <a:pt x="1130" y="271"/>
                </a:lnTo>
                <a:lnTo>
                  <a:pt x="565" y="539"/>
                </a:lnTo>
                <a:lnTo>
                  <a:pt x="0" y="271"/>
                </a:lnTo>
                <a:lnTo>
                  <a:pt x="565"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66" name="Freeform 15">
            <a:extLst>
              <a:ext uri="{FF2B5EF4-FFF2-40B4-BE49-F238E27FC236}">
                <a16:creationId xmlns:a16="http://schemas.microsoft.com/office/drawing/2014/main" xmlns="" id="{2CB95333-2AF2-4F0A-8AB2-AA18E372A7E5}"/>
              </a:ext>
            </a:extLst>
          </p:cNvPr>
          <p:cNvSpPr>
            <a:spLocks/>
          </p:cNvSpPr>
          <p:nvPr/>
        </p:nvSpPr>
        <p:spPr bwMode="auto">
          <a:xfrm>
            <a:off x="7753351" y="3066127"/>
            <a:ext cx="556413" cy="629724"/>
          </a:xfrm>
          <a:custGeom>
            <a:avLst/>
            <a:gdLst>
              <a:gd name="T0" fmla="*/ 0 w 565"/>
              <a:gd name="T1" fmla="*/ 562 h 562"/>
              <a:gd name="T2" fmla="*/ 565 w 565"/>
              <a:gd name="T3" fmla="*/ 294 h 562"/>
              <a:gd name="T4" fmla="*/ 565 w 565"/>
              <a:gd name="T5" fmla="*/ 0 h 562"/>
              <a:gd name="T6" fmla="*/ 0 w 565"/>
              <a:gd name="T7" fmla="*/ 268 h 562"/>
              <a:gd name="T8" fmla="*/ 0 w 565"/>
              <a:gd name="T9" fmla="*/ 562 h 562"/>
            </a:gdLst>
            <a:ahLst/>
            <a:cxnLst>
              <a:cxn ang="0">
                <a:pos x="T0" y="T1"/>
              </a:cxn>
              <a:cxn ang="0">
                <a:pos x="T2" y="T3"/>
              </a:cxn>
              <a:cxn ang="0">
                <a:pos x="T4" y="T5"/>
              </a:cxn>
              <a:cxn ang="0">
                <a:pos x="T6" y="T7"/>
              </a:cxn>
              <a:cxn ang="0">
                <a:pos x="T8" y="T9"/>
              </a:cxn>
            </a:cxnLst>
            <a:rect l="0" t="0" r="r" b="b"/>
            <a:pathLst>
              <a:path w="565" h="562">
                <a:moveTo>
                  <a:pt x="0" y="562"/>
                </a:moveTo>
                <a:lnTo>
                  <a:pt x="565" y="294"/>
                </a:lnTo>
                <a:lnTo>
                  <a:pt x="565" y="0"/>
                </a:lnTo>
                <a:lnTo>
                  <a:pt x="0" y="268"/>
                </a:lnTo>
                <a:lnTo>
                  <a:pt x="0" y="562"/>
                </a:ln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67" name="Freeform 16">
            <a:extLst>
              <a:ext uri="{FF2B5EF4-FFF2-40B4-BE49-F238E27FC236}">
                <a16:creationId xmlns:a16="http://schemas.microsoft.com/office/drawing/2014/main" xmlns="" id="{68708D60-C497-4126-9914-7602ADDDF958}"/>
              </a:ext>
            </a:extLst>
          </p:cNvPr>
          <p:cNvSpPr>
            <a:spLocks/>
          </p:cNvSpPr>
          <p:nvPr/>
        </p:nvSpPr>
        <p:spPr bwMode="auto">
          <a:xfrm>
            <a:off x="7196937" y="3066127"/>
            <a:ext cx="556413" cy="629724"/>
          </a:xfrm>
          <a:custGeom>
            <a:avLst/>
            <a:gdLst>
              <a:gd name="T0" fmla="*/ 565 w 565"/>
              <a:gd name="T1" fmla="*/ 562 h 562"/>
              <a:gd name="T2" fmla="*/ 0 w 565"/>
              <a:gd name="T3" fmla="*/ 294 h 562"/>
              <a:gd name="T4" fmla="*/ 0 w 565"/>
              <a:gd name="T5" fmla="*/ 0 h 562"/>
              <a:gd name="T6" fmla="*/ 565 w 565"/>
              <a:gd name="T7" fmla="*/ 268 h 562"/>
              <a:gd name="T8" fmla="*/ 565 w 565"/>
              <a:gd name="T9" fmla="*/ 562 h 562"/>
            </a:gdLst>
            <a:ahLst/>
            <a:cxnLst>
              <a:cxn ang="0">
                <a:pos x="T0" y="T1"/>
              </a:cxn>
              <a:cxn ang="0">
                <a:pos x="T2" y="T3"/>
              </a:cxn>
              <a:cxn ang="0">
                <a:pos x="T4" y="T5"/>
              </a:cxn>
              <a:cxn ang="0">
                <a:pos x="T6" y="T7"/>
              </a:cxn>
              <a:cxn ang="0">
                <a:pos x="T8" y="T9"/>
              </a:cxn>
            </a:cxnLst>
            <a:rect l="0" t="0" r="r" b="b"/>
            <a:pathLst>
              <a:path w="565" h="562">
                <a:moveTo>
                  <a:pt x="565" y="562"/>
                </a:moveTo>
                <a:lnTo>
                  <a:pt x="0" y="294"/>
                </a:lnTo>
                <a:lnTo>
                  <a:pt x="0" y="0"/>
                </a:lnTo>
                <a:lnTo>
                  <a:pt x="565" y="268"/>
                </a:lnTo>
                <a:lnTo>
                  <a:pt x="565" y="562"/>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68" name="Freeform 17">
            <a:extLst>
              <a:ext uri="{FF2B5EF4-FFF2-40B4-BE49-F238E27FC236}">
                <a16:creationId xmlns:a16="http://schemas.microsoft.com/office/drawing/2014/main" xmlns="" id="{F39CD3E2-0875-4399-8324-4237EEC49317}"/>
              </a:ext>
            </a:extLst>
          </p:cNvPr>
          <p:cNvSpPr>
            <a:spLocks/>
          </p:cNvSpPr>
          <p:nvPr/>
        </p:nvSpPr>
        <p:spPr bwMode="auto">
          <a:xfrm>
            <a:off x="7305265" y="2571985"/>
            <a:ext cx="896170" cy="705917"/>
          </a:xfrm>
          <a:custGeom>
            <a:avLst/>
            <a:gdLst>
              <a:gd name="T0" fmla="*/ 454 w 910"/>
              <a:gd name="T1" fmla="*/ 0 h 630"/>
              <a:gd name="T2" fmla="*/ 910 w 910"/>
              <a:gd name="T3" fmla="*/ 413 h 630"/>
              <a:gd name="T4" fmla="*/ 454 w 910"/>
              <a:gd name="T5" fmla="*/ 630 h 630"/>
              <a:gd name="T6" fmla="*/ 0 w 910"/>
              <a:gd name="T7" fmla="*/ 413 h 630"/>
              <a:gd name="T8" fmla="*/ 454 w 910"/>
              <a:gd name="T9" fmla="*/ 0 h 630"/>
            </a:gdLst>
            <a:ahLst/>
            <a:cxnLst>
              <a:cxn ang="0">
                <a:pos x="T0" y="T1"/>
              </a:cxn>
              <a:cxn ang="0">
                <a:pos x="T2" y="T3"/>
              </a:cxn>
              <a:cxn ang="0">
                <a:pos x="T4" y="T5"/>
              </a:cxn>
              <a:cxn ang="0">
                <a:pos x="T6" y="T7"/>
              </a:cxn>
              <a:cxn ang="0">
                <a:pos x="T8" y="T9"/>
              </a:cxn>
            </a:cxnLst>
            <a:rect l="0" t="0" r="r" b="b"/>
            <a:pathLst>
              <a:path w="910" h="630">
                <a:moveTo>
                  <a:pt x="454" y="0"/>
                </a:moveTo>
                <a:lnTo>
                  <a:pt x="910" y="413"/>
                </a:lnTo>
                <a:lnTo>
                  <a:pt x="454" y="630"/>
                </a:lnTo>
                <a:lnTo>
                  <a:pt x="0" y="413"/>
                </a:lnTo>
                <a:lnTo>
                  <a:pt x="454" y="0"/>
                </a:lnTo>
                <a:close/>
              </a:path>
            </a:pathLst>
          </a:custGeom>
          <a:solidFill>
            <a:schemeClr val="accent6">
              <a:lumMod val="50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69" name="Freeform 18">
            <a:extLst>
              <a:ext uri="{FF2B5EF4-FFF2-40B4-BE49-F238E27FC236}">
                <a16:creationId xmlns:a16="http://schemas.microsoft.com/office/drawing/2014/main" xmlns="" id="{8AF56E13-B18C-4E9E-B315-E8D85D1AA0DE}"/>
              </a:ext>
            </a:extLst>
          </p:cNvPr>
          <p:cNvSpPr>
            <a:spLocks/>
          </p:cNvSpPr>
          <p:nvPr/>
        </p:nvSpPr>
        <p:spPr bwMode="auto">
          <a:xfrm>
            <a:off x="7305265" y="2571985"/>
            <a:ext cx="447100" cy="705917"/>
          </a:xfrm>
          <a:custGeom>
            <a:avLst/>
            <a:gdLst>
              <a:gd name="T0" fmla="*/ 454 w 454"/>
              <a:gd name="T1" fmla="*/ 0 h 630"/>
              <a:gd name="T2" fmla="*/ 454 w 454"/>
              <a:gd name="T3" fmla="*/ 630 h 630"/>
              <a:gd name="T4" fmla="*/ 0 w 454"/>
              <a:gd name="T5" fmla="*/ 413 h 630"/>
              <a:gd name="T6" fmla="*/ 454 w 454"/>
              <a:gd name="T7" fmla="*/ 0 h 630"/>
            </a:gdLst>
            <a:ahLst/>
            <a:cxnLst>
              <a:cxn ang="0">
                <a:pos x="T0" y="T1"/>
              </a:cxn>
              <a:cxn ang="0">
                <a:pos x="T2" y="T3"/>
              </a:cxn>
              <a:cxn ang="0">
                <a:pos x="T4" y="T5"/>
              </a:cxn>
              <a:cxn ang="0">
                <a:pos x="T6" y="T7"/>
              </a:cxn>
            </a:cxnLst>
            <a:rect l="0" t="0" r="r" b="b"/>
            <a:pathLst>
              <a:path w="454" h="630">
                <a:moveTo>
                  <a:pt x="454" y="0"/>
                </a:moveTo>
                <a:lnTo>
                  <a:pt x="454" y="630"/>
                </a:lnTo>
                <a:lnTo>
                  <a:pt x="0" y="413"/>
                </a:lnTo>
                <a:lnTo>
                  <a:pt x="454" y="0"/>
                </a:lnTo>
                <a:close/>
              </a:path>
            </a:pathLst>
          </a:custGeom>
          <a:solidFill>
            <a:schemeClr val="accent6">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cxnSp>
        <p:nvCxnSpPr>
          <p:cNvPr id="70" name="Straight Arrow Connector 28">
            <a:extLst>
              <a:ext uri="{FF2B5EF4-FFF2-40B4-BE49-F238E27FC236}">
                <a16:creationId xmlns:a16="http://schemas.microsoft.com/office/drawing/2014/main" xmlns="" id="{EC982ED2-8836-4276-B089-BDA63FD407CB}"/>
              </a:ext>
            </a:extLst>
          </p:cNvPr>
          <p:cNvCxnSpPr>
            <a:cxnSpLocks/>
          </p:cNvCxnSpPr>
          <p:nvPr/>
        </p:nvCxnSpPr>
        <p:spPr>
          <a:xfrm>
            <a:off x="7754319" y="2572819"/>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71" name="Straight Arrow Connector 32">
            <a:extLst>
              <a:ext uri="{FF2B5EF4-FFF2-40B4-BE49-F238E27FC236}">
                <a16:creationId xmlns:a16="http://schemas.microsoft.com/office/drawing/2014/main" xmlns="" id="{3B8001E1-0AA5-4AFD-8077-F458A8496B5B}"/>
              </a:ext>
            </a:extLst>
          </p:cNvPr>
          <p:cNvCxnSpPr>
            <a:cxnSpLocks/>
          </p:cNvCxnSpPr>
          <p:nvPr/>
        </p:nvCxnSpPr>
        <p:spPr>
          <a:xfrm rot="10800000">
            <a:off x="5789211" y="3664090"/>
            <a:ext cx="857473" cy="0"/>
          </a:xfrm>
          <a:prstGeom prst="straightConnector1">
            <a:avLst/>
          </a:prstGeom>
          <a:ln w="38100">
            <a:solidFill>
              <a:schemeClr val="tx1">
                <a:lumMod val="50000"/>
                <a:lumOff val="50000"/>
              </a:schemeClr>
            </a:solidFill>
            <a:tailEnd type="oval"/>
          </a:ln>
        </p:spPr>
        <p:style>
          <a:lnRef idx="1">
            <a:schemeClr val="accent1"/>
          </a:lnRef>
          <a:fillRef idx="0">
            <a:schemeClr val="accent1"/>
          </a:fillRef>
          <a:effectRef idx="0">
            <a:schemeClr val="accent1"/>
          </a:effectRef>
          <a:fontRef idx="minor">
            <a:schemeClr val="tx1"/>
          </a:fontRef>
        </p:style>
      </p:cxnSp>
      <p:sp>
        <p:nvSpPr>
          <p:cNvPr id="72" name="Subtitle 2">
            <a:extLst>
              <a:ext uri="{FF2B5EF4-FFF2-40B4-BE49-F238E27FC236}">
                <a16:creationId xmlns:a16="http://schemas.microsoft.com/office/drawing/2014/main" xmlns="" id="{E16D82F6-8727-4A30-8BD0-10AE414034FD}"/>
              </a:ext>
            </a:extLst>
          </p:cNvPr>
          <p:cNvSpPr txBox="1">
            <a:spLocks/>
          </p:cNvSpPr>
          <p:nvPr/>
        </p:nvSpPr>
        <p:spPr>
          <a:xfrm>
            <a:off x="9486748" y="2753385"/>
            <a:ext cx="1833109" cy="28865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313"/>
              </a:lnSpc>
            </a:pPr>
            <a:r>
              <a:rPr lang="en-GB" dirty="0">
                <a:solidFill>
                  <a:schemeClr val="tx1"/>
                </a:solidFill>
                <a:latin typeface="+mj-lt"/>
                <a:ea typeface="Open Sans Light" panose="020B0306030504020204" pitchFamily="34" charset="0"/>
                <a:cs typeface="Open Sans Light" panose="020B0306030504020204" pitchFamily="34" charset="0"/>
              </a:rPr>
              <a:t>7%</a:t>
            </a:r>
          </a:p>
        </p:txBody>
      </p:sp>
      <p:sp>
        <p:nvSpPr>
          <p:cNvPr id="73" name="TextBox 47">
            <a:extLst>
              <a:ext uri="{FF2B5EF4-FFF2-40B4-BE49-F238E27FC236}">
                <a16:creationId xmlns:a16="http://schemas.microsoft.com/office/drawing/2014/main" xmlns="" id="{ACB7990E-DEAF-4807-9240-80C8A39CB4A3}"/>
              </a:ext>
            </a:extLst>
          </p:cNvPr>
          <p:cNvSpPr txBox="1"/>
          <p:nvPr/>
        </p:nvSpPr>
        <p:spPr>
          <a:xfrm>
            <a:off x="8705861" y="2256227"/>
            <a:ext cx="1912703" cy="461665"/>
          </a:xfrm>
          <a:prstGeom prst="rect">
            <a:avLst/>
          </a:prstGeom>
          <a:noFill/>
        </p:spPr>
        <p:txBody>
          <a:bodyPr wrap="none" rtlCol="0" anchor="ctr" anchorCtr="0">
            <a:spAutoFit/>
          </a:bodyPr>
          <a:lstStyle/>
          <a:p>
            <a:r>
              <a:rPr lang="en-GB" sz="2400" b="1" dirty="0">
                <a:solidFill>
                  <a:schemeClr val="tx2"/>
                </a:solidFill>
                <a:latin typeface="+mj-lt"/>
                <a:ea typeface="League Spartan" charset="0"/>
                <a:cs typeface="Poppins" pitchFamily="2" charset="77"/>
              </a:rPr>
              <a:t>What you say!</a:t>
            </a:r>
          </a:p>
        </p:txBody>
      </p:sp>
      <p:sp>
        <p:nvSpPr>
          <p:cNvPr id="74" name="Subtitle 2">
            <a:extLst>
              <a:ext uri="{FF2B5EF4-FFF2-40B4-BE49-F238E27FC236}">
                <a16:creationId xmlns:a16="http://schemas.microsoft.com/office/drawing/2014/main" xmlns="" id="{054BC39C-B526-4C2E-BBB2-07AA5622E21E}"/>
              </a:ext>
            </a:extLst>
          </p:cNvPr>
          <p:cNvSpPr txBox="1">
            <a:spLocks/>
          </p:cNvSpPr>
          <p:nvPr/>
        </p:nvSpPr>
        <p:spPr>
          <a:xfrm>
            <a:off x="3836990" y="3773102"/>
            <a:ext cx="1833109" cy="3021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313"/>
              </a:lnSpc>
            </a:pPr>
            <a:r>
              <a:rPr lang="en-GB" sz="2800" dirty="0">
                <a:solidFill>
                  <a:schemeClr val="tx1"/>
                </a:solidFill>
                <a:latin typeface="+mj-lt"/>
                <a:ea typeface="Open Sans Light" panose="020B0306030504020204" pitchFamily="34" charset="0"/>
                <a:cs typeface="Open Sans Light" panose="020B0306030504020204" pitchFamily="34" charset="0"/>
              </a:rPr>
              <a:t>93%</a:t>
            </a:r>
          </a:p>
        </p:txBody>
      </p:sp>
      <p:sp>
        <p:nvSpPr>
          <p:cNvPr id="75" name="TextBox 55">
            <a:extLst>
              <a:ext uri="{FF2B5EF4-FFF2-40B4-BE49-F238E27FC236}">
                <a16:creationId xmlns:a16="http://schemas.microsoft.com/office/drawing/2014/main" xmlns="" id="{F8F043D5-D963-47DB-8454-EA1F30E828CB}"/>
              </a:ext>
            </a:extLst>
          </p:cNvPr>
          <p:cNvSpPr txBox="1"/>
          <p:nvPr/>
        </p:nvSpPr>
        <p:spPr>
          <a:xfrm>
            <a:off x="4371491" y="3156879"/>
            <a:ext cx="2040880" cy="461665"/>
          </a:xfrm>
          <a:prstGeom prst="rect">
            <a:avLst/>
          </a:prstGeom>
          <a:noFill/>
        </p:spPr>
        <p:txBody>
          <a:bodyPr wrap="none" rtlCol="0" anchor="ctr" anchorCtr="0">
            <a:spAutoFit/>
          </a:bodyPr>
          <a:lstStyle/>
          <a:p>
            <a:pPr algn="r"/>
            <a:r>
              <a:rPr lang="en-GB" sz="2400" b="1" dirty="0">
                <a:solidFill>
                  <a:schemeClr val="tx2"/>
                </a:solidFill>
                <a:latin typeface="+mj-lt"/>
                <a:ea typeface="League Spartan" charset="0"/>
                <a:cs typeface="Poppins" pitchFamily="2" charset="77"/>
              </a:rPr>
              <a:t>How you say it!</a:t>
            </a:r>
          </a:p>
        </p:txBody>
      </p:sp>
    </p:spTree>
    <p:extLst>
      <p:ext uri="{BB962C8B-B14F-4D97-AF65-F5344CB8AC3E}">
        <p14:creationId xmlns:p14="http://schemas.microsoft.com/office/powerpoint/2010/main" val="24196419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58186" y="524626"/>
            <a:ext cx="8852375" cy="697353"/>
          </a:xfrm>
        </p:spPr>
        <p:txBody>
          <a:bodyPr>
            <a:normAutofit/>
          </a:bodyPr>
          <a:lstStyle/>
          <a:p>
            <a:r>
              <a:rPr lang="en-GB" dirty="0"/>
              <a:t>Importance of Communication in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7" y="2142491"/>
            <a:ext cx="4496736" cy="433302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rPr>
              <a:t>The main goal of every workplace crisis communication strategy is to enable seamless communication during crisis within an organization. </a:t>
            </a:r>
          </a:p>
          <a:p>
            <a:pPr algn="l">
              <a:lnSpc>
                <a:spcPct val="100000"/>
              </a:lnSpc>
              <a:spcBef>
                <a:spcPts val="600"/>
              </a:spcBef>
            </a:pPr>
            <a:r>
              <a:rPr lang="en-GB" altLang="de-DE" sz="2200" dirty="0">
                <a:latin typeface="+mj-lt"/>
              </a:rPr>
              <a:t>Messages used in crisis communication are meant to provide employees with the knowledge needed to make the right decisions during crisis</a:t>
            </a:r>
          </a:p>
          <a:p>
            <a:pPr algn="l">
              <a:lnSpc>
                <a:spcPct val="100000"/>
              </a:lnSpc>
              <a:spcBef>
                <a:spcPts val="600"/>
              </a:spcBef>
            </a:pPr>
            <a:endParaRPr lang="en-GB" altLang="de-DE" sz="2200" dirty="0">
              <a:latin typeface="+mj-lt"/>
            </a:endParaRPr>
          </a:p>
          <a:p>
            <a:pPr algn="l">
              <a:lnSpc>
                <a:spcPct val="100000"/>
              </a:lnSpc>
              <a:spcBef>
                <a:spcPts val="600"/>
              </a:spcBef>
            </a:pPr>
            <a:r>
              <a:rPr lang="en-GB" altLang="de-DE" sz="2200" dirty="0">
                <a:latin typeface="+mj-lt"/>
              </a:rPr>
              <a:t>Major thoughts to remember:</a:t>
            </a:r>
          </a:p>
          <a:p>
            <a:pPr algn="l">
              <a:lnSpc>
                <a:spcPts val="1500"/>
              </a:lnSpc>
              <a:spcBef>
                <a:spcPts val="600"/>
              </a:spcBef>
            </a:pPr>
            <a:endParaRPr lang="en-GB" sz="2200" dirty="0">
              <a:latin typeface="+mj-lt"/>
              <a:sym typeface="Wingdings" panose="05000000000000000000" pitchFamily="2" charset="2"/>
            </a:endParaRPr>
          </a:p>
        </p:txBody>
      </p:sp>
      <p:sp>
        <p:nvSpPr>
          <p:cNvPr id="28" name="Freeform 3">
            <a:extLst>
              <a:ext uri="{FF2B5EF4-FFF2-40B4-BE49-F238E27FC236}">
                <a16:creationId xmlns:a16="http://schemas.microsoft.com/office/drawing/2014/main" xmlns="" id="{73E580C7-09E5-4245-890F-13366123B35A}"/>
              </a:ext>
            </a:extLst>
          </p:cNvPr>
          <p:cNvSpPr>
            <a:spLocks noChangeArrowheads="1"/>
          </p:cNvSpPr>
          <p:nvPr/>
        </p:nvSpPr>
        <p:spPr bwMode="auto">
          <a:xfrm>
            <a:off x="5962642" y="2113237"/>
            <a:ext cx="5560427" cy="981414"/>
          </a:xfrm>
          <a:custGeom>
            <a:avLst/>
            <a:gdLst>
              <a:gd name="T0" fmla="*/ 533 w 8894"/>
              <a:gd name="T1" fmla="*/ 714 h 1571"/>
              <a:gd name="T2" fmla="*/ 55 w 8894"/>
              <a:gd name="T3" fmla="*/ 154 h 1571"/>
              <a:gd name="T4" fmla="*/ 55 w 8894"/>
              <a:gd name="T5" fmla="*/ 154 h 1571"/>
              <a:gd name="T6" fmla="*/ 126 w 8894"/>
              <a:gd name="T7" fmla="*/ 0 h 1571"/>
              <a:gd name="T8" fmla="*/ 8249 w 8894"/>
              <a:gd name="T9" fmla="*/ 0 h 1571"/>
              <a:gd name="T10" fmla="*/ 8249 w 8894"/>
              <a:gd name="T11" fmla="*/ 0 h 1571"/>
              <a:gd name="T12" fmla="*/ 8322 w 8894"/>
              <a:gd name="T13" fmla="*/ 35 h 1571"/>
              <a:gd name="T14" fmla="*/ 8866 w 8894"/>
              <a:gd name="T15" fmla="*/ 717 h 1571"/>
              <a:gd name="T16" fmla="*/ 8866 w 8894"/>
              <a:gd name="T17" fmla="*/ 717 h 1571"/>
              <a:gd name="T18" fmla="*/ 8867 w 8894"/>
              <a:gd name="T19" fmla="*/ 832 h 1571"/>
              <a:gd name="T20" fmla="*/ 8322 w 8894"/>
              <a:gd name="T21" fmla="*/ 1534 h 1571"/>
              <a:gd name="T22" fmla="*/ 8322 w 8894"/>
              <a:gd name="T23" fmla="*/ 1534 h 1571"/>
              <a:gd name="T24" fmla="*/ 8248 w 8894"/>
              <a:gd name="T25" fmla="*/ 1570 h 1571"/>
              <a:gd name="T26" fmla="*/ 122 w 8894"/>
              <a:gd name="T27" fmla="*/ 1570 h 1571"/>
              <a:gd name="T28" fmla="*/ 122 w 8894"/>
              <a:gd name="T29" fmla="*/ 1570 h 1571"/>
              <a:gd name="T30" fmla="*/ 51 w 8894"/>
              <a:gd name="T31" fmla="*/ 1417 h 1571"/>
              <a:gd name="T32" fmla="*/ 534 w 8894"/>
              <a:gd name="T33" fmla="*/ 835 h 1571"/>
              <a:gd name="T34" fmla="*/ 534 w 8894"/>
              <a:gd name="T35" fmla="*/ 835 h 1571"/>
              <a:gd name="T36" fmla="*/ 533 w 8894"/>
              <a:gd name="T37" fmla="*/ 714 h 1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94" h="1571">
                <a:moveTo>
                  <a:pt x="533" y="714"/>
                </a:moveTo>
                <a:lnTo>
                  <a:pt x="55" y="154"/>
                </a:lnTo>
                <a:lnTo>
                  <a:pt x="55" y="154"/>
                </a:lnTo>
                <a:cubicBezTo>
                  <a:pt x="3" y="94"/>
                  <a:pt x="46" y="0"/>
                  <a:pt x="126" y="0"/>
                </a:cubicBezTo>
                <a:lnTo>
                  <a:pt x="8249" y="0"/>
                </a:lnTo>
                <a:lnTo>
                  <a:pt x="8249" y="0"/>
                </a:lnTo>
                <a:cubicBezTo>
                  <a:pt x="8277" y="0"/>
                  <a:pt x="8304" y="13"/>
                  <a:pt x="8322" y="35"/>
                </a:cubicBezTo>
                <a:lnTo>
                  <a:pt x="8866" y="717"/>
                </a:lnTo>
                <a:lnTo>
                  <a:pt x="8866" y="717"/>
                </a:lnTo>
                <a:cubicBezTo>
                  <a:pt x="8893" y="750"/>
                  <a:pt x="8893" y="798"/>
                  <a:pt x="8867" y="832"/>
                </a:cubicBezTo>
                <a:lnTo>
                  <a:pt x="8322" y="1534"/>
                </a:lnTo>
                <a:lnTo>
                  <a:pt x="8322" y="1534"/>
                </a:lnTo>
                <a:cubicBezTo>
                  <a:pt x="8304" y="1556"/>
                  <a:pt x="8277" y="1570"/>
                  <a:pt x="8248" y="1570"/>
                </a:cubicBezTo>
                <a:lnTo>
                  <a:pt x="122" y="1570"/>
                </a:lnTo>
                <a:lnTo>
                  <a:pt x="122" y="1570"/>
                </a:lnTo>
                <a:cubicBezTo>
                  <a:pt x="43" y="1570"/>
                  <a:pt x="0" y="1478"/>
                  <a:pt x="51" y="1417"/>
                </a:cubicBezTo>
                <a:lnTo>
                  <a:pt x="534" y="835"/>
                </a:lnTo>
                <a:lnTo>
                  <a:pt x="534" y="835"/>
                </a:lnTo>
                <a:cubicBezTo>
                  <a:pt x="563" y="800"/>
                  <a:pt x="563" y="749"/>
                  <a:pt x="533" y="714"/>
                </a:cubicBezTo>
              </a:path>
            </a:pathLst>
          </a:custGeom>
          <a:solidFill>
            <a:srgbClr val="DDE3A0"/>
          </a:solidFill>
          <a:ln>
            <a:noFill/>
          </a:ln>
          <a:effectLst/>
        </p:spPr>
        <p:txBody>
          <a:bodyPr wrap="none" anchor="ctr"/>
          <a:lstStyle/>
          <a:p>
            <a:endParaRPr lang="en-GB" sz="1400" dirty="0">
              <a:latin typeface="+mj-lt"/>
            </a:endParaRPr>
          </a:p>
        </p:txBody>
      </p:sp>
      <p:sp>
        <p:nvSpPr>
          <p:cNvPr id="29" name="Freeform 7">
            <a:extLst>
              <a:ext uri="{FF2B5EF4-FFF2-40B4-BE49-F238E27FC236}">
                <a16:creationId xmlns:a16="http://schemas.microsoft.com/office/drawing/2014/main" xmlns="" id="{8D06B1F9-B711-4ABE-B259-7D7294EB36F3}"/>
              </a:ext>
            </a:extLst>
          </p:cNvPr>
          <p:cNvSpPr>
            <a:spLocks noChangeArrowheads="1"/>
          </p:cNvSpPr>
          <p:nvPr/>
        </p:nvSpPr>
        <p:spPr bwMode="auto">
          <a:xfrm>
            <a:off x="5962642" y="3450275"/>
            <a:ext cx="5560427" cy="981414"/>
          </a:xfrm>
          <a:custGeom>
            <a:avLst/>
            <a:gdLst>
              <a:gd name="T0" fmla="*/ 533 w 8894"/>
              <a:gd name="T1" fmla="*/ 715 h 1571"/>
              <a:gd name="T2" fmla="*/ 55 w 8894"/>
              <a:gd name="T3" fmla="*/ 155 h 1571"/>
              <a:gd name="T4" fmla="*/ 55 w 8894"/>
              <a:gd name="T5" fmla="*/ 155 h 1571"/>
              <a:gd name="T6" fmla="*/ 126 w 8894"/>
              <a:gd name="T7" fmla="*/ 0 h 1571"/>
              <a:gd name="T8" fmla="*/ 8249 w 8894"/>
              <a:gd name="T9" fmla="*/ 0 h 1571"/>
              <a:gd name="T10" fmla="*/ 8249 w 8894"/>
              <a:gd name="T11" fmla="*/ 0 h 1571"/>
              <a:gd name="T12" fmla="*/ 8322 w 8894"/>
              <a:gd name="T13" fmla="*/ 36 h 1571"/>
              <a:gd name="T14" fmla="*/ 8866 w 8894"/>
              <a:gd name="T15" fmla="*/ 717 h 1571"/>
              <a:gd name="T16" fmla="*/ 8866 w 8894"/>
              <a:gd name="T17" fmla="*/ 717 h 1571"/>
              <a:gd name="T18" fmla="*/ 8867 w 8894"/>
              <a:gd name="T19" fmla="*/ 833 h 1571"/>
              <a:gd name="T20" fmla="*/ 8322 w 8894"/>
              <a:gd name="T21" fmla="*/ 1534 h 1571"/>
              <a:gd name="T22" fmla="*/ 8322 w 8894"/>
              <a:gd name="T23" fmla="*/ 1534 h 1571"/>
              <a:gd name="T24" fmla="*/ 8248 w 8894"/>
              <a:gd name="T25" fmla="*/ 1570 h 1571"/>
              <a:gd name="T26" fmla="*/ 122 w 8894"/>
              <a:gd name="T27" fmla="*/ 1570 h 1571"/>
              <a:gd name="T28" fmla="*/ 122 w 8894"/>
              <a:gd name="T29" fmla="*/ 1570 h 1571"/>
              <a:gd name="T30" fmla="*/ 51 w 8894"/>
              <a:gd name="T31" fmla="*/ 1417 h 1571"/>
              <a:gd name="T32" fmla="*/ 534 w 8894"/>
              <a:gd name="T33" fmla="*/ 835 h 1571"/>
              <a:gd name="T34" fmla="*/ 534 w 8894"/>
              <a:gd name="T35" fmla="*/ 835 h 1571"/>
              <a:gd name="T36" fmla="*/ 533 w 8894"/>
              <a:gd name="T37" fmla="*/ 715 h 1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94" h="1571">
                <a:moveTo>
                  <a:pt x="533" y="715"/>
                </a:moveTo>
                <a:lnTo>
                  <a:pt x="55" y="155"/>
                </a:lnTo>
                <a:lnTo>
                  <a:pt x="55" y="155"/>
                </a:lnTo>
                <a:cubicBezTo>
                  <a:pt x="3" y="94"/>
                  <a:pt x="46" y="0"/>
                  <a:pt x="126" y="0"/>
                </a:cubicBezTo>
                <a:lnTo>
                  <a:pt x="8249" y="0"/>
                </a:lnTo>
                <a:lnTo>
                  <a:pt x="8249" y="0"/>
                </a:lnTo>
                <a:cubicBezTo>
                  <a:pt x="8277" y="0"/>
                  <a:pt x="8304" y="13"/>
                  <a:pt x="8322" y="36"/>
                </a:cubicBezTo>
                <a:lnTo>
                  <a:pt x="8866" y="717"/>
                </a:lnTo>
                <a:lnTo>
                  <a:pt x="8866" y="717"/>
                </a:lnTo>
                <a:cubicBezTo>
                  <a:pt x="8893" y="751"/>
                  <a:pt x="8893" y="799"/>
                  <a:pt x="8867" y="833"/>
                </a:cubicBezTo>
                <a:lnTo>
                  <a:pt x="8322" y="1534"/>
                </a:lnTo>
                <a:lnTo>
                  <a:pt x="8322" y="1534"/>
                </a:lnTo>
                <a:cubicBezTo>
                  <a:pt x="8304" y="1557"/>
                  <a:pt x="8277" y="1570"/>
                  <a:pt x="8248" y="1570"/>
                </a:cubicBezTo>
                <a:lnTo>
                  <a:pt x="122" y="1570"/>
                </a:lnTo>
                <a:lnTo>
                  <a:pt x="122" y="1570"/>
                </a:lnTo>
                <a:cubicBezTo>
                  <a:pt x="43" y="1570"/>
                  <a:pt x="0" y="1478"/>
                  <a:pt x="51" y="1417"/>
                </a:cubicBezTo>
                <a:lnTo>
                  <a:pt x="534" y="835"/>
                </a:lnTo>
                <a:lnTo>
                  <a:pt x="534" y="835"/>
                </a:lnTo>
                <a:cubicBezTo>
                  <a:pt x="563" y="800"/>
                  <a:pt x="563" y="749"/>
                  <a:pt x="533" y="715"/>
                </a:cubicBezTo>
              </a:path>
            </a:pathLst>
          </a:custGeom>
          <a:solidFill>
            <a:schemeClr val="bg1">
              <a:lumMod val="50000"/>
            </a:schemeClr>
          </a:solidFill>
          <a:ln>
            <a:noFill/>
          </a:ln>
          <a:effectLst/>
        </p:spPr>
        <p:txBody>
          <a:bodyPr wrap="none" anchor="ctr"/>
          <a:lstStyle/>
          <a:p>
            <a:endParaRPr lang="en-GB" sz="1400" dirty="0">
              <a:latin typeface="+mj-lt"/>
            </a:endParaRPr>
          </a:p>
        </p:txBody>
      </p:sp>
      <p:sp>
        <p:nvSpPr>
          <p:cNvPr id="30" name="Freeform 11">
            <a:extLst>
              <a:ext uri="{FF2B5EF4-FFF2-40B4-BE49-F238E27FC236}">
                <a16:creationId xmlns:a16="http://schemas.microsoft.com/office/drawing/2014/main" xmlns="" id="{EBFCEA3E-2DC2-42D9-A299-DD553EA6B0D3}"/>
              </a:ext>
            </a:extLst>
          </p:cNvPr>
          <p:cNvSpPr>
            <a:spLocks noChangeArrowheads="1"/>
          </p:cNvSpPr>
          <p:nvPr/>
        </p:nvSpPr>
        <p:spPr bwMode="auto">
          <a:xfrm>
            <a:off x="5962642" y="4781801"/>
            <a:ext cx="5560427" cy="981414"/>
          </a:xfrm>
          <a:custGeom>
            <a:avLst/>
            <a:gdLst>
              <a:gd name="T0" fmla="*/ 533 w 8894"/>
              <a:gd name="T1" fmla="*/ 714 h 1570"/>
              <a:gd name="T2" fmla="*/ 55 w 8894"/>
              <a:gd name="T3" fmla="*/ 154 h 1570"/>
              <a:gd name="T4" fmla="*/ 55 w 8894"/>
              <a:gd name="T5" fmla="*/ 154 h 1570"/>
              <a:gd name="T6" fmla="*/ 126 w 8894"/>
              <a:gd name="T7" fmla="*/ 0 h 1570"/>
              <a:gd name="T8" fmla="*/ 8249 w 8894"/>
              <a:gd name="T9" fmla="*/ 0 h 1570"/>
              <a:gd name="T10" fmla="*/ 8249 w 8894"/>
              <a:gd name="T11" fmla="*/ 0 h 1570"/>
              <a:gd name="T12" fmla="*/ 8322 w 8894"/>
              <a:gd name="T13" fmla="*/ 35 h 1570"/>
              <a:gd name="T14" fmla="*/ 8866 w 8894"/>
              <a:gd name="T15" fmla="*/ 717 h 1570"/>
              <a:gd name="T16" fmla="*/ 8866 w 8894"/>
              <a:gd name="T17" fmla="*/ 717 h 1570"/>
              <a:gd name="T18" fmla="*/ 8867 w 8894"/>
              <a:gd name="T19" fmla="*/ 832 h 1570"/>
              <a:gd name="T20" fmla="*/ 8322 w 8894"/>
              <a:gd name="T21" fmla="*/ 1533 h 1570"/>
              <a:gd name="T22" fmla="*/ 8322 w 8894"/>
              <a:gd name="T23" fmla="*/ 1533 h 1570"/>
              <a:gd name="T24" fmla="*/ 8248 w 8894"/>
              <a:gd name="T25" fmla="*/ 1569 h 1570"/>
              <a:gd name="T26" fmla="*/ 122 w 8894"/>
              <a:gd name="T27" fmla="*/ 1569 h 1570"/>
              <a:gd name="T28" fmla="*/ 122 w 8894"/>
              <a:gd name="T29" fmla="*/ 1569 h 1570"/>
              <a:gd name="T30" fmla="*/ 51 w 8894"/>
              <a:gd name="T31" fmla="*/ 1416 h 1570"/>
              <a:gd name="T32" fmla="*/ 534 w 8894"/>
              <a:gd name="T33" fmla="*/ 834 h 1570"/>
              <a:gd name="T34" fmla="*/ 534 w 8894"/>
              <a:gd name="T35" fmla="*/ 834 h 1570"/>
              <a:gd name="T36" fmla="*/ 533 w 8894"/>
              <a:gd name="T37" fmla="*/ 714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94" h="1570">
                <a:moveTo>
                  <a:pt x="533" y="714"/>
                </a:moveTo>
                <a:lnTo>
                  <a:pt x="55" y="154"/>
                </a:lnTo>
                <a:lnTo>
                  <a:pt x="55" y="154"/>
                </a:lnTo>
                <a:cubicBezTo>
                  <a:pt x="3" y="93"/>
                  <a:pt x="46" y="0"/>
                  <a:pt x="126" y="0"/>
                </a:cubicBezTo>
                <a:lnTo>
                  <a:pt x="8249" y="0"/>
                </a:lnTo>
                <a:lnTo>
                  <a:pt x="8249" y="0"/>
                </a:lnTo>
                <a:cubicBezTo>
                  <a:pt x="8277" y="0"/>
                  <a:pt x="8304" y="13"/>
                  <a:pt x="8322" y="35"/>
                </a:cubicBezTo>
                <a:lnTo>
                  <a:pt x="8866" y="717"/>
                </a:lnTo>
                <a:lnTo>
                  <a:pt x="8866" y="717"/>
                </a:lnTo>
                <a:cubicBezTo>
                  <a:pt x="8893" y="750"/>
                  <a:pt x="8893" y="798"/>
                  <a:pt x="8867" y="832"/>
                </a:cubicBezTo>
                <a:lnTo>
                  <a:pt x="8322" y="1533"/>
                </a:lnTo>
                <a:lnTo>
                  <a:pt x="8322" y="1533"/>
                </a:lnTo>
                <a:cubicBezTo>
                  <a:pt x="8304" y="1557"/>
                  <a:pt x="8277" y="1569"/>
                  <a:pt x="8248" y="1569"/>
                </a:cubicBezTo>
                <a:lnTo>
                  <a:pt x="122" y="1569"/>
                </a:lnTo>
                <a:lnTo>
                  <a:pt x="122" y="1569"/>
                </a:lnTo>
                <a:cubicBezTo>
                  <a:pt x="43" y="1569"/>
                  <a:pt x="0" y="1478"/>
                  <a:pt x="51" y="1416"/>
                </a:cubicBezTo>
                <a:lnTo>
                  <a:pt x="534" y="834"/>
                </a:lnTo>
                <a:lnTo>
                  <a:pt x="534" y="834"/>
                </a:lnTo>
                <a:cubicBezTo>
                  <a:pt x="563" y="799"/>
                  <a:pt x="563" y="749"/>
                  <a:pt x="533" y="714"/>
                </a:cubicBezTo>
              </a:path>
            </a:pathLst>
          </a:custGeom>
          <a:solidFill>
            <a:srgbClr val="C01F75"/>
          </a:solidFill>
          <a:ln>
            <a:noFill/>
          </a:ln>
          <a:effectLst/>
        </p:spPr>
        <p:txBody>
          <a:bodyPr wrap="none" anchor="ctr"/>
          <a:lstStyle/>
          <a:p>
            <a:endParaRPr lang="en-GB" sz="1400" dirty="0">
              <a:latin typeface="+mj-lt"/>
            </a:endParaRPr>
          </a:p>
        </p:txBody>
      </p:sp>
      <p:sp>
        <p:nvSpPr>
          <p:cNvPr id="31" name="TextBox 7">
            <a:extLst>
              <a:ext uri="{FF2B5EF4-FFF2-40B4-BE49-F238E27FC236}">
                <a16:creationId xmlns:a16="http://schemas.microsoft.com/office/drawing/2014/main" xmlns="" id="{FC61B4F9-C788-4685-A878-017DDD13A2C2}"/>
              </a:ext>
            </a:extLst>
          </p:cNvPr>
          <p:cNvSpPr txBox="1"/>
          <p:nvPr/>
        </p:nvSpPr>
        <p:spPr>
          <a:xfrm>
            <a:off x="10549025" y="2365417"/>
            <a:ext cx="505268" cy="477054"/>
          </a:xfrm>
          <a:prstGeom prst="rect">
            <a:avLst/>
          </a:prstGeom>
          <a:noFill/>
        </p:spPr>
        <p:txBody>
          <a:bodyPr wrap="none" rtlCol="0" anchor="ctr">
            <a:spAutoFit/>
          </a:bodyPr>
          <a:lstStyle/>
          <a:p>
            <a:pPr algn="ctr"/>
            <a:r>
              <a:rPr lang="en-GB" sz="2500" b="1" dirty="0">
                <a:solidFill>
                  <a:schemeClr val="tx2"/>
                </a:solidFill>
                <a:latin typeface="+mj-lt"/>
                <a:cs typeface="Poppins" pitchFamily="2" charset="77"/>
              </a:rPr>
              <a:t>01</a:t>
            </a:r>
          </a:p>
        </p:txBody>
      </p:sp>
      <p:sp>
        <p:nvSpPr>
          <p:cNvPr id="32" name="Subtitle 2">
            <a:extLst>
              <a:ext uri="{FF2B5EF4-FFF2-40B4-BE49-F238E27FC236}">
                <a16:creationId xmlns:a16="http://schemas.microsoft.com/office/drawing/2014/main" xmlns="" id="{7EE5CDCF-2A5C-4D34-85E5-E1362E0A2263}"/>
              </a:ext>
            </a:extLst>
          </p:cNvPr>
          <p:cNvSpPr txBox="1">
            <a:spLocks/>
          </p:cNvSpPr>
          <p:nvPr/>
        </p:nvSpPr>
        <p:spPr>
          <a:xfrm>
            <a:off x="6151182" y="2264988"/>
            <a:ext cx="4397842" cy="65018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latin typeface="+mj-lt"/>
                <a:ea typeface="Lato Light" panose="020F0502020204030203" pitchFamily="34" charset="0"/>
                <a:cs typeface="Mukta ExtraLight" panose="020B0000000000000000" pitchFamily="34" charset="77"/>
              </a:rPr>
              <a:t>Your company WILL EXPERIENCE a crisis – and several over time</a:t>
            </a:r>
          </a:p>
        </p:txBody>
      </p:sp>
      <p:sp>
        <p:nvSpPr>
          <p:cNvPr id="34" name="TextBox 11">
            <a:extLst>
              <a:ext uri="{FF2B5EF4-FFF2-40B4-BE49-F238E27FC236}">
                <a16:creationId xmlns:a16="http://schemas.microsoft.com/office/drawing/2014/main" xmlns="" id="{E695558F-C4AF-4BDC-A5AA-BDE51A68CC67}"/>
              </a:ext>
            </a:extLst>
          </p:cNvPr>
          <p:cNvSpPr txBox="1"/>
          <p:nvPr/>
        </p:nvSpPr>
        <p:spPr>
          <a:xfrm>
            <a:off x="10531391" y="3676616"/>
            <a:ext cx="540534" cy="523220"/>
          </a:xfrm>
          <a:prstGeom prst="rect">
            <a:avLst/>
          </a:prstGeom>
          <a:noFill/>
        </p:spPr>
        <p:txBody>
          <a:bodyPr wrap="none" rtlCol="0" anchor="ctr">
            <a:spAutoFit/>
          </a:bodyPr>
          <a:lstStyle/>
          <a:p>
            <a:pPr algn="ctr"/>
            <a:r>
              <a:rPr lang="en-GB" sz="2800" b="1" dirty="0">
                <a:solidFill>
                  <a:schemeClr val="bg1"/>
                </a:solidFill>
                <a:latin typeface="+mj-lt"/>
                <a:cs typeface="Poppins" pitchFamily="2" charset="77"/>
              </a:rPr>
              <a:t>02</a:t>
            </a:r>
          </a:p>
        </p:txBody>
      </p:sp>
      <p:sp>
        <p:nvSpPr>
          <p:cNvPr id="35" name="Subtitle 2">
            <a:extLst>
              <a:ext uri="{FF2B5EF4-FFF2-40B4-BE49-F238E27FC236}">
                <a16:creationId xmlns:a16="http://schemas.microsoft.com/office/drawing/2014/main" xmlns="" id="{CAEDBD46-5CAC-4572-A309-97584DDB0BF9}"/>
              </a:ext>
            </a:extLst>
          </p:cNvPr>
          <p:cNvSpPr txBox="1">
            <a:spLocks/>
          </p:cNvSpPr>
          <p:nvPr/>
        </p:nvSpPr>
        <p:spPr>
          <a:xfrm>
            <a:off x="5962642" y="3526567"/>
            <a:ext cx="4586383" cy="65018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PLANNING INCREASES your chances of managing the crisis</a:t>
            </a:r>
          </a:p>
        </p:txBody>
      </p:sp>
      <p:sp>
        <p:nvSpPr>
          <p:cNvPr id="37" name="TextBox 17">
            <a:extLst>
              <a:ext uri="{FF2B5EF4-FFF2-40B4-BE49-F238E27FC236}">
                <a16:creationId xmlns:a16="http://schemas.microsoft.com/office/drawing/2014/main" xmlns="" id="{57799E9C-0EBA-4E38-A56C-515C952AC24A}"/>
              </a:ext>
            </a:extLst>
          </p:cNvPr>
          <p:cNvSpPr txBox="1"/>
          <p:nvPr/>
        </p:nvSpPr>
        <p:spPr>
          <a:xfrm>
            <a:off x="10531391" y="5010898"/>
            <a:ext cx="540534" cy="523220"/>
          </a:xfrm>
          <a:prstGeom prst="rect">
            <a:avLst/>
          </a:prstGeom>
          <a:noFill/>
        </p:spPr>
        <p:txBody>
          <a:bodyPr wrap="none" rtlCol="0" anchor="ctr">
            <a:spAutoFit/>
          </a:bodyPr>
          <a:lstStyle/>
          <a:p>
            <a:pPr algn="ctr"/>
            <a:r>
              <a:rPr lang="en-GB" sz="2800" b="1" dirty="0">
                <a:solidFill>
                  <a:schemeClr val="bg1"/>
                </a:solidFill>
                <a:latin typeface="+mj-lt"/>
                <a:cs typeface="Poppins" pitchFamily="2" charset="77"/>
              </a:rPr>
              <a:t>03</a:t>
            </a:r>
          </a:p>
        </p:txBody>
      </p:sp>
      <p:sp>
        <p:nvSpPr>
          <p:cNvPr id="38" name="Subtitle 2">
            <a:extLst>
              <a:ext uri="{FF2B5EF4-FFF2-40B4-BE49-F238E27FC236}">
                <a16:creationId xmlns:a16="http://schemas.microsoft.com/office/drawing/2014/main" xmlns="" id="{29D698B3-DED7-420E-8024-2A7858E8AB40}"/>
              </a:ext>
            </a:extLst>
          </p:cNvPr>
          <p:cNvSpPr txBox="1">
            <a:spLocks/>
          </p:cNvSpPr>
          <p:nvPr/>
        </p:nvSpPr>
        <p:spPr>
          <a:xfrm>
            <a:off x="6270660" y="4839693"/>
            <a:ext cx="4278365" cy="865630"/>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chemeClr val="bg1"/>
                </a:solidFill>
                <a:latin typeface="+mj-lt"/>
                <a:ea typeface="Lato Light" panose="020F0502020204030203" pitchFamily="34" charset="0"/>
                <a:cs typeface="Mukta ExtraLight" panose="020B0000000000000000" pitchFamily="34" charset="77"/>
              </a:rPr>
              <a:t>COMMUNICATING with stakeholders IMPROVES your ability to manage the crisis and recover from it.</a:t>
            </a:r>
          </a:p>
        </p:txBody>
      </p:sp>
    </p:spTree>
    <p:extLst>
      <p:ext uri="{BB962C8B-B14F-4D97-AF65-F5344CB8AC3E}">
        <p14:creationId xmlns:p14="http://schemas.microsoft.com/office/powerpoint/2010/main" val="22928412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01554" y="504294"/>
            <a:ext cx="8852375" cy="697353"/>
          </a:xfrm>
        </p:spPr>
        <p:txBody>
          <a:bodyPr>
            <a:normAutofit/>
          </a:bodyPr>
          <a:lstStyle/>
          <a:p>
            <a:r>
              <a:rPr lang="en-GB" dirty="0"/>
              <a:t>Prepare for Communication </a:t>
            </a:r>
            <a:r>
              <a:rPr lang="en-GB" u="sng" dirty="0"/>
              <a:t>BEFORE</a:t>
            </a:r>
            <a:r>
              <a:rPr lang="en-GB" dirty="0"/>
              <a:t> the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20968" y="1776158"/>
            <a:ext cx="3245165" cy="492639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In a crisis, communication with stakeholders is an extremely important issue. Because in the course of the life cycle of a company, the crisis is almost certain to occur you should definitely prepare this before a crisis. </a:t>
            </a:r>
          </a:p>
          <a:p>
            <a:pPr algn="l">
              <a:lnSpc>
                <a:spcPct val="100000"/>
              </a:lnSpc>
              <a:spcBef>
                <a:spcPts val="600"/>
              </a:spcBef>
            </a:pPr>
            <a:r>
              <a:rPr lang="en-GB" sz="2200" b="1" dirty="0">
                <a:solidFill>
                  <a:srgbClr val="245473"/>
                </a:solidFill>
                <a:latin typeface="+mj-lt"/>
                <a:sym typeface="Wingdings" panose="05000000000000000000" pitchFamily="2" charset="2"/>
              </a:rPr>
              <a:t>AND:</a:t>
            </a:r>
          </a:p>
          <a:p>
            <a:pPr algn="l">
              <a:lnSpc>
                <a:spcPct val="100000"/>
              </a:lnSpc>
              <a:spcBef>
                <a:spcPts val="600"/>
              </a:spcBef>
            </a:pPr>
            <a:r>
              <a:rPr lang="en-GB" sz="2200" dirty="0">
                <a:solidFill>
                  <a:srgbClr val="245473"/>
                </a:solidFill>
                <a:latin typeface="+mj-lt"/>
                <a:sym typeface="Wingdings" panose="05000000000000000000" pitchFamily="2" charset="2"/>
              </a:rPr>
              <a:t>Build a “Goodwill-Bank” with positive stakeholders in advance</a:t>
            </a:r>
          </a:p>
          <a:p>
            <a:pPr algn="l">
              <a:lnSpc>
                <a:spcPts val="1500"/>
              </a:lnSpc>
              <a:spcBef>
                <a:spcPts val="600"/>
              </a:spcBef>
            </a:pPr>
            <a:endParaRPr lang="en-GB" sz="2000" dirty="0">
              <a:latin typeface="+mj-lt"/>
              <a:sym typeface="Wingdings" panose="05000000000000000000" pitchFamily="2" charset="2"/>
            </a:endParaRPr>
          </a:p>
        </p:txBody>
      </p:sp>
      <p:sp>
        <p:nvSpPr>
          <p:cNvPr id="14" name="Freeform 13">
            <a:extLst>
              <a:ext uri="{FF2B5EF4-FFF2-40B4-BE49-F238E27FC236}">
                <a16:creationId xmlns:a16="http://schemas.microsoft.com/office/drawing/2014/main" xmlns="" id="{AEEFD47D-97F3-4515-8686-7D9C3636160E}"/>
              </a:ext>
            </a:extLst>
          </p:cNvPr>
          <p:cNvSpPr>
            <a:spLocks noChangeArrowheads="1"/>
          </p:cNvSpPr>
          <p:nvPr/>
        </p:nvSpPr>
        <p:spPr bwMode="auto">
          <a:xfrm>
            <a:off x="3795445" y="3428999"/>
            <a:ext cx="1213751" cy="1271339"/>
          </a:xfrm>
          <a:custGeom>
            <a:avLst/>
            <a:gdLst>
              <a:gd name="T0" fmla="*/ 2013 w 2596"/>
              <a:gd name="T1" fmla="*/ 3496 h 3497"/>
              <a:gd name="T2" fmla="*/ 587 w 2596"/>
              <a:gd name="T3" fmla="*/ 3496 h 3497"/>
              <a:gd name="T4" fmla="*/ 587 w 2596"/>
              <a:gd name="T5" fmla="*/ 3496 h 3497"/>
              <a:gd name="T6" fmla="*/ 459 w 2596"/>
              <a:gd name="T7" fmla="*/ 3367 h 3497"/>
              <a:gd name="T8" fmla="*/ 459 w 2596"/>
              <a:gd name="T9" fmla="*/ 2064 h 3497"/>
              <a:gd name="T10" fmla="*/ 459 w 2596"/>
              <a:gd name="T11" fmla="*/ 2064 h 3497"/>
              <a:gd name="T12" fmla="*/ 330 w 2596"/>
              <a:gd name="T13" fmla="*/ 1936 h 3497"/>
              <a:gd name="T14" fmla="*/ 165 w 2596"/>
              <a:gd name="T15" fmla="*/ 1936 h 3497"/>
              <a:gd name="T16" fmla="*/ 165 w 2596"/>
              <a:gd name="T17" fmla="*/ 1936 h 3497"/>
              <a:gd name="T18" fmla="*/ 59 w 2596"/>
              <a:gd name="T19" fmla="*/ 1735 h 3497"/>
              <a:gd name="T20" fmla="*/ 1191 w 2596"/>
              <a:gd name="T21" fmla="*/ 74 h 3497"/>
              <a:gd name="T22" fmla="*/ 1191 w 2596"/>
              <a:gd name="T23" fmla="*/ 74 h 3497"/>
              <a:gd name="T24" fmla="*/ 1404 w 2596"/>
              <a:gd name="T25" fmla="*/ 74 h 3497"/>
              <a:gd name="T26" fmla="*/ 2537 w 2596"/>
              <a:gd name="T27" fmla="*/ 1735 h 3497"/>
              <a:gd name="T28" fmla="*/ 2537 w 2596"/>
              <a:gd name="T29" fmla="*/ 1735 h 3497"/>
              <a:gd name="T30" fmla="*/ 2430 w 2596"/>
              <a:gd name="T31" fmla="*/ 1936 h 3497"/>
              <a:gd name="T32" fmla="*/ 2270 w 2596"/>
              <a:gd name="T33" fmla="*/ 1936 h 3497"/>
              <a:gd name="T34" fmla="*/ 2270 w 2596"/>
              <a:gd name="T35" fmla="*/ 1936 h 3497"/>
              <a:gd name="T36" fmla="*/ 2142 w 2596"/>
              <a:gd name="T37" fmla="*/ 2064 h 3497"/>
              <a:gd name="T38" fmla="*/ 2142 w 2596"/>
              <a:gd name="T39" fmla="*/ 3367 h 3497"/>
              <a:gd name="T40" fmla="*/ 2142 w 2596"/>
              <a:gd name="T41" fmla="*/ 3367 h 3497"/>
              <a:gd name="T42" fmla="*/ 2013 w 2596"/>
              <a:gd name="T43" fmla="*/ 3496 h 3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96" h="3497">
                <a:moveTo>
                  <a:pt x="2013" y="3496"/>
                </a:moveTo>
                <a:lnTo>
                  <a:pt x="587" y="3496"/>
                </a:lnTo>
                <a:lnTo>
                  <a:pt x="587" y="3496"/>
                </a:lnTo>
                <a:cubicBezTo>
                  <a:pt x="516" y="3496"/>
                  <a:pt x="459" y="3438"/>
                  <a:pt x="459" y="3367"/>
                </a:cubicBezTo>
                <a:lnTo>
                  <a:pt x="459" y="2064"/>
                </a:lnTo>
                <a:lnTo>
                  <a:pt x="459" y="2064"/>
                </a:lnTo>
                <a:cubicBezTo>
                  <a:pt x="459" y="1993"/>
                  <a:pt x="401" y="1936"/>
                  <a:pt x="330" y="1936"/>
                </a:cubicBezTo>
                <a:lnTo>
                  <a:pt x="165" y="1936"/>
                </a:lnTo>
                <a:lnTo>
                  <a:pt x="165" y="1936"/>
                </a:lnTo>
                <a:cubicBezTo>
                  <a:pt x="61" y="1936"/>
                  <a:pt x="0" y="1820"/>
                  <a:pt x="59" y="1735"/>
                </a:cubicBezTo>
                <a:lnTo>
                  <a:pt x="1191" y="74"/>
                </a:lnTo>
                <a:lnTo>
                  <a:pt x="1191" y="74"/>
                </a:lnTo>
                <a:cubicBezTo>
                  <a:pt x="1243" y="0"/>
                  <a:pt x="1353" y="0"/>
                  <a:pt x="1404" y="74"/>
                </a:cubicBezTo>
                <a:lnTo>
                  <a:pt x="2537" y="1735"/>
                </a:lnTo>
                <a:lnTo>
                  <a:pt x="2537" y="1735"/>
                </a:lnTo>
                <a:cubicBezTo>
                  <a:pt x="2595" y="1820"/>
                  <a:pt x="2534" y="1936"/>
                  <a:pt x="2430" y="1936"/>
                </a:cubicBezTo>
                <a:lnTo>
                  <a:pt x="2270" y="1936"/>
                </a:lnTo>
                <a:lnTo>
                  <a:pt x="2270" y="1936"/>
                </a:lnTo>
                <a:cubicBezTo>
                  <a:pt x="2199" y="1936"/>
                  <a:pt x="2142" y="1993"/>
                  <a:pt x="2142" y="2064"/>
                </a:cubicBezTo>
                <a:lnTo>
                  <a:pt x="2142" y="3367"/>
                </a:lnTo>
                <a:lnTo>
                  <a:pt x="2142" y="3367"/>
                </a:lnTo>
                <a:cubicBezTo>
                  <a:pt x="2142" y="3438"/>
                  <a:pt x="2084" y="3496"/>
                  <a:pt x="2013" y="3496"/>
                </a:cubicBezTo>
              </a:path>
            </a:pathLst>
          </a:custGeom>
          <a:solidFill>
            <a:schemeClr val="accent1"/>
          </a:solidFill>
          <a:ln>
            <a:noFill/>
          </a:ln>
          <a:effectLst/>
        </p:spPr>
        <p:txBody>
          <a:bodyPr wrap="none" anchor="ctr"/>
          <a:lstStyle/>
          <a:p>
            <a:endParaRPr lang="en-GB" sz="1400" dirty="0">
              <a:latin typeface="+mj-lt"/>
            </a:endParaRPr>
          </a:p>
        </p:txBody>
      </p:sp>
      <p:sp>
        <p:nvSpPr>
          <p:cNvPr id="15" name="Freeform 15">
            <a:extLst>
              <a:ext uri="{FF2B5EF4-FFF2-40B4-BE49-F238E27FC236}">
                <a16:creationId xmlns:a16="http://schemas.microsoft.com/office/drawing/2014/main" xmlns="" id="{BEFAADEB-EF67-4DAF-B543-E2888868810F}"/>
              </a:ext>
            </a:extLst>
          </p:cNvPr>
          <p:cNvSpPr>
            <a:spLocks noChangeArrowheads="1"/>
          </p:cNvSpPr>
          <p:nvPr/>
        </p:nvSpPr>
        <p:spPr bwMode="auto">
          <a:xfrm>
            <a:off x="5867820" y="3428999"/>
            <a:ext cx="1213751" cy="1271339"/>
          </a:xfrm>
          <a:custGeom>
            <a:avLst/>
            <a:gdLst>
              <a:gd name="T0" fmla="*/ 2013 w 2596"/>
              <a:gd name="T1" fmla="*/ 3496 h 3497"/>
              <a:gd name="T2" fmla="*/ 587 w 2596"/>
              <a:gd name="T3" fmla="*/ 3496 h 3497"/>
              <a:gd name="T4" fmla="*/ 587 w 2596"/>
              <a:gd name="T5" fmla="*/ 3496 h 3497"/>
              <a:gd name="T6" fmla="*/ 459 w 2596"/>
              <a:gd name="T7" fmla="*/ 3367 h 3497"/>
              <a:gd name="T8" fmla="*/ 459 w 2596"/>
              <a:gd name="T9" fmla="*/ 2064 h 3497"/>
              <a:gd name="T10" fmla="*/ 459 w 2596"/>
              <a:gd name="T11" fmla="*/ 2064 h 3497"/>
              <a:gd name="T12" fmla="*/ 330 w 2596"/>
              <a:gd name="T13" fmla="*/ 1936 h 3497"/>
              <a:gd name="T14" fmla="*/ 165 w 2596"/>
              <a:gd name="T15" fmla="*/ 1936 h 3497"/>
              <a:gd name="T16" fmla="*/ 165 w 2596"/>
              <a:gd name="T17" fmla="*/ 1936 h 3497"/>
              <a:gd name="T18" fmla="*/ 59 w 2596"/>
              <a:gd name="T19" fmla="*/ 1735 h 3497"/>
              <a:gd name="T20" fmla="*/ 1191 w 2596"/>
              <a:gd name="T21" fmla="*/ 74 h 3497"/>
              <a:gd name="T22" fmla="*/ 1191 w 2596"/>
              <a:gd name="T23" fmla="*/ 74 h 3497"/>
              <a:gd name="T24" fmla="*/ 1403 w 2596"/>
              <a:gd name="T25" fmla="*/ 74 h 3497"/>
              <a:gd name="T26" fmla="*/ 2537 w 2596"/>
              <a:gd name="T27" fmla="*/ 1735 h 3497"/>
              <a:gd name="T28" fmla="*/ 2537 w 2596"/>
              <a:gd name="T29" fmla="*/ 1735 h 3497"/>
              <a:gd name="T30" fmla="*/ 2430 w 2596"/>
              <a:gd name="T31" fmla="*/ 1936 h 3497"/>
              <a:gd name="T32" fmla="*/ 2270 w 2596"/>
              <a:gd name="T33" fmla="*/ 1936 h 3497"/>
              <a:gd name="T34" fmla="*/ 2270 w 2596"/>
              <a:gd name="T35" fmla="*/ 1936 h 3497"/>
              <a:gd name="T36" fmla="*/ 2142 w 2596"/>
              <a:gd name="T37" fmla="*/ 2064 h 3497"/>
              <a:gd name="T38" fmla="*/ 2142 w 2596"/>
              <a:gd name="T39" fmla="*/ 3367 h 3497"/>
              <a:gd name="T40" fmla="*/ 2142 w 2596"/>
              <a:gd name="T41" fmla="*/ 3367 h 3497"/>
              <a:gd name="T42" fmla="*/ 2013 w 2596"/>
              <a:gd name="T43" fmla="*/ 3496 h 3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96" h="3497">
                <a:moveTo>
                  <a:pt x="2013" y="3496"/>
                </a:moveTo>
                <a:lnTo>
                  <a:pt x="587" y="3496"/>
                </a:lnTo>
                <a:lnTo>
                  <a:pt x="587" y="3496"/>
                </a:lnTo>
                <a:cubicBezTo>
                  <a:pt x="516" y="3496"/>
                  <a:pt x="459" y="3438"/>
                  <a:pt x="459" y="3367"/>
                </a:cubicBezTo>
                <a:lnTo>
                  <a:pt x="459" y="2064"/>
                </a:lnTo>
                <a:lnTo>
                  <a:pt x="459" y="2064"/>
                </a:lnTo>
                <a:cubicBezTo>
                  <a:pt x="459" y="1993"/>
                  <a:pt x="401" y="1936"/>
                  <a:pt x="330" y="1936"/>
                </a:cubicBezTo>
                <a:lnTo>
                  <a:pt x="165" y="1936"/>
                </a:lnTo>
                <a:lnTo>
                  <a:pt x="165" y="1936"/>
                </a:lnTo>
                <a:cubicBezTo>
                  <a:pt x="61" y="1936"/>
                  <a:pt x="0" y="1820"/>
                  <a:pt x="59" y="1735"/>
                </a:cubicBezTo>
                <a:lnTo>
                  <a:pt x="1191" y="74"/>
                </a:lnTo>
                <a:lnTo>
                  <a:pt x="1191" y="74"/>
                </a:lnTo>
                <a:cubicBezTo>
                  <a:pt x="1243" y="0"/>
                  <a:pt x="1353" y="0"/>
                  <a:pt x="1403" y="74"/>
                </a:cubicBezTo>
                <a:lnTo>
                  <a:pt x="2537" y="1735"/>
                </a:lnTo>
                <a:lnTo>
                  <a:pt x="2537" y="1735"/>
                </a:lnTo>
                <a:cubicBezTo>
                  <a:pt x="2595" y="1820"/>
                  <a:pt x="2534" y="1936"/>
                  <a:pt x="2430" y="1936"/>
                </a:cubicBezTo>
                <a:lnTo>
                  <a:pt x="2270" y="1936"/>
                </a:lnTo>
                <a:lnTo>
                  <a:pt x="2270" y="1936"/>
                </a:lnTo>
                <a:cubicBezTo>
                  <a:pt x="2199" y="1936"/>
                  <a:pt x="2142" y="1993"/>
                  <a:pt x="2142" y="2064"/>
                </a:cubicBezTo>
                <a:lnTo>
                  <a:pt x="2142" y="3367"/>
                </a:lnTo>
                <a:lnTo>
                  <a:pt x="2142" y="3367"/>
                </a:lnTo>
                <a:cubicBezTo>
                  <a:pt x="2142" y="3438"/>
                  <a:pt x="2084" y="3496"/>
                  <a:pt x="2013" y="3496"/>
                </a:cubicBezTo>
              </a:path>
            </a:pathLst>
          </a:custGeom>
          <a:solidFill>
            <a:schemeClr val="accent2"/>
          </a:solidFill>
          <a:ln>
            <a:noFill/>
          </a:ln>
          <a:effectLst/>
        </p:spPr>
        <p:txBody>
          <a:bodyPr wrap="none" anchor="ctr"/>
          <a:lstStyle/>
          <a:p>
            <a:endParaRPr lang="en-GB" sz="1400" dirty="0">
              <a:latin typeface="+mj-lt"/>
            </a:endParaRPr>
          </a:p>
        </p:txBody>
      </p:sp>
      <p:sp>
        <p:nvSpPr>
          <p:cNvPr id="17" name="Freeform 17">
            <a:extLst>
              <a:ext uri="{FF2B5EF4-FFF2-40B4-BE49-F238E27FC236}">
                <a16:creationId xmlns:a16="http://schemas.microsoft.com/office/drawing/2014/main" xmlns="" id="{9E51FA4D-5F6E-4FEF-8FC7-55CF7E5BBF9D}"/>
              </a:ext>
            </a:extLst>
          </p:cNvPr>
          <p:cNvSpPr>
            <a:spLocks noChangeArrowheads="1"/>
          </p:cNvSpPr>
          <p:nvPr/>
        </p:nvSpPr>
        <p:spPr bwMode="auto">
          <a:xfrm>
            <a:off x="7940194" y="3428999"/>
            <a:ext cx="1211690" cy="1271339"/>
          </a:xfrm>
          <a:custGeom>
            <a:avLst/>
            <a:gdLst>
              <a:gd name="T0" fmla="*/ 2013 w 2595"/>
              <a:gd name="T1" fmla="*/ 3496 h 3497"/>
              <a:gd name="T2" fmla="*/ 586 w 2595"/>
              <a:gd name="T3" fmla="*/ 3496 h 3497"/>
              <a:gd name="T4" fmla="*/ 586 w 2595"/>
              <a:gd name="T5" fmla="*/ 3496 h 3497"/>
              <a:gd name="T6" fmla="*/ 459 w 2595"/>
              <a:gd name="T7" fmla="*/ 3367 h 3497"/>
              <a:gd name="T8" fmla="*/ 459 w 2595"/>
              <a:gd name="T9" fmla="*/ 2064 h 3497"/>
              <a:gd name="T10" fmla="*/ 459 w 2595"/>
              <a:gd name="T11" fmla="*/ 2064 h 3497"/>
              <a:gd name="T12" fmla="*/ 330 w 2595"/>
              <a:gd name="T13" fmla="*/ 1936 h 3497"/>
              <a:gd name="T14" fmla="*/ 164 w 2595"/>
              <a:gd name="T15" fmla="*/ 1936 h 3497"/>
              <a:gd name="T16" fmla="*/ 164 w 2595"/>
              <a:gd name="T17" fmla="*/ 1936 h 3497"/>
              <a:gd name="T18" fmla="*/ 58 w 2595"/>
              <a:gd name="T19" fmla="*/ 1735 h 3497"/>
              <a:gd name="T20" fmla="*/ 1190 w 2595"/>
              <a:gd name="T21" fmla="*/ 74 h 3497"/>
              <a:gd name="T22" fmla="*/ 1190 w 2595"/>
              <a:gd name="T23" fmla="*/ 74 h 3497"/>
              <a:gd name="T24" fmla="*/ 1403 w 2595"/>
              <a:gd name="T25" fmla="*/ 74 h 3497"/>
              <a:gd name="T26" fmla="*/ 2536 w 2595"/>
              <a:gd name="T27" fmla="*/ 1735 h 3497"/>
              <a:gd name="T28" fmla="*/ 2536 w 2595"/>
              <a:gd name="T29" fmla="*/ 1735 h 3497"/>
              <a:gd name="T30" fmla="*/ 2430 w 2595"/>
              <a:gd name="T31" fmla="*/ 1936 h 3497"/>
              <a:gd name="T32" fmla="*/ 2269 w 2595"/>
              <a:gd name="T33" fmla="*/ 1936 h 3497"/>
              <a:gd name="T34" fmla="*/ 2269 w 2595"/>
              <a:gd name="T35" fmla="*/ 1936 h 3497"/>
              <a:gd name="T36" fmla="*/ 2141 w 2595"/>
              <a:gd name="T37" fmla="*/ 2064 h 3497"/>
              <a:gd name="T38" fmla="*/ 2141 w 2595"/>
              <a:gd name="T39" fmla="*/ 3367 h 3497"/>
              <a:gd name="T40" fmla="*/ 2141 w 2595"/>
              <a:gd name="T41" fmla="*/ 3367 h 3497"/>
              <a:gd name="T42" fmla="*/ 2013 w 2595"/>
              <a:gd name="T43" fmla="*/ 3496 h 3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95" h="3497">
                <a:moveTo>
                  <a:pt x="2013" y="3496"/>
                </a:moveTo>
                <a:lnTo>
                  <a:pt x="586" y="3496"/>
                </a:lnTo>
                <a:lnTo>
                  <a:pt x="586" y="3496"/>
                </a:lnTo>
                <a:cubicBezTo>
                  <a:pt x="515" y="3496"/>
                  <a:pt x="459" y="3438"/>
                  <a:pt x="459" y="3367"/>
                </a:cubicBezTo>
                <a:lnTo>
                  <a:pt x="459" y="2064"/>
                </a:lnTo>
                <a:lnTo>
                  <a:pt x="459" y="2064"/>
                </a:lnTo>
                <a:cubicBezTo>
                  <a:pt x="459" y="1993"/>
                  <a:pt x="401" y="1936"/>
                  <a:pt x="330" y="1936"/>
                </a:cubicBezTo>
                <a:lnTo>
                  <a:pt x="164" y="1936"/>
                </a:lnTo>
                <a:lnTo>
                  <a:pt x="164" y="1936"/>
                </a:lnTo>
                <a:cubicBezTo>
                  <a:pt x="61" y="1936"/>
                  <a:pt x="0" y="1820"/>
                  <a:pt x="58" y="1735"/>
                </a:cubicBezTo>
                <a:lnTo>
                  <a:pt x="1190" y="74"/>
                </a:lnTo>
                <a:lnTo>
                  <a:pt x="1190" y="74"/>
                </a:lnTo>
                <a:cubicBezTo>
                  <a:pt x="1242" y="0"/>
                  <a:pt x="1352" y="0"/>
                  <a:pt x="1403" y="74"/>
                </a:cubicBezTo>
                <a:lnTo>
                  <a:pt x="2536" y="1735"/>
                </a:lnTo>
                <a:lnTo>
                  <a:pt x="2536" y="1735"/>
                </a:lnTo>
                <a:cubicBezTo>
                  <a:pt x="2594" y="1820"/>
                  <a:pt x="2533" y="1936"/>
                  <a:pt x="2430" y="1936"/>
                </a:cubicBezTo>
                <a:lnTo>
                  <a:pt x="2269" y="1936"/>
                </a:lnTo>
                <a:lnTo>
                  <a:pt x="2269" y="1936"/>
                </a:lnTo>
                <a:cubicBezTo>
                  <a:pt x="2198" y="1936"/>
                  <a:pt x="2141" y="1993"/>
                  <a:pt x="2141" y="2064"/>
                </a:cubicBezTo>
                <a:lnTo>
                  <a:pt x="2141" y="3367"/>
                </a:lnTo>
                <a:lnTo>
                  <a:pt x="2141" y="3367"/>
                </a:lnTo>
                <a:cubicBezTo>
                  <a:pt x="2141" y="3438"/>
                  <a:pt x="2083" y="3496"/>
                  <a:pt x="2013" y="3496"/>
                </a:cubicBezTo>
              </a:path>
            </a:pathLst>
          </a:custGeom>
          <a:solidFill>
            <a:schemeClr val="accent3"/>
          </a:solidFill>
          <a:ln>
            <a:noFill/>
          </a:ln>
          <a:effectLst/>
        </p:spPr>
        <p:txBody>
          <a:bodyPr wrap="none" anchor="ctr"/>
          <a:lstStyle/>
          <a:p>
            <a:endParaRPr lang="en-GB" sz="1400" dirty="0">
              <a:latin typeface="+mj-lt"/>
            </a:endParaRPr>
          </a:p>
        </p:txBody>
      </p:sp>
      <p:sp>
        <p:nvSpPr>
          <p:cNvPr id="18" name="Freeform 19">
            <a:extLst>
              <a:ext uri="{FF2B5EF4-FFF2-40B4-BE49-F238E27FC236}">
                <a16:creationId xmlns:a16="http://schemas.microsoft.com/office/drawing/2014/main" xmlns="" id="{E97BCD02-2E79-4313-A82E-CCCF12F52A53}"/>
              </a:ext>
            </a:extLst>
          </p:cNvPr>
          <p:cNvSpPr>
            <a:spLocks noChangeArrowheads="1"/>
          </p:cNvSpPr>
          <p:nvPr/>
        </p:nvSpPr>
        <p:spPr bwMode="auto">
          <a:xfrm>
            <a:off x="10010507" y="3428999"/>
            <a:ext cx="1211690" cy="1271339"/>
          </a:xfrm>
          <a:custGeom>
            <a:avLst/>
            <a:gdLst>
              <a:gd name="T0" fmla="*/ 2013 w 2595"/>
              <a:gd name="T1" fmla="*/ 3496 h 3497"/>
              <a:gd name="T2" fmla="*/ 586 w 2595"/>
              <a:gd name="T3" fmla="*/ 3496 h 3497"/>
              <a:gd name="T4" fmla="*/ 586 w 2595"/>
              <a:gd name="T5" fmla="*/ 3496 h 3497"/>
              <a:gd name="T6" fmla="*/ 458 w 2595"/>
              <a:gd name="T7" fmla="*/ 3367 h 3497"/>
              <a:gd name="T8" fmla="*/ 458 w 2595"/>
              <a:gd name="T9" fmla="*/ 2064 h 3497"/>
              <a:gd name="T10" fmla="*/ 458 w 2595"/>
              <a:gd name="T11" fmla="*/ 2064 h 3497"/>
              <a:gd name="T12" fmla="*/ 330 w 2595"/>
              <a:gd name="T13" fmla="*/ 1936 h 3497"/>
              <a:gd name="T14" fmla="*/ 164 w 2595"/>
              <a:gd name="T15" fmla="*/ 1936 h 3497"/>
              <a:gd name="T16" fmla="*/ 164 w 2595"/>
              <a:gd name="T17" fmla="*/ 1936 h 3497"/>
              <a:gd name="T18" fmla="*/ 58 w 2595"/>
              <a:gd name="T19" fmla="*/ 1735 h 3497"/>
              <a:gd name="T20" fmla="*/ 1191 w 2595"/>
              <a:gd name="T21" fmla="*/ 74 h 3497"/>
              <a:gd name="T22" fmla="*/ 1191 w 2595"/>
              <a:gd name="T23" fmla="*/ 74 h 3497"/>
              <a:gd name="T24" fmla="*/ 1403 w 2595"/>
              <a:gd name="T25" fmla="*/ 74 h 3497"/>
              <a:gd name="T26" fmla="*/ 2536 w 2595"/>
              <a:gd name="T27" fmla="*/ 1735 h 3497"/>
              <a:gd name="T28" fmla="*/ 2536 w 2595"/>
              <a:gd name="T29" fmla="*/ 1735 h 3497"/>
              <a:gd name="T30" fmla="*/ 2430 w 2595"/>
              <a:gd name="T31" fmla="*/ 1936 h 3497"/>
              <a:gd name="T32" fmla="*/ 2269 w 2595"/>
              <a:gd name="T33" fmla="*/ 1936 h 3497"/>
              <a:gd name="T34" fmla="*/ 2269 w 2595"/>
              <a:gd name="T35" fmla="*/ 1936 h 3497"/>
              <a:gd name="T36" fmla="*/ 2141 w 2595"/>
              <a:gd name="T37" fmla="*/ 2064 h 3497"/>
              <a:gd name="T38" fmla="*/ 2141 w 2595"/>
              <a:gd name="T39" fmla="*/ 3367 h 3497"/>
              <a:gd name="T40" fmla="*/ 2141 w 2595"/>
              <a:gd name="T41" fmla="*/ 3367 h 3497"/>
              <a:gd name="T42" fmla="*/ 2013 w 2595"/>
              <a:gd name="T43" fmla="*/ 3496 h 3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95" h="3497">
                <a:moveTo>
                  <a:pt x="2013" y="3496"/>
                </a:moveTo>
                <a:lnTo>
                  <a:pt x="586" y="3496"/>
                </a:lnTo>
                <a:lnTo>
                  <a:pt x="586" y="3496"/>
                </a:lnTo>
                <a:cubicBezTo>
                  <a:pt x="515" y="3496"/>
                  <a:pt x="458" y="3438"/>
                  <a:pt x="458" y="3367"/>
                </a:cubicBezTo>
                <a:lnTo>
                  <a:pt x="458" y="2064"/>
                </a:lnTo>
                <a:lnTo>
                  <a:pt x="458" y="2064"/>
                </a:lnTo>
                <a:cubicBezTo>
                  <a:pt x="458" y="1993"/>
                  <a:pt x="401" y="1936"/>
                  <a:pt x="330" y="1936"/>
                </a:cubicBezTo>
                <a:lnTo>
                  <a:pt x="164" y="1936"/>
                </a:lnTo>
                <a:lnTo>
                  <a:pt x="164" y="1936"/>
                </a:lnTo>
                <a:cubicBezTo>
                  <a:pt x="61" y="1936"/>
                  <a:pt x="0" y="1820"/>
                  <a:pt x="58" y="1735"/>
                </a:cubicBezTo>
                <a:lnTo>
                  <a:pt x="1191" y="74"/>
                </a:lnTo>
                <a:lnTo>
                  <a:pt x="1191" y="74"/>
                </a:lnTo>
                <a:cubicBezTo>
                  <a:pt x="1242" y="0"/>
                  <a:pt x="1352" y="0"/>
                  <a:pt x="1403" y="74"/>
                </a:cubicBezTo>
                <a:lnTo>
                  <a:pt x="2536" y="1735"/>
                </a:lnTo>
                <a:lnTo>
                  <a:pt x="2536" y="1735"/>
                </a:lnTo>
                <a:cubicBezTo>
                  <a:pt x="2594" y="1820"/>
                  <a:pt x="2533" y="1936"/>
                  <a:pt x="2430" y="1936"/>
                </a:cubicBezTo>
                <a:lnTo>
                  <a:pt x="2269" y="1936"/>
                </a:lnTo>
                <a:lnTo>
                  <a:pt x="2269" y="1936"/>
                </a:lnTo>
                <a:cubicBezTo>
                  <a:pt x="2198" y="1936"/>
                  <a:pt x="2141" y="1993"/>
                  <a:pt x="2141" y="2064"/>
                </a:cubicBezTo>
                <a:lnTo>
                  <a:pt x="2141" y="3367"/>
                </a:lnTo>
                <a:lnTo>
                  <a:pt x="2141" y="3367"/>
                </a:lnTo>
                <a:cubicBezTo>
                  <a:pt x="2141" y="3438"/>
                  <a:pt x="2083" y="3496"/>
                  <a:pt x="2013" y="3496"/>
                </a:cubicBezTo>
              </a:path>
            </a:pathLst>
          </a:custGeom>
          <a:solidFill>
            <a:schemeClr val="accent4"/>
          </a:solidFill>
          <a:ln>
            <a:noFill/>
          </a:ln>
          <a:effectLst/>
        </p:spPr>
        <p:txBody>
          <a:bodyPr wrap="none" anchor="ctr"/>
          <a:lstStyle/>
          <a:p>
            <a:endParaRPr lang="en-GB" sz="1400" dirty="0">
              <a:latin typeface="+mj-lt"/>
            </a:endParaRPr>
          </a:p>
        </p:txBody>
      </p:sp>
      <p:sp>
        <p:nvSpPr>
          <p:cNvPr id="19" name="Subtitle 2">
            <a:extLst>
              <a:ext uri="{FF2B5EF4-FFF2-40B4-BE49-F238E27FC236}">
                <a16:creationId xmlns:a16="http://schemas.microsoft.com/office/drawing/2014/main" xmlns="" id="{D8EE030D-1A1D-4560-AB81-36C9EEB8B099}"/>
              </a:ext>
            </a:extLst>
          </p:cNvPr>
          <p:cNvSpPr txBox="1">
            <a:spLocks/>
          </p:cNvSpPr>
          <p:nvPr/>
        </p:nvSpPr>
        <p:spPr>
          <a:xfrm>
            <a:off x="3429977" y="5200089"/>
            <a:ext cx="2072375" cy="114262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Know who you need to communicate with (see section on Stakeholder Analysis)</a:t>
            </a:r>
          </a:p>
        </p:txBody>
      </p:sp>
      <p:sp>
        <p:nvSpPr>
          <p:cNvPr id="20" name="TextBox 9">
            <a:extLst>
              <a:ext uri="{FF2B5EF4-FFF2-40B4-BE49-F238E27FC236}">
                <a16:creationId xmlns:a16="http://schemas.microsoft.com/office/drawing/2014/main" xmlns="" id="{AB5DD3BB-57E4-433F-9EAA-F899BA441150}"/>
              </a:ext>
            </a:extLst>
          </p:cNvPr>
          <p:cNvSpPr txBox="1"/>
          <p:nvPr/>
        </p:nvSpPr>
        <p:spPr>
          <a:xfrm>
            <a:off x="3486689" y="4862603"/>
            <a:ext cx="1831271"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Stakeholder Analysis</a:t>
            </a:r>
          </a:p>
        </p:txBody>
      </p:sp>
      <p:sp>
        <p:nvSpPr>
          <p:cNvPr id="21" name="Subtitle 2">
            <a:extLst>
              <a:ext uri="{FF2B5EF4-FFF2-40B4-BE49-F238E27FC236}">
                <a16:creationId xmlns:a16="http://schemas.microsoft.com/office/drawing/2014/main" xmlns="" id="{241E5414-5C24-4532-A6F3-9B2D93491CB8}"/>
              </a:ext>
            </a:extLst>
          </p:cNvPr>
          <p:cNvSpPr txBox="1">
            <a:spLocks/>
          </p:cNvSpPr>
          <p:nvPr/>
        </p:nvSpPr>
        <p:spPr>
          <a:xfrm>
            <a:off x="7650997" y="5200089"/>
            <a:ext cx="1790082" cy="114262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Train the relevant people in communication strategy</a:t>
            </a:r>
          </a:p>
        </p:txBody>
      </p:sp>
      <p:sp>
        <p:nvSpPr>
          <p:cNvPr id="22" name="TextBox 13">
            <a:extLst>
              <a:ext uri="{FF2B5EF4-FFF2-40B4-BE49-F238E27FC236}">
                <a16:creationId xmlns:a16="http://schemas.microsoft.com/office/drawing/2014/main" xmlns="" id="{B589CB74-4BE3-4A61-B943-487CCCD06E70}"/>
              </a:ext>
            </a:extLst>
          </p:cNvPr>
          <p:cNvSpPr txBox="1"/>
          <p:nvPr/>
        </p:nvSpPr>
        <p:spPr>
          <a:xfrm>
            <a:off x="7608828" y="4862603"/>
            <a:ext cx="1874424"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Empower the people</a:t>
            </a:r>
          </a:p>
        </p:txBody>
      </p:sp>
      <p:sp>
        <p:nvSpPr>
          <p:cNvPr id="23" name="Subtitle 2">
            <a:extLst>
              <a:ext uri="{FF2B5EF4-FFF2-40B4-BE49-F238E27FC236}">
                <a16:creationId xmlns:a16="http://schemas.microsoft.com/office/drawing/2014/main" xmlns="" id="{689AE0B7-2C89-4153-944B-CDB9CD72EDB3}"/>
              </a:ext>
            </a:extLst>
          </p:cNvPr>
          <p:cNvSpPr txBox="1">
            <a:spLocks/>
          </p:cNvSpPr>
          <p:nvPr/>
        </p:nvSpPr>
        <p:spPr>
          <a:xfrm>
            <a:off x="5579653" y="1990068"/>
            <a:ext cx="1790082" cy="114262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Determine clearly who may communicate with whom</a:t>
            </a:r>
          </a:p>
        </p:txBody>
      </p:sp>
      <p:sp>
        <p:nvSpPr>
          <p:cNvPr id="24" name="TextBox 16">
            <a:extLst>
              <a:ext uri="{FF2B5EF4-FFF2-40B4-BE49-F238E27FC236}">
                <a16:creationId xmlns:a16="http://schemas.microsoft.com/office/drawing/2014/main" xmlns="" id="{6D4B106F-F8E2-4854-BDCB-C2B6780D842A}"/>
              </a:ext>
            </a:extLst>
          </p:cNvPr>
          <p:cNvSpPr txBox="1"/>
          <p:nvPr/>
        </p:nvSpPr>
        <p:spPr>
          <a:xfrm>
            <a:off x="5500100" y="1736038"/>
            <a:ext cx="1949188"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Clarify responsibilities</a:t>
            </a:r>
          </a:p>
        </p:txBody>
      </p:sp>
      <p:sp>
        <p:nvSpPr>
          <p:cNvPr id="25" name="Subtitle 2">
            <a:extLst>
              <a:ext uri="{FF2B5EF4-FFF2-40B4-BE49-F238E27FC236}">
                <a16:creationId xmlns:a16="http://schemas.microsoft.com/office/drawing/2014/main" xmlns="" id="{4601531B-AF07-45DE-BDF7-32CFEF841EAF}"/>
              </a:ext>
            </a:extLst>
          </p:cNvPr>
          <p:cNvSpPr txBox="1">
            <a:spLocks/>
          </p:cNvSpPr>
          <p:nvPr/>
        </p:nvSpPr>
        <p:spPr>
          <a:xfrm>
            <a:off x="9159358" y="2009372"/>
            <a:ext cx="2911926" cy="1419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Update relevant information about your company in advance, which may also be relevant during the crisis. Produce communication kits </a:t>
            </a:r>
          </a:p>
        </p:txBody>
      </p:sp>
      <p:sp>
        <p:nvSpPr>
          <p:cNvPr id="26" name="TextBox 19">
            <a:extLst>
              <a:ext uri="{FF2B5EF4-FFF2-40B4-BE49-F238E27FC236}">
                <a16:creationId xmlns:a16="http://schemas.microsoft.com/office/drawing/2014/main" xmlns="" id="{3E6F2E3B-C980-445A-8EDB-F9539BBBF22F}"/>
              </a:ext>
            </a:extLst>
          </p:cNvPr>
          <p:cNvSpPr txBox="1"/>
          <p:nvPr/>
        </p:nvSpPr>
        <p:spPr>
          <a:xfrm>
            <a:off x="9806835" y="1727126"/>
            <a:ext cx="1616982"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Prepare Materials</a:t>
            </a:r>
          </a:p>
        </p:txBody>
      </p:sp>
      <p:sp>
        <p:nvSpPr>
          <p:cNvPr id="27" name="TextBox 20">
            <a:extLst>
              <a:ext uri="{FF2B5EF4-FFF2-40B4-BE49-F238E27FC236}">
                <a16:creationId xmlns:a16="http://schemas.microsoft.com/office/drawing/2014/main" xmlns="" id="{5BFA48E3-80E6-449C-AD65-420D8308D84D}"/>
              </a:ext>
            </a:extLst>
          </p:cNvPr>
          <p:cNvSpPr txBox="1"/>
          <p:nvPr/>
        </p:nvSpPr>
        <p:spPr>
          <a:xfrm>
            <a:off x="4233042" y="3743332"/>
            <a:ext cx="338555" cy="461665"/>
          </a:xfrm>
          <a:prstGeom prst="rect">
            <a:avLst/>
          </a:prstGeom>
          <a:noFill/>
        </p:spPr>
        <p:txBody>
          <a:bodyPr wrap="none" rtlCol="0" anchor="ctr">
            <a:spAutoFit/>
          </a:bodyPr>
          <a:lstStyle/>
          <a:p>
            <a:pPr algn="ctr"/>
            <a:r>
              <a:rPr lang="en-GB" sz="2400" b="1" dirty="0">
                <a:solidFill>
                  <a:schemeClr val="bg1"/>
                </a:solidFill>
                <a:latin typeface="+mj-lt"/>
                <a:cs typeface="Poppins" pitchFamily="2" charset="77"/>
              </a:rPr>
              <a:t>1</a:t>
            </a:r>
          </a:p>
        </p:txBody>
      </p:sp>
      <p:sp>
        <p:nvSpPr>
          <p:cNvPr id="33" name="TextBox 21">
            <a:extLst>
              <a:ext uri="{FF2B5EF4-FFF2-40B4-BE49-F238E27FC236}">
                <a16:creationId xmlns:a16="http://schemas.microsoft.com/office/drawing/2014/main" xmlns="" id="{81FE2DC9-8D75-4F81-AA0A-AE98CE9FF129}"/>
              </a:ext>
            </a:extLst>
          </p:cNvPr>
          <p:cNvSpPr txBox="1"/>
          <p:nvPr/>
        </p:nvSpPr>
        <p:spPr>
          <a:xfrm>
            <a:off x="6305417" y="3743332"/>
            <a:ext cx="338555" cy="461665"/>
          </a:xfrm>
          <a:prstGeom prst="rect">
            <a:avLst/>
          </a:prstGeom>
          <a:noFill/>
        </p:spPr>
        <p:txBody>
          <a:bodyPr wrap="none" rtlCol="0" anchor="ctr">
            <a:spAutoFit/>
          </a:bodyPr>
          <a:lstStyle/>
          <a:p>
            <a:pPr algn="ctr"/>
            <a:r>
              <a:rPr lang="en-GB" sz="2400" b="1" dirty="0">
                <a:solidFill>
                  <a:schemeClr val="bg1"/>
                </a:solidFill>
                <a:latin typeface="+mj-lt"/>
                <a:cs typeface="Poppins" pitchFamily="2" charset="77"/>
              </a:rPr>
              <a:t>2</a:t>
            </a:r>
          </a:p>
        </p:txBody>
      </p:sp>
      <p:sp>
        <p:nvSpPr>
          <p:cNvPr id="36" name="TextBox 22">
            <a:extLst>
              <a:ext uri="{FF2B5EF4-FFF2-40B4-BE49-F238E27FC236}">
                <a16:creationId xmlns:a16="http://schemas.microsoft.com/office/drawing/2014/main" xmlns="" id="{CFB81ABA-77D0-4E3A-A49C-2A36D9EA115C}"/>
              </a:ext>
            </a:extLst>
          </p:cNvPr>
          <p:cNvSpPr txBox="1"/>
          <p:nvPr/>
        </p:nvSpPr>
        <p:spPr>
          <a:xfrm>
            <a:off x="8376761" y="3743332"/>
            <a:ext cx="338555" cy="461665"/>
          </a:xfrm>
          <a:prstGeom prst="rect">
            <a:avLst/>
          </a:prstGeom>
          <a:noFill/>
        </p:spPr>
        <p:txBody>
          <a:bodyPr wrap="none" rtlCol="0" anchor="ctr">
            <a:spAutoFit/>
          </a:bodyPr>
          <a:lstStyle/>
          <a:p>
            <a:pPr algn="ctr"/>
            <a:r>
              <a:rPr lang="en-GB" sz="2400" b="1" dirty="0">
                <a:solidFill>
                  <a:schemeClr val="bg1"/>
                </a:solidFill>
                <a:latin typeface="+mj-lt"/>
                <a:cs typeface="Poppins" pitchFamily="2" charset="77"/>
              </a:rPr>
              <a:t>3</a:t>
            </a:r>
          </a:p>
        </p:txBody>
      </p:sp>
      <p:sp>
        <p:nvSpPr>
          <p:cNvPr id="39" name="TextBox 23">
            <a:extLst>
              <a:ext uri="{FF2B5EF4-FFF2-40B4-BE49-F238E27FC236}">
                <a16:creationId xmlns:a16="http://schemas.microsoft.com/office/drawing/2014/main" xmlns="" id="{B3598A95-ED28-41AA-A49A-A3138E1447AE}"/>
              </a:ext>
            </a:extLst>
          </p:cNvPr>
          <p:cNvSpPr txBox="1"/>
          <p:nvPr/>
        </p:nvSpPr>
        <p:spPr>
          <a:xfrm>
            <a:off x="10446044" y="3743332"/>
            <a:ext cx="338555" cy="461665"/>
          </a:xfrm>
          <a:prstGeom prst="rect">
            <a:avLst/>
          </a:prstGeom>
          <a:noFill/>
        </p:spPr>
        <p:txBody>
          <a:bodyPr wrap="none" rtlCol="0" anchor="ctr">
            <a:spAutoFit/>
          </a:bodyPr>
          <a:lstStyle/>
          <a:p>
            <a:pPr algn="ctr"/>
            <a:r>
              <a:rPr lang="en-GB" sz="2400" b="1" dirty="0">
                <a:solidFill>
                  <a:schemeClr val="bg1"/>
                </a:solidFill>
                <a:latin typeface="+mj-lt"/>
                <a:cs typeface="Poppins" pitchFamily="2" charset="77"/>
              </a:rPr>
              <a:t>4</a:t>
            </a:r>
          </a:p>
        </p:txBody>
      </p:sp>
    </p:spTree>
    <p:extLst>
      <p:ext uri="{BB962C8B-B14F-4D97-AF65-F5344CB8AC3E}">
        <p14:creationId xmlns:p14="http://schemas.microsoft.com/office/powerpoint/2010/main" val="15896886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331126" y="2875427"/>
            <a:ext cx="9821959" cy="1582271"/>
          </a:xfrm>
        </p:spPr>
        <p:txBody>
          <a:bodyPr/>
          <a:lstStyle/>
          <a:p>
            <a:r>
              <a:rPr lang="en-GB" dirty="0"/>
              <a:t>Leadership in Times of Crisis</a:t>
            </a:r>
          </a:p>
        </p:txBody>
      </p:sp>
    </p:spTree>
    <p:extLst>
      <p:ext uri="{BB962C8B-B14F-4D97-AF65-F5344CB8AC3E}">
        <p14:creationId xmlns:p14="http://schemas.microsoft.com/office/powerpoint/2010/main" val="38887985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59144" y="660508"/>
            <a:ext cx="8852375" cy="697353"/>
          </a:xfrm>
        </p:spPr>
        <p:txBody>
          <a:bodyPr>
            <a:normAutofit/>
          </a:bodyPr>
          <a:lstStyle/>
          <a:p>
            <a:r>
              <a:rPr lang="en-GB" dirty="0"/>
              <a:t>Prepare for Communication </a:t>
            </a:r>
            <a:r>
              <a:rPr lang="en-GB" u="sng" dirty="0"/>
              <a:t>BEFORE</a:t>
            </a:r>
            <a:r>
              <a:rPr lang="en-GB" dirty="0"/>
              <a:t> the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0278" y="2142491"/>
            <a:ext cx="2590250" cy="27908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Create a communication plan </a:t>
            </a:r>
            <a:r>
              <a:rPr lang="en-GB" altLang="de-DE" sz="2200" b="1" dirty="0">
                <a:solidFill>
                  <a:srgbClr val="245473"/>
                </a:solidFill>
                <a:latin typeface="+mj-lt"/>
              </a:rPr>
              <a:t>INDEPENDENT</a:t>
            </a:r>
            <a:r>
              <a:rPr lang="en-GB" altLang="de-DE" sz="2200" dirty="0">
                <a:solidFill>
                  <a:srgbClr val="245473"/>
                </a:solidFill>
                <a:latin typeface="+mj-lt"/>
              </a:rPr>
              <a:t> but </a:t>
            </a:r>
            <a:r>
              <a:rPr lang="en-GB" altLang="de-DE" sz="2200" b="1" dirty="0">
                <a:solidFill>
                  <a:srgbClr val="245473"/>
                </a:solidFill>
                <a:latin typeface="+mj-lt"/>
              </a:rPr>
              <a:t>INTEGRATED</a:t>
            </a:r>
            <a:r>
              <a:rPr lang="en-GB" altLang="de-DE" sz="2200" dirty="0">
                <a:solidFill>
                  <a:srgbClr val="245473"/>
                </a:solidFill>
                <a:latin typeface="+mj-lt"/>
              </a:rPr>
              <a:t> with the organization’s operational and business and continuity plans.</a:t>
            </a:r>
          </a:p>
        </p:txBody>
      </p:sp>
      <p:sp>
        <p:nvSpPr>
          <p:cNvPr id="49" name="Arc 3">
            <a:extLst>
              <a:ext uri="{FF2B5EF4-FFF2-40B4-BE49-F238E27FC236}">
                <a16:creationId xmlns:a16="http://schemas.microsoft.com/office/drawing/2014/main" xmlns="" id="{DA288E95-99F1-490B-9E19-7F535C7C6F6F}"/>
              </a:ext>
            </a:extLst>
          </p:cNvPr>
          <p:cNvSpPr/>
          <p:nvPr/>
        </p:nvSpPr>
        <p:spPr>
          <a:xfrm>
            <a:off x="5446396" y="2831458"/>
            <a:ext cx="4173409" cy="4173408"/>
          </a:xfrm>
          <a:prstGeom prst="arc">
            <a:avLst>
              <a:gd name="adj1" fmla="val 10799495"/>
              <a:gd name="adj2" fmla="val 3530"/>
            </a:avLst>
          </a:prstGeom>
          <a:noFill/>
          <a:ln w="762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50" name="Oval 4">
            <a:extLst>
              <a:ext uri="{FF2B5EF4-FFF2-40B4-BE49-F238E27FC236}">
                <a16:creationId xmlns:a16="http://schemas.microsoft.com/office/drawing/2014/main" xmlns="" id="{7495DF9A-C66D-4BFA-99E0-928F13F0DCEA}"/>
              </a:ext>
            </a:extLst>
          </p:cNvPr>
          <p:cNvSpPr/>
          <p:nvPr/>
        </p:nvSpPr>
        <p:spPr>
          <a:xfrm>
            <a:off x="4954680" y="4426447"/>
            <a:ext cx="983430" cy="98343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51" name="Oval 5">
            <a:extLst>
              <a:ext uri="{FF2B5EF4-FFF2-40B4-BE49-F238E27FC236}">
                <a16:creationId xmlns:a16="http://schemas.microsoft.com/office/drawing/2014/main" xmlns="" id="{451C52E7-0E43-4FBA-9043-558D69A9933E}"/>
              </a:ext>
            </a:extLst>
          </p:cNvPr>
          <p:cNvSpPr/>
          <p:nvPr/>
        </p:nvSpPr>
        <p:spPr>
          <a:xfrm>
            <a:off x="9128089" y="4426447"/>
            <a:ext cx="983430" cy="983430"/>
          </a:xfrm>
          <a:prstGeom prst="ellipse">
            <a:avLst/>
          </a:prstGeom>
          <a:solidFill>
            <a:schemeClr val="accent6">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52" name="Oval 6">
            <a:extLst>
              <a:ext uri="{FF2B5EF4-FFF2-40B4-BE49-F238E27FC236}">
                <a16:creationId xmlns:a16="http://schemas.microsoft.com/office/drawing/2014/main" xmlns="" id="{1187A268-97CA-4AAF-AD10-B38BF71FA233}"/>
              </a:ext>
            </a:extLst>
          </p:cNvPr>
          <p:cNvSpPr/>
          <p:nvPr/>
        </p:nvSpPr>
        <p:spPr>
          <a:xfrm>
            <a:off x="7690990" y="2514554"/>
            <a:ext cx="983430" cy="98343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53" name="Oval 7">
            <a:extLst>
              <a:ext uri="{FF2B5EF4-FFF2-40B4-BE49-F238E27FC236}">
                <a16:creationId xmlns:a16="http://schemas.microsoft.com/office/drawing/2014/main" xmlns="" id="{20ABCD25-B2BA-434B-AF24-ECE9ABBEC186}"/>
              </a:ext>
            </a:extLst>
          </p:cNvPr>
          <p:cNvSpPr/>
          <p:nvPr/>
        </p:nvSpPr>
        <p:spPr>
          <a:xfrm>
            <a:off x="6391781" y="2514554"/>
            <a:ext cx="983430" cy="98343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54" name="Oval 9">
            <a:extLst>
              <a:ext uri="{FF2B5EF4-FFF2-40B4-BE49-F238E27FC236}">
                <a16:creationId xmlns:a16="http://schemas.microsoft.com/office/drawing/2014/main" xmlns="" id="{98B0A456-E107-463F-BDE5-1E5701C77DD5}"/>
              </a:ext>
            </a:extLst>
          </p:cNvPr>
          <p:cNvSpPr/>
          <p:nvPr/>
        </p:nvSpPr>
        <p:spPr>
          <a:xfrm>
            <a:off x="8748323" y="3214241"/>
            <a:ext cx="983430" cy="98343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55" name="Oval 10">
            <a:extLst>
              <a:ext uri="{FF2B5EF4-FFF2-40B4-BE49-F238E27FC236}">
                <a16:creationId xmlns:a16="http://schemas.microsoft.com/office/drawing/2014/main" xmlns="" id="{FCE22BEA-6916-4FC5-B00A-283294397BA6}"/>
              </a:ext>
            </a:extLst>
          </p:cNvPr>
          <p:cNvSpPr/>
          <p:nvPr/>
        </p:nvSpPr>
        <p:spPr>
          <a:xfrm>
            <a:off x="5334447" y="3214241"/>
            <a:ext cx="983430" cy="98343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62" name="Subtitle 2">
            <a:extLst>
              <a:ext uri="{FF2B5EF4-FFF2-40B4-BE49-F238E27FC236}">
                <a16:creationId xmlns:a16="http://schemas.microsoft.com/office/drawing/2014/main" xmlns="" id="{EE05EB6B-3FC6-4D1D-A415-7C32617FFC70}"/>
              </a:ext>
            </a:extLst>
          </p:cNvPr>
          <p:cNvSpPr txBox="1">
            <a:spLocks/>
          </p:cNvSpPr>
          <p:nvPr/>
        </p:nvSpPr>
        <p:spPr>
          <a:xfrm>
            <a:off x="10245702" y="4316073"/>
            <a:ext cx="1419724" cy="1204184"/>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b="1" dirty="0">
                <a:solidFill>
                  <a:schemeClr val="accent6">
                    <a:lumMod val="75000"/>
                  </a:schemeClr>
                </a:solidFill>
                <a:latin typeface="+mj-lt"/>
                <a:ea typeface="Lato Light" panose="020F0502020204030203" pitchFamily="34" charset="0"/>
                <a:cs typeface="Mukta ExtraLight" panose="020B0000000000000000" pitchFamily="34" charset="77"/>
              </a:rPr>
              <a:t>Exercise/                                             update the plan (regularly)</a:t>
            </a:r>
          </a:p>
        </p:txBody>
      </p:sp>
      <p:sp>
        <p:nvSpPr>
          <p:cNvPr id="63" name="Subtitle 2">
            <a:extLst>
              <a:ext uri="{FF2B5EF4-FFF2-40B4-BE49-F238E27FC236}">
                <a16:creationId xmlns:a16="http://schemas.microsoft.com/office/drawing/2014/main" xmlns="" id="{AC337773-FCA5-4D14-92F5-BFD6B4219241}"/>
              </a:ext>
            </a:extLst>
          </p:cNvPr>
          <p:cNvSpPr txBox="1">
            <a:spLocks/>
          </p:cNvSpPr>
          <p:nvPr/>
        </p:nvSpPr>
        <p:spPr>
          <a:xfrm>
            <a:off x="8609000" y="2072402"/>
            <a:ext cx="1600630" cy="619408"/>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b="1" dirty="0">
                <a:solidFill>
                  <a:schemeClr val="accent4"/>
                </a:solidFill>
                <a:latin typeface="+mj-lt"/>
                <a:ea typeface="Lato Light" panose="020F0502020204030203" pitchFamily="34" charset="0"/>
                <a:cs typeface="Mukta ExtraLight" panose="020B0000000000000000" pitchFamily="34" charset="77"/>
              </a:rPr>
              <a:t>Train personnel to use the plan</a:t>
            </a:r>
          </a:p>
        </p:txBody>
      </p:sp>
      <p:sp>
        <p:nvSpPr>
          <p:cNvPr id="64" name="Subtitle 2">
            <a:extLst>
              <a:ext uri="{FF2B5EF4-FFF2-40B4-BE49-F238E27FC236}">
                <a16:creationId xmlns:a16="http://schemas.microsoft.com/office/drawing/2014/main" xmlns="" id="{BD55172B-D4D5-44D8-887A-98353B7012F7}"/>
              </a:ext>
            </a:extLst>
          </p:cNvPr>
          <p:cNvSpPr txBox="1">
            <a:spLocks/>
          </p:cNvSpPr>
          <p:nvPr/>
        </p:nvSpPr>
        <p:spPr>
          <a:xfrm>
            <a:off x="9920719" y="3214241"/>
            <a:ext cx="1879395" cy="619408"/>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b="1" dirty="0">
                <a:solidFill>
                  <a:srgbClr val="0070C0"/>
                </a:solidFill>
                <a:latin typeface="+mj-lt"/>
                <a:ea typeface="Lato Light" panose="020F0502020204030203" pitchFamily="34" charset="0"/>
                <a:cs typeface="Mukta ExtraLight" panose="020B0000000000000000" pitchFamily="34" charset="77"/>
              </a:rPr>
              <a:t>Train your spokesperson(s)</a:t>
            </a:r>
          </a:p>
        </p:txBody>
      </p:sp>
      <p:sp>
        <p:nvSpPr>
          <p:cNvPr id="65" name="Subtitle 2">
            <a:extLst>
              <a:ext uri="{FF2B5EF4-FFF2-40B4-BE49-F238E27FC236}">
                <a16:creationId xmlns:a16="http://schemas.microsoft.com/office/drawing/2014/main" xmlns="" id="{E8E47E3D-183C-4A01-AC59-71DC0A71E554}"/>
              </a:ext>
            </a:extLst>
          </p:cNvPr>
          <p:cNvSpPr txBox="1">
            <a:spLocks/>
          </p:cNvSpPr>
          <p:nvPr/>
        </p:nvSpPr>
        <p:spPr>
          <a:xfrm>
            <a:off x="4501011" y="2026485"/>
            <a:ext cx="2617181" cy="327021"/>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900" b="1" dirty="0">
                <a:latin typeface="+mj-lt"/>
                <a:ea typeface="Lato Light" panose="020F0502020204030203" pitchFamily="34" charset="0"/>
                <a:cs typeface="Mukta ExtraLight" panose="020B0000000000000000" pitchFamily="34" charset="77"/>
              </a:rPr>
              <a:t>Create a message platform</a:t>
            </a:r>
          </a:p>
        </p:txBody>
      </p:sp>
      <p:sp>
        <p:nvSpPr>
          <p:cNvPr id="66" name="Subtitle 2">
            <a:extLst>
              <a:ext uri="{FF2B5EF4-FFF2-40B4-BE49-F238E27FC236}">
                <a16:creationId xmlns:a16="http://schemas.microsoft.com/office/drawing/2014/main" xmlns="" id="{C4B11A24-1A38-4E3A-AB20-00A5767BE584}"/>
              </a:ext>
            </a:extLst>
          </p:cNvPr>
          <p:cNvSpPr txBox="1">
            <a:spLocks/>
          </p:cNvSpPr>
          <p:nvPr/>
        </p:nvSpPr>
        <p:spPr>
          <a:xfrm>
            <a:off x="3700379" y="3192149"/>
            <a:ext cx="1600630" cy="91179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900" b="1" dirty="0">
                <a:solidFill>
                  <a:srgbClr val="F95C2C"/>
                </a:solidFill>
                <a:latin typeface="+mj-lt"/>
                <a:ea typeface="Lato Light" panose="020F0502020204030203" pitchFamily="34" charset="0"/>
                <a:cs typeface="Mukta ExtraLight" panose="020B0000000000000000" pitchFamily="34" charset="77"/>
              </a:rPr>
              <a:t>Write a plan responding to those threats</a:t>
            </a:r>
          </a:p>
        </p:txBody>
      </p:sp>
      <p:sp>
        <p:nvSpPr>
          <p:cNvPr id="67" name="Subtitle 2">
            <a:extLst>
              <a:ext uri="{FF2B5EF4-FFF2-40B4-BE49-F238E27FC236}">
                <a16:creationId xmlns:a16="http://schemas.microsoft.com/office/drawing/2014/main" xmlns="" id="{F0EF6A4D-4794-45B6-A8E6-8CAC2A7C5A80}"/>
              </a:ext>
            </a:extLst>
          </p:cNvPr>
          <p:cNvSpPr txBox="1">
            <a:spLocks/>
          </p:cNvSpPr>
          <p:nvPr/>
        </p:nvSpPr>
        <p:spPr>
          <a:xfrm>
            <a:off x="3073138" y="5015465"/>
            <a:ext cx="1747359" cy="1204184"/>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900" b="1" dirty="0">
                <a:solidFill>
                  <a:srgbClr val="0070C0"/>
                </a:solidFill>
                <a:latin typeface="+mj-lt"/>
                <a:ea typeface="Lato Light" panose="020F0502020204030203" pitchFamily="34" charset="0"/>
                <a:cs typeface="Mukta ExtraLight" panose="020B0000000000000000" pitchFamily="34" charset="77"/>
              </a:rPr>
              <a:t>Prepare for Crisis Communication before the Crisis is critical</a:t>
            </a:r>
          </a:p>
        </p:txBody>
      </p:sp>
      <p:sp>
        <p:nvSpPr>
          <p:cNvPr id="68" name="TextBox 20">
            <a:extLst>
              <a:ext uri="{FF2B5EF4-FFF2-40B4-BE49-F238E27FC236}">
                <a16:creationId xmlns:a16="http://schemas.microsoft.com/office/drawing/2014/main" xmlns="" id="{B3B835FE-0376-4E61-9DF3-1C77B12CCEF4}"/>
              </a:ext>
            </a:extLst>
          </p:cNvPr>
          <p:cNvSpPr txBox="1"/>
          <p:nvPr/>
        </p:nvSpPr>
        <p:spPr>
          <a:xfrm>
            <a:off x="5274027" y="4687329"/>
            <a:ext cx="338555" cy="461665"/>
          </a:xfrm>
          <a:prstGeom prst="rect">
            <a:avLst/>
          </a:prstGeom>
          <a:noFill/>
        </p:spPr>
        <p:txBody>
          <a:bodyPr wrap="none" rtlCol="0" anchor="ctr">
            <a:spAutoFit/>
          </a:bodyPr>
          <a:lstStyle/>
          <a:p>
            <a:pPr algn="ctr"/>
            <a:r>
              <a:rPr lang="en-GB" sz="2400" b="1">
                <a:solidFill>
                  <a:schemeClr val="bg1"/>
                </a:solidFill>
                <a:latin typeface="+mj-lt"/>
                <a:cs typeface="Poppins" pitchFamily="2" charset="77"/>
              </a:rPr>
              <a:t>1</a:t>
            </a:r>
            <a:endParaRPr lang="en-GB" sz="2400" b="1" dirty="0">
              <a:solidFill>
                <a:schemeClr val="bg1"/>
              </a:solidFill>
              <a:latin typeface="+mj-lt"/>
              <a:cs typeface="Poppins" pitchFamily="2" charset="77"/>
            </a:endParaRPr>
          </a:p>
        </p:txBody>
      </p:sp>
      <p:sp>
        <p:nvSpPr>
          <p:cNvPr id="69" name="TextBox 20">
            <a:extLst>
              <a:ext uri="{FF2B5EF4-FFF2-40B4-BE49-F238E27FC236}">
                <a16:creationId xmlns:a16="http://schemas.microsoft.com/office/drawing/2014/main" xmlns="" id="{4689FBF1-A77C-4C9D-8DE1-5D48A9C3B898}"/>
              </a:ext>
            </a:extLst>
          </p:cNvPr>
          <p:cNvSpPr txBox="1"/>
          <p:nvPr/>
        </p:nvSpPr>
        <p:spPr>
          <a:xfrm>
            <a:off x="5653966" y="3468546"/>
            <a:ext cx="338555" cy="461665"/>
          </a:xfrm>
          <a:prstGeom prst="rect">
            <a:avLst/>
          </a:prstGeom>
          <a:noFill/>
        </p:spPr>
        <p:txBody>
          <a:bodyPr wrap="none" rtlCol="0" anchor="ctr">
            <a:spAutoFit/>
          </a:bodyPr>
          <a:lstStyle/>
          <a:p>
            <a:pPr algn="ctr"/>
            <a:r>
              <a:rPr lang="en-GB" sz="2400" b="1">
                <a:solidFill>
                  <a:schemeClr val="bg1"/>
                </a:solidFill>
                <a:latin typeface="+mj-lt"/>
                <a:cs typeface="Poppins" pitchFamily="2" charset="77"/>
              </a:rPr>
              <a:t>2</a:t>
            </a:r>
            <a:endParaRPr lang="en-GB" sz="2400" b="1" dirty="0">
              <a:solidFill>
                <a:schemeClr val="bg1"/>
              </a:solidFill>
              <a:latin typeface="+mj-lt"/>
              <a:cs typeface="Poppins" pitchFamily="2" charset="77"/>
            </a:endParaRPr>
          </a:p>
        </p:txBody>
      </p:sp>
      <p:sp>
        <p:nvSpPr>
          <p:cNvPr id="70" name="TextBox 20">
            <a:extLst>
              <a:ext uri="{FF2B5EF4-FFF2-40B4-BE49-F238E27FC236}">
                <a16:creationId xmlns:a16="http://schemas.microsoft.com/office/drawing/2014/main" xmlns="" id="{4E95D919-E649-4E23-B8FE-ABE427C596DE}"/>
              </a:ext>
            </a:extLst>
          </p:cNvPr>
          <p:cNvSpPr txBox="1"/>
          <p:nvPr/>
        </p:nvSpPr>
        <p:spPr>
          <a:xfrm>
            <a:off x="6708471" y="2775436"/>
            <a:ext cx="338555" cy="461665"/>
          </a:xfrm>
          <a:prstGeom prst="rect">
            <a:avLst/>
          </a:prstGeom>
          <a:noFill/>
        </p:spPr>
        <p:txBody>
          <a:bodyPr wrap="none" rtlCol="0" anchor="ctr">
            <a:spAutoFit/>
          </a:bodyPr>
          <a:lstStyle/>
          <a:p>
            <a:pPr algn="ctr"/>
            <a:r>
              <a:rPr lang="en-GB" sz="2400" b="1" dirty="0">
                <a:solidFill>
                  <a:schemeClr val="bg1"/>
                </a:solidFill>
                <a:latin typeface="+mj-lt"/>
                <a:cs typeface="Poppins" pitchFamily="2" charset="77"/>
              </a:rPr>
              <a:t>3</a:t>
            </a:r>
          </a:p>
        </p:txBody>
      </p:sp>
      <p:sp>
        <p:nvSpPr>
          <p:cNvPr id="71" name="TextBox 20">
            <a:extLst>
              <a:ext uri="{FF2B5EF4-FFF2-40B4-BE49-F238E27FC236}">
                <a16:creationId xmlns:a16="http://schemas.microsoft.com/office/drawing/2014/main" xmlns="" id="{682EB1D7-8490-4928-89A4-0810C58911F9}"/>
              </a:ext>
            </a:extLst>
          </p:cNvPr>
          <p:cNvSpPr txBox="1"/>
          <p:nvPr/>
        </p:nvSpPr>
        <p:spPr>
          <a:xfrm>
            <a:off x="8008065" y="2775436"/>
            <a:ext cx="338555" cy="461665"/>
          </a:xfrm>
          <a:prstGeom prst="rect">
            <a:avLst/>
          </a:prstGeom>
          <a:noFill/>
        </p:spPr>
        <p:txBody>
          <a:bodyPr wrap="none" rtlCol="0" anchor="ctr">
            <a:spAutoFit/>
          </a:bodyPr>
          <a:lstStyle/>
          <a:p>
            <a:pPr algn="ctr"/>
            <a:r>
              <a:rPr lang="en-GB" sz="2400" b="1">
                <a:solidFill>
                  <a:schemeClr val="bg1"/>
                </a:solidFill>
                <a:latin typeface="+mj-lt"/>
                <a:cs typeface="Poppins" pitchFamily="2" charset="77"/>
              </a:rPr>
              <a:t>4</a:t>
            </a:r>
            <a:endParaRPr lang="en-GB" sz="2400" b="1" dirty="0">
              <a:solidFill>
                <a:schemeClr val="bg1"/>
              </a:solidFill>
              <a:latin typeface="+mj-lt"/>
              <a:cs typeface="Poppins" pitchFamily="2" charset="77"/>
            </a:endParaRPr>
          </a:p>
        </p:txBody>
      </p:sp>
      <p:sp>
        <p:nvSpPr>
          <p:cNvPr id="72" name="TextBox 20">
            <a:extLst>
              <a:ext uri="{FF2B5EF4-FFF2-40B4-BE49-F238E27FC236}">
                <a16:creationId xmlns:a16="http://schemas.microsoft.com/office/drawing/2014/main" xmlns="" id="{00B937CC-D4DC-41AE-8F1D-C363C4EB0166}"/>
              </a:ext>
            </a:extLst>
          </p:cNvPr>
          <p:cNvSpPr txBox="1"/>
          <p:nvPr/>
        </p:nvSpPr>
        <p:spPr>
          <a:xfrm>
            <a:off x="9070760" y="3464211"/>
            <a:ext cx="338555" cy="461665"/>
          </a:xfrm>
          <a:prstGeom prst="rect">
            <a:avLst/>
          </a:prstGeom>
          <a:noFill/>
        </p:spPr>
        <p:txBody>
          <a:bodyPr wrap="none" rtlCol="0" anchor="ctr">
            <a:spAutoFit/>
          </a:bodyPr>
          <a:lstStyle/>
          <a:p>
            <a:pPr algn="ctr"/>
            <a:r>
              <a:rPr lang="en-GB" sz="2400" b="1">
                <a:solidFill>
                  <a:schemeClr val="bg1"/>
                </a:solidFill>
                <a:latin typeface="+mj-lt"/>
                <a:cs typeface="Poppins" pitchFamily="2" charset="77"/>
              </a:rPr>
              <a:t>5</a:t>
            </a:r>
            <a:endParaRPr lang="en-GB" sz="2400" b="1" dirty="0">
              <a:solidFill>
                <a:schemeClr val="bg1"/>
              </a:solidFill>
              <a:latin typeface="+mj-lt"/>
              <a:cs typeface="Poppins" pitchFamily="2" charset="77"/>
            </a:endParaRPr>
          </a:p>
        </p:txBody>
      </p:sp>
      <p:sp>
        <p:nvSpPr>
          <p:cNvPr id="73" name="TextBox 20">
            <a:extLst>
              <a:ext uri="{FF2B5EF4-FFF2-40B4-BE49-F238E27FC236}">
                <a16:creationId xmlns:a16="http://schemas.microsoft.com/office/drawing/2014/main" xmlns="" id="{714FD007-ABF9-4385-8659-26B5998AF29E}"/>
              </a:ext>
            </a:extLst>
          </p:cNvPr>
          <p:cNvSpPr txBox="1"/>
          <p:nvPr/>
        </p:nvSpPr>
        <p:spPr>
          <a:xfrm>
            <a:off x="9450528" y="4691234"/>
            <a:ext cx="338554" cy="461665"/>
          </a:xfrm>
          <a:prstGeom prst="rect">
            <a:avLst/>
          </a:prstGeom>
          <a:noFill/>
        </p:spPr>
        <p:txBody>
          <a:bodyPr wrap="none" rtlCol="0" anchor="ctr">
            <a:spAutoFit/>
          </a:bodyPr>
          <a:lstStyle/>
          <a:p>
            <a:pPr algn="ctr"/>
            <a:r>
              <a:rPr lang="en-GB" sz="2400" b="1">
                <a:solidFill>
                  <a:schemeClr val="bg1"/>
                </a:solidFill>
                <a:latin typeface="+mj-lt"/>
                <a:cs typeface="Poppins" pitchFamily="2" charset="77"/>
              </a:rPr>
              <a:t>6</a:t>
            </a:r>
            <a:endParaRPr lang="en-GB" sz="2400" b="1" dirty="0">
              <a:solidFill>
                <a:schemeClr val="bg1"/>
              </a:solidFill>
              <a:latin typeface="+mj-lt"/>
              <a:cs typeface="Poppins" pitchFamily="2" charset="77"/>
            </a:endParaRPr>
          </a:p>
        </p:txBody>
      </p:sp>
    </p:spTree>
    <p:extLst>
      <p:ext uri="{BB962C8B-B14F-4D97-AF65-F5344CB8AC3E}">
        <p14:creationId xmlns:p14="http://schemas.microsoft.com/office/powerpoint/2010/main" val="34976676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588913" y="536576"/>
            <a:ext cx="10298285" cy="697353"/>
          </a:xfrm>
        </p:spPr>
        <p:txBody>
          <a:bodyPr>
            <a:noAutofit/>
          </a:bodyPr>
          <a:lstStyle/>
          <a:p>
            <a:r>
              <a:rPr lang="en-GB" dirty="0" err="1"/>
              <a:t>Analyze</a:t>
            </a:r>
            <a:r>
              <a:rPr lang="en-GB" dirty="0"/>
              <a:t> Stakeholders position at the </a:t>
            </a:r>
            <a:r>
              <a:rPr lang="en-GB" u="sng" dirty="0"/>
              <a:t>Beginning</a:t>
            </a:r>
            <a:r>
              <a:rPr lang="en-GB" b="1" u="sng" dirty="0"/>
              <a:t> </a:t>
            </a:r>
            <a:r>
              <a:rPr lang="en-GB" dirty="0"/>
              <a:t>of the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57996" y="1881976"/>
            <a:ext cx="3384737" cy="497602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err="1">
                <a:solidFill>
                  <a:srgbClr val="245473"/>
                </a:solidFill>
                <a:latin typeface="+mj-lt"/>
              </a:rPr>
              <a:t>Analyze</a:t>
            </a:r>
            <a:r>
              <a:rPr lang="en-GB" altLang="de-DE" sz="1800" dirty="0">
                <a:solidFill>
                  <a:srgbClr val="245473"/>
                </a:solidFill>
                <a:latin typeface="+mj-lt"/>
              </a:rPr>
              <a:t> the most important Stakeholders (those who are of special importance for the success of the recovery)</a:t>
            </a:r>
          </a:p>
          <a:p>
            <a:pPr algn="l">
              <a:lnSpc>
                <a:spcPct val="100000"/>
              </a:lnSpc>
              <a:spcBef>
                <a:spcPts val="600"/>
              </a:spcBef>
            </a:pPr>
            <a:r>
              <a:rPr lang="en-GB" altLang="de-DE" sz="1800" dirty="0">
                <a:solidFill>
                  <a:srgbClr val="245473"/>
                </a:solidFill>
                <a:latin typeface="+mj-lt"/>
              </a:rPr>
              <a:t>Map out your audiences on the basis of the audience analysis matrix</a:t>
            </a:r>
          </a:p>
          <a:p>
            <a:pPr algn="l">
              <a:lnSpc>
                <a:spcPct val="100000"/>
              </a:lnSpc>
              <a:spcBef>
                <a:spcPts val="600"/>
              </a:spcBef>
            </a:pPr>
            <a:r>
              <a:rPr lang="en-GB" sz="1800" dirty="0">
                <a:solidFill>
                  <a:srgbClr val="245473"/>
                </a:solidFill>
                <a:latin typeface="+mj-lt"/>
                <a:sym typeface="Wingdings" panose="05000000000000000000" pitchFamily="2" charset="2"/>
              </a:rPr>
              <a:t>Your communication strategy should</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sym typeface="Wingdings" panose="05000000000000000000" pitchFamily="2" charset="2"/>
              </a:rPr>
              <a:t>Actively engage with champions</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sym typeface="Wingdings" panose="05000000000000000000" pitchFamily="2" charset="2"/>
              </a:rPr>
              <a:t>Try to shift blockers to avoiders</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sym typeface="Wingdings" panose="05000000000000000000" pitchFamily="2" charset="2"/>
              </a:rPr>
              <a:t>Try to shift avoiders to silent boosters</a:t>
            </a:r>
          </a:p>
          <a:p>
            <a:pPr marL="285750" indent="-285750" algn="l">
              <a:lnSpc>
                <a:spcPct val="100000"/>
              </a:lnSpc>
              <a:spcBef>
                <a:spcPts val="600"/>
              </a:spcBef>
              <a:buFont typeface="Wingdings" panose="05000000000000000000" pitchFamily="2" charset="2"/>
              <a:buChar char="à"/>
            </a:pPr>
            <a:r>
              <a:rPr lang="en-GB" sz="1800" dirty="0">
                <a:solidFill>
                  <a:srgbClr val="245473"/>
                </a:solidFill>
                <a:latin typeface="+mj-lt"/>
                <a:sym typeface="Wingdings" panose="05000000000000000000" pitchFamily="2" charset="2"/>
              </a:rPr>
              <a:t>Try to shift silent boosters to champions </a:t>
            </a:r>
          </a:p>
        </p:txBody>
      </p:sp>
      <p:grpSp>
        <p:nvGrpSpPr>
          <p:cNvPr id="26" name="Gruppieren 25">
            <a:extLst>
              <a:ext uri="{FF2B5EF4-FFF2-40B4-BE49-F238E27FC236}">
                <a16:creationId xmlns:a16="http://schemas.microsoft.com/office/drawing/2014/main" xmlns="" id="{67D593B3-AAE9-4B27-A0B1-9AEA38B26126}"/>
              </a:ext>
            </a:extLst>
          </p:cNvPr>
          <p:cNvGrpSpPr/>
          <p:nvPr/>
        </p:nvGrpSpPr>
        <p:grpSpPr>
          <a:xfrm>
            <a:off x="4097374" y="2142491"/>
            <a:ext cx="7519033" cy="3637726"/>
            <a:chOff x="4561201" y="2081056"/>
            <a:chExt cx="3548724" cy="3637726"/>
          </a:xfrm>
        </p:grpSpPr>
        <p:sp>
          <p:nvSpPr>
            <p:cNvPr id="27" name="Freeform 316">
              <a:extLst>
                <a:ext uri="{FF2B5EF4-FFF2-40B4-BE49-F238E27FC236}">
                  <a16:creationId xmlns:a16="http://schemas.microsoft.com/office/drawing/2014/main" xmlns="" id="{251FACA9-E41E-4B1C-82E2-E460BAC1F4AD}"/>
                </a:ext>
              </a:extLst>
            </p:cNvPr>
            <p:cNvSpPr>
              <a:spLocks/>
            </p:cNvSpPr>
            <p:nvPr/>
          </p:nvSpPr>
          <p:spPr bwMode="auto">
            <a:xfrm>
              <a:off x="4561201" y="2081056"/>
              <a:ext cx="2045681" cy="2046761"/>
            </a:xfrm>
            <a:custGeom>
              <a:avLst/>
              <a:gdLst>
                <a:gd name="T0" fmla="*/ 1503759 w 4380"/>
                <a:gd name="T1" fmla="*/ 3006829 h 4380"/>
                <a:gd name="T2" fmla="*/ 1503759 w 4380"/>
                <a:gd name="T3" fmla="*/ 3006829 h 4380"/>
                <a:gd name="T4" fmla="*/ 0 w 4380"/>
                <a:gd name="T5" fmla="*/ 1503758 h 4380"/>
                <a:gd name="T6" fmla="*/ 0 w 4380"/>
                <a:gd name="T7" fmla="*/ 1503758 h 4380"/>
                <a:gd name="T8" fmla="*/ 1503759 w 4380"/>
                <a:gd name="T9" fmla="*/ 0 h 4380"/>
                <a:gd name="T10" fmla="*/ 1503759 w 4380"/>
                <a:gd name="T11" fmla="*/ 0 h 4380"/>
                <a:gd name="T12" fmla="*/ 3006830 w 4380"/>
                <a:gd name="T13" fmla="*/ 1503758 h 4380"/>
                <a:gd name="T14" fmla="*/ 3006830 w 4380"/>
                <a:gd name="T15" fmla="*/ 3006829 h 4380"/>
                <a:gd name="T16" fmla="*/ 1503759 w 4380"/>
                <a:gd name="T17" fmla="*/ 3006829 h 4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80" h="4380">
                  <a:moveTo>
                    <a:pt x="2190" y="4379"/>
                  </a:moveTo>
                  <a:lnTo>
                    <a:pt x="2190" y="4379"/>
                  </a:lnTo>
                  <a:cubicBezTo>
                    <a:pt x="981" y="4379"/>
                    <a:pt x="0" y="3399"/>
                    <a:pt x="0" y="2190"/>
                  </a:cubicBezTo>
                  <a:cubicBezTo>
                    <a:pt x="0" y="981"/>
                    <a:pt x="981" y="0"/>
                    <a:pt x="2190" y="0"/>
                  </a:cubicBezTo>
                  <a:cubicBezTo>
                    <a:pt x="3399" y="0"/>
                    <a:pt x="4379" y="981"/>
                    <a:pt x="4379" y="2190"/>
                  </a:cubicBezTo>
                  <a:lnTo>
                    <a:pt x="4379" y="4379"/>
                  </a:lnTo>
                  <a:lnTo>
                    <a:pt x="2190" y="4379"/>
                  </a:lnTo>
                </a:path>
              </a:pathLst>
            </a:custGeom>
            <a:solidFill>
              <a:schemeClr val="accent2">
                <a:lumMod val="75000"/>
                <a:alpha val="75000"/>
              </a:schemeClr>
            </a:solidFill>
            <a:ln>
              <a:noFill/>
            </a:ln>
          </p:spPr>
          <p:txBody>
            <a:bodyPr wrap="none" anchor="ctr"/>
            <a:lstStyle/>
            <a:p>
              <a:endParaRPr lang="en-GB" sz="2449" dirty="0"/>
            </a:p>
          </p:txBody>
        </p:sp>
        <p:sp>
          <p:nvSpPr>
            <p:cNvPr id="28" name="Freeform 315">
              <a:extLst>
                <a:ext uri="{FF2B5EF4-FFF2-40B4-BE49-F238E27FC236}">
                  <a16:creationId xmlns:a16="http://schemas.microsoft.com/office/drawing/2014/main" xmlns="" id="{289AFC8A-28F3-4BEC-A9A2-3E182DDFF85D}"/>
                </a:ext>
              </a:extLst>
            </p:cNvPr>
            <p:cNvSpPr>
              <a:spLocks/>
            </p:cNvSpPr>
            <p:nvPr/>
          </p:nvSpPr>
          <p:spPr bwMode="auto">
            <a:xfrm>
              <a:off x="6064241" y="2081056"/>
              <a:ext cx="2045681" cy="2046761"/>
            </a:xfrm>
            <a:custGeom>
              <a:avLst/>
              <a:gdLst>
                <a:gd name="T0" fmla="*/ 1503072 w 4380"/>
                <a:gd name="T1" fmla="*/ 3006829 h 4380"/>
                <a:gd name="T2" fmla="*/ 1503072 w 4380"/>
                <a:gd name="T3" fmla="*/ 3006829 h 4380"/>
                <a:gd name="T4" fmla="*/ 3006830 w 4380"/>
                <a:gd name="T5" fmla="*/ 1503758 h 4380"/>
                <a:gd name="T6" fmla="*/ 3006830 w 4380"/>
                <a:gd name="T7" fmla="*/ 1503758 h 4380"/>
                <a:gd name="T8" fmla="*/ 1503072 w 4380"/>
                <a:gd name="T9" fmla="*/ 0 h 4380"/>
                <a:gd name="T10" fmla="*/ 1503072 w 4380"/>
                <a:gd name="T11" fmla="*/ 0 h 4380"/>
                <a:gd name="T12" fmla="*/ 0 w 4380"/>
                <a:gd name="T13" fmla="*/ 1503758 h 4380"/>
                <a:gd name="T14" fmla="*/ 0 w 4380"/>
                <a:gd name="T15" fmla="*/ 3006829 h 4380"/>
                <a:gd name="T16" fmla="*/ 1503072 w 4380"/>
                <a:gd name="T17" fmla="*/ 3006829 h 438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380" h="4380">
                  <a:moveTo>
                    <a:pt x="2189" y="4379"/>
                  </a:moveTo>
                  <a:lnTo>
                    <a:pt x="2189" y="4379"/>
                  </a:lnTo>
                  <a:cubicBezTo>
                    <a:pt x="3398" y="4379"/>
                    <a:pt x="4379" y="3399"/>
                    <a:pt x="4379" y="2190"/>
                  </a:cubicBezTo>
                  <a:cubicBezTo>
                    <a:pt x="4379" y="981"/>
                    <a:pt x="3398" y="0"/>
                    <a:pt x="2189" y="0"/>
                  </a:cubicBezTo>
                  <a:cubicBezTo>
                    <a:pt x="981" y="0"/>
                    <a:pt x="0" y="981"/>
                    <a:pt x="0" y="2190"/>
                  </a:cubicBezTo>
                  <a:lnTo>
                    <a:pt x="0" y="4379"/>
                  </a:lnTo>
                  <a:lnTo>
                    <a:pt x="2189" y="4379"/>
                  </a:lnTo>
                </a:path>
              </a:pathLst>
            </a:custGeom>
            <a:solidFill>
              <a:schemeClr val="accent6">
                <a:lumMod val="75000"/>
                <a:alpha val="75000"/>
              </a:schemeClr>
            </a:solidFill>
            <a:ln>
              <a:noFill/>
            </a:ln>
          </p:spPr>
          <p:txBody>
            <a:bodyPr wrap="none" anchor="ctr"/>
            <a:lstStyle/>
            <a:p>
              <a:endParaRPr lang="en-GB" sz="2449" dirty="0"/>
            </a:p>
          </p:txBody>
        </p:sp>
        <p:sp>
          <p:nvSpPr>
            <p:cNvPr id="29" name="Freeform 313">
              <a:extLst>
                <a:ext uri="{FF2B5EF4-FFF2-40B4-BE49-F238E27FC236}">
                  <a16:creationId xmlns:a16="http://schemas.microsoft.com/office/drawing/2014/main" xmlns="" id="{113FE5D7-5E22-4FDF-9A8E-8D82F7A25198}"/>
                </a:ext>
              </a:extLst>
            </p:cNvPr>
            <p:cNvSpPr>
              <a:spLocks noChangeArrowheads="1"/>
            </p:cNvSpPr>
            <p:nvPr/>
          </p:nvSpPr>
          <p:spPr bwMode="auto">
            <a:xfrm>
              <a:off x="4561201" y="3672021"/>
              <a:ext cx="2045681" cy="2046761"/>
            </a:xfrm>
            <a:custGeom>
              <a:avLst/>
              <a:gdLst>
                <a:gd name="T0" fmla="*/ 2190 w 4380"/>
                <a:gd name="T1" fmla="*/ 0 h 4381"/>
                <a:gd name="T2" fmla="*/ 2190 w 4380"/>
                <a:gd name="T3" fmla="*/ 0 h 4381"/>
                <a:gd name="T4" fmla="*/ 0 w 4380"/>
                <a:gd name="T5" fmla="*/ 2190 h 4381"/>
                <a:gd name="T6" fmla="*/ 0 w 4380"/>
                <a:gd name="T7" fmla="*/ 2190 h 4381"/>
                <a:gd name="T8" fmla="*/ 2190 w 4380"/>
                <a:gd name="T9" fmla="*/ 4380 h 4381"/>
                <a:gd name="T10" fmla="*/ 2190 w 4380"/>
                <a:gd name="T11" fmla="*/ 4380 h 4381"/>
                <a:gd name="T12" fmla="*/ 4379 w 4380"/>
                <a:gd name="T13" fmla="*/ 2190 h 4381"/>
                <a:gd name="T14" fmla="*/ 4379 w 4380"/>
                <a:gd name="T15" fmla="*/ 0 h 4381"/>
                <a:gd name="T16" fmla="*/ 2190 w 4380"/>
                <a:gd name="T17" fmla="*/ 0 h 4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0" h="4381">
                  <a:moveTo>
                    <a:pt x="2190" y="0"/>
                  </a:moveTo>
                  <a:lnTo>
                    <a:pt x="2190" y="0"/>
                  </a:lnTo>
                  <a:cubicBezTo>
                    <a:pt x="981" y="0"/>
                    <a:pt x="0" y="981"/>
                    <a:pt x="0" y="2190"/>
                  </a:cubicBezTo>
                  <a:lnTo>
                    <a:pt x="0" y="2190"/>
                  </a:lnTo>
                  <a:cubicBezTo>
                    <a:pt x="0" y="3400"/>
                    <a:pt x="981" y="4380"/>
                    <a:pt x="2190" y="4380"/>
                  </a:cubicBezTo>
                  <a:lnTo>
                    <a:pt x="2190" y="4380"/>
                  </a:lnTo>
                  <a:cubicBezTo>
                    <a:pt x="3399" y="4380"/>
                    <a:pt x="4379" y="3400"/>
                    <a:pt x="4379" y="2190"/>
                  </a:cubicBezTo>
                  <a:lnTo>
                    <a:pt x="4379" y="0"/>
                  </a:lnTo>
                  <a:lnTo>
                    <a:pt x="2190" y="0"/>
                  </a:lnTo>
                </a:path>
              </a:pathLst>
            </a:custGeom>
            <a:solidFill>
              <a:schemeClr val="accent2">
                <a:lumMod val="60000"/>
                <a:lumOff val="40000"/>
                <a:alpha val="75000"/>
              </a:schemeClr>
            </a:solidFill>
            <a:ln>
              <a:noFill/>
            </a:ln>
            <a:effectLst/>
          </p:spPr>
          <p:txBody>
            <a:bodyPr wrap="none" anchor="ctr"/>
            <a:lstStyle/>
            <a:p>
              <a:pPr>
                <a:defRPr/>
              </a:pPr>
              <a:endParaRPr lang="en-GB" sz="2449" dirty="0"/>
            </a:p>
          </p:txBody>
        </p:sp>
        <p:sp>
          <p:nvSpPr>
            <p:cNvPr id="30" name="Freeform 314">
              <a:extLst>
                <a:ext uri="{FF2B5EF4-FFF2-40B4-BE49-F238E27FC236}">
                  <a16:creationId xmlns:a16="http://schemas.microsoft.com/office/drawing/2014/main" xmlns="" id="{C8D3E573-B02E-49C9-A680-A8E1682EDB29}"/>
                </a:ext>
              </a:extLst>
            </p:cNvPr>
            <p:cNvSpPr>
              <a:spLocks noChangeArrowheads="1"/>
            </p:cNvSpPr>
            <p:nvPr/>
          </p:nvSpPr>
          <p:spPr bwMode="auto">
            <a:xfrm>
              <a:off x="6064244" y="3672021"/>
              <a:ext cx="2045681" cy="2046761"/>
            </a:xfrm>
            <a:custGeom>
              <a:avLst/>
              <a:gdLst>
                <a:gd name="T0" fmla="*/ 2189 w 4380"/>
                <a:gd name="T1" fmla="*/ 0 h 4381"/>
                <a:gd name="T2" fmla="*/ 2189 w 4380"/>
                <a:gd name="T3" fmla="*/ 0 h 4381"/>
                <a:gd name="T4" fmla="*/ 4379 w 4380"/>
                <a:gd name="T5" fmla="*/ 2190 h 4381"/>
                <a:gd name="T6" fmla="*/ 4379 w 4380"/>
                <a:gd name="T7" fmla="*/ 2190 h 4381"/>
                <a:gd name="T8" fmla="*/ 2189 w 4380"/>
                <a:gd name="T9" fmla="*/ 4380 h 4381"/>
                <a:gd name="T10" fmla="*/ 2189 w 4380"/>
                <a:gd name="T11" fmla="*/ 4380 h 4381"/>
                <a:gd name="T12" fmla="*/ 0 w 4380"/>
                <a:gd name="T13" fmla="*/ 2190 h 4381"/>
                <a:gd name="T14" fmla="*/ 0 w 4380"/>
                <a:gd name="T15" fmla="*/ 0 h 4381"/>
                <a:gd name="T16" fmla="*/ 2189 w 4380"/>
                <a:gd name="T17" fmla="*/ 0 h 4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0" h="4381">
                  <a:moveTo>
                    <a:pt x="2189" y="0"/>
                  </a:moveTo>
                  <a:lnTo>
                    <a:pt x="2189" y="0"/>
                  </a:lnTo>
                  <a:cubicBezTo>
                    <a:pt x="3398" y="0"/>
                    <a:pt x="4379" y="981"/>
                    <a:pt x="4379" y="2190"/>
                  </a:cubicBezTo>
                  <a:lnTo>
                    <a:pt x="4379" y="2190"/>
                  </a:lnTo>
                  <a:cubicBezTo>
                    <a:pt x="4379" y="3400"/>
                    <a:pt x="3398" y="4380"/>
                    <a:pt x="2189" y="4380"/>
                  </a:cubicBezTo>
                  <a:lnTo>
                    <a:pt x="2189" y="4380"/>
                  </a:lnTo>
                  <a:cubicBezTo>
                    <a:pt x="981" y="4380"/>
                    <a:pt x="0" y="3400"/>
                    <a:pt x="0" y="2190"/>
                  </a:cubicBezTo>
                  <a:lnTo>
                    <a:pt x="0" y="0"/>
                  </a:lnTo>
                  <a:lnTo>
                    <a:pt x="2189" y="0"/>
                  </a:lnTo>
                </a:path>
              </a:pathLst>
            </a:custGeom>
            <a:solidFill>
              <a:schemeClr val="accent6">
                <a:lumMod val="60000"/>
                <a:lumOff val="40000"/>
                <a:alpha val="75000"/>
              </a:schemeClr>
            </a:solidFill>
            <a:ln>
              <a:noFill/>
            </a:ln>
            <a:effectLst/>
          </p:spPr>
          <p:txBody>
            <a:bodyPr wrap="none" anchor="ctr"/>
            <a:lstStyle/>
            <a:p>
              <a:pPr>
                <a:defRPr/>
              </a:pPr>
              <a:endParaRPr lang="en-GB" sz="2449" dirty="0"/>
            </a:p>
          </p:txBody>
        </p:sp>
        <p:sp>
          <p:nvSpPr>
            <p:cNvPr id="31" name="TextBox 13">
              <a:extLst>
                <a:ext uri="{FF2B5EF4-FFF2-40B4-BE49-F238E27FC236}">
                  <a16:creationId xmlns:a16="http://schemas.microsoft.com/office/drawing/2014/main" xmlns="" id="{83B44F87-B0CE-42E2-9DEA-A40A05A36364}"/>
                </a:ext>
              </a:extLst>
            </p:cNvPr>
            <p:cNvSpPr txBox="1"/>
            <p:nvPr/>
          </p:nvSpPr>
          <p:spPr>
            <a:xfrm>
              <a:off x="5005905" y="2670630"/>
              <a:ext cx="920797" cy="784958"/>
            </a:xfrm>
            <a:prstGeom prst="rect">
              <a:avLst/>
            </a:prstGeom>
            <a:noFill/>
          </p:spPr>
          <p:txBody>
            <a:bodyPr wrap="none" rtlCol="0" anchor="ctr">
              <a:spAutoFit/>
            </a:bodyPr>
            <a:lstStyle/>
            <a:p>
              <a:pPr algn="ctr"/>
              <a:r>
                <a:rPr lang="en-GB" sz="4501" b="1" spc="-109" dirty="0">
                  <a:solidFill>
                    <a:schemeClr val="bg1"/>
                  </a:solidFill>
                  <a:latin typeface="+mj-lt"/>
                  <a:ea typeface="Source Sans Pro" panose="020B0503030403020204" pitchFamily="34" charset="0"/>
                </a:rPr>
                <a:t>Blockers</a:t>
              </a:r>
            </a:p>
          </p:txBody>
        </p:sp>
        <p:sp>
          <p:nvSpPr>
            <p:cNvPr id="32" name="TextBox 14">
              <a:extLst>
                <a:ext uri="{FF2B5EF4-FFF2-40B4-BE49-F238E27FC236}">
                  <a16:creationId xmlns:a16="http://schemas.microsoft.com/office/drawing/2014/main" xmlns="" id="{E212C1F9-1143-4E37-8854-84525B3889DC}"/>
                </a:ext>
              </a:extLst>
            </p:cNvPr>
            <p:cNvSpPr txBox="1"/>
            <p:nvPr/>
          </p:nvSpPr>
          <p:spPr>
            <a:xfrm>
              <a:off x="6526883" y="2670630"/>
              <a:ext cx="1226932" cy="784958"/>
            </a:xfrm>
            <a:prstGeom prst="rect">
              <a:avLst/>
            </a:prstGeom>
            <a:noFill/>
          </p:spPr>
          <p:txBody>
            <a:bodyPr wrap="none" rtlCol="0" anchor="ctr">
              <a:spAutoFit/>
            </a:bodyPr>
            <a:lstStyle/>
            <a:p>
              <a:pPr algn="ctr"/>
              <a:r>
                <a:rPr lang="en-GB" sz="4501" b="1" spc="-109">
                  <a:solidFill>
                    <a:schemeClr val="bg1"/>
                  </a:solidFill>
                  <a:latin typeface="+mj-lt"/>
                  <a:ea typeface="Source Sans Pro" panose="020B0503030403020204" pitchFamily="34" charset="0"/>
                </a:rPr>
                <a:t>Champions</a:t>
              </a:r>
              <a:endParaRPr lang="en-GB" sz="4501" b="1" spc="-109" dirty="0">
                <a:solidFill>
                  <a:schemeClr val="bg1"/>
                </a:solidFill>
                <a:latin typeface="+mj-lt"/>
                <a:ea typeface="Source Sans Pro" panose="020B0503030403020204" pitchFamily="34" charset="0"/>
              </a:endParaRPr>
            </a:p>
          </p:txBody>
        </p:sp>
        <p:sp>
          <p:nvSpPr>
            <p:cNvPr id="33" name="TextBox 15">
              <a:extLst>
                <a:ext uri="{FF2B5EF4-FFF2-40B4-BE49-F238E27FC236}">
                  <a16:creationId xmlns:a16="http://schemas.microsoft.com/office/drawing/2014/main" xmlns="" id="{68288F26-4132-41D4-8727-4AFED77DDEBA}"/>
                </a:ext>
              </a:extLst>
            </p:cNvPr>
            <p:cNvSpPr txBox="1"/>
            <p:nvPr/>
          </p:nvSpPr>
          <p:spPr>
            <a:xfrm>
              <a:off x="4988306" y="4426546"/>
              <a:ext cx="955992" cy="784958"/>
            </a:xfrm>
            <a:prstGeom prst="rect">
              <a:avLst/>
            </a:prstGeom>
            <a:noFill/>
          </p:spPr>
          <p:txBody>
            <a:bodyPr wrap="none" rtlCol="0" anchor="ctr">
              <a:spAutoFit/>
            </a:bodyPr>
            <a:lstStyle/>
            <a:p>
              <a:pPr algn="ctr"/>
              <a:r>
                <a:rPr lang="en-GB" sz="4501" b="1" spc="-109">
                  <a:solidFill>
                    <a:schemeClr val="bg1"/>
                  </a:solidFill>
                  <a:latin typeface="+mj-lt"/>
                  <a:ea typeface="Source Sans Pro" panose="020B0503030403020204" pitchFamily="34" charset="0"/>
                </a:rPr>
                <a:t>Avoiders</a:t>
              </a:r>
              <a:endParaRPr lang="en-GB" sz="4501" b="1" spc="-109" dirty="0">
                <a:solidFill>
                  <a:schemeClr val="bg1"/>
                </a:solidFill>
                <a:latin typeface="+mj-lt"/>
                <a:ea typeface="Source Sans Pro" panose="020B0503030403020204" pitchFamily="34" charset="0"/>
              </a:endParaRPr>
            </a:p>
          </p:txBody>
        </p:sp>
        <p:sp>
          <p:nvSpPr>
            <p:cNvPr id="34" name="TextBox 16">
              <a:extLst>
                <a:ext uri="{FF2B5EF4-FFF2-40B4-BE49-F238E27FC236}">
                  <a16:creationId xmlns:a16="http://schemas.microsoft.com/office/drawing/2014/main" xmlns="" id="{41F6FE1B-DF5B-4FD9-9CE0-EC635A1796FE}"/>
                </a:ext>
              </a:extLst>
            </p:cNvPr>
            <p:cNvSpPr txBox="1"/>
            <p:nvPr/>
          </p:nvSpPr>
          <p:spPr>
            <a:xfrm>
              <a:off x="6353175" y="4426546"/>
              <a:ext cx="1574345" cy="784958"/>
            </a:xfrm>
            <a:prstGeom prst="rect">
              <a:avLst/>
            </a:prstGeom>
            <a:noFill/>
          </p:spPr>
          <p:txBody>
            <a:bodyPr wrap="none" rtlCol="0" anchor="ctr">
              <a:spAutoFit/>
            </a:bodyPr>
            <a:lstStyle/>
            <a:p>
              <a:pPr algn="ctr"/>
              <a:r>
                <a:rPr lang="en-GB" sz="4501" b="1" spc="-109">
                  <a:solidFill>
                    <a:schemeClr val="bg1"/>
                  </a:solidFill>
                  <a:latin typeface="+mj-lt"/>
                  <a:ea typeface="Source Sans Pro" panose="020B0503030403020204" pitchFamily="34" charset="0"/>
                </a:rPr>
                <a:t>Silent Boosters</a:t>
              </a:r>
              <a:endParaRPr lang="en-GB" sz="4501" b="1" spc="-109" dirty="0">
                <a:solidFill>
                  <a:schemeClr val="bg1"/>
                </a:solidFill>
                <a:latin typeface="+mj-lt"/>
                <a:ea typeface="Source Sans Pro" panose="020B0503030403020204" pitchFamily="34" charset="0"/>
              </a:endParaRPr>
            </a:p>
          </p:txBody>
        </p:sp>
      </p:grpSp>
      <p:cxnSp>
        <p:nvCxnSpPr>
          <p:cNvPr id="6" name="Gerade Verbindung mit Pfeil 5">
            <a:extLst>
              <a:ext uri="{FF2B5EF4-FFF2-40B4-BE49-F238E27FC236}">
                <a16:creationId xmlns:a16="http://schemas.microsoft.com/office/drawing/2014/main" xmlns="" id="{8B44B3A8-144F-4A8C-8A99-7E5041651851}"/>
              </a:ext>
            </a:extLst>
          </p:cNvPr>
          <p:cNvCxnSpPr>
            <a:cxnSpLocks/>
          </p:cNvCxnSpPr>
          <p:nvPr/>
        </p:nvCxnSpPr>
        <p:spPr>
          <a:xfrm>
            <a:off x="3647661" y="6052930"/>
            <a:ext cx="808051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a:extLst>
              <a:ext uri="{FF2B5EF4-FFF2-40B4-BE49-F238E27FC236}">
                <a16:creationId xmlns:a16="http://schemas.microsoft.com/office/drawing/2014/main" xmlns="" id="{D46D7494-DAAE-4230-A4CB-115B73BDB0FF}"/>
              </a:ext>
            </a:extLst>
          </p:cNvPr>
          <p:cNvCxnSpPr>
            <a:cxnSpLocks/>
          </p:cNvCxnSpPr>
          <p:nvPr/>
        </p:nvCxnSpPr>
        <p:spPr>
          <a:xfrm flipV="1">
            <a:off x="3647661" y="2142491"/>
            <a:ext cx="0" cy="391043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TextBox 21">
            <a:extLst>
              <a:ext uri="{FF2B5EF4-FFF2-40B4-BE49-F238E27FC236}">
                <a16:creationId xmlns:a16="http://schemas.microsoft.com/office/drawing/2014/main" xmlns="" id="{F697B1C4-98D6-4960-9A4D-965D192C7CCB}"/>
              </a:ext>
            </a:extLst>
          </p:cNvPr>
          <p:cNvSpPr txBox="1"/>
          <p:nvPr/>
        </p:nvSpPr>
        <p:spPr>
          <a:xfrm>
            <a:off x="7059257" y="5780217"/>
            <a:ext cx="1485083" cy="307777"/>
          </a:xfrm>
          <a:prstGeom prst="rect">
            <a:avLst/>
          </a:prstGeom>
          <a:noFill/>
        </p:spPr>
        <p:txBody>
          <a:bodyPr wrap="square" rtlCol="0" anchor="b" anchorCtr="0">
            <a:spAutoFit/>
          </a:bodyPr>
          <a:lstStyle/>
          <a:p>
            <a:pPr algn="ctr"/>
            <a:r>
              <a:rPr lang="en-GB" sz="1400" b="1" dirty="0">
                <a:solidFill>
                  <a:schemeClr val="tx2"/>
                </a:solidFill>
                <a:latin typeface="+mj-lt"/>
                <a:ea typeface="League Spartan" charset="0"/>
                <a:cs typeface="Poppins" pitchFamily="2" charset="77"/>
              </a:rPr>
              <a:t>Common Interest</a:t>
            </a:r>
          </a:p>
        </p:txBody>
      </p:sp>
      <p:sp>
        <p:nvSpPr>
          <p:cNvPr id="42" name="TextBox 21">
            <a:extLst>
              <a:ext uri="{FF2B5EF4-FFF2-40B4-BE49-F238E27FC236}">
                <a16:creationId xmlns:a16="http://schemas.microsoft.com/office/drawing/2014/main" xmlns="" id="{C72D6CA8-F379-4FBB-8EC7-12C8F5ECA469}"/>
              </a:ext>
            </a:extLst>
          </p:cNvPr>
          <p:cNvSpPr txBox="1"/>
          <p:nvPr/>
        </p:nvSpPr>
        <p:spPr>
          <a:xfrm rot="5400000">
            <a:off x="3066659" y="3860406"/>
            <a:ext cx="1485083" cy="307777"/>
          </a:xfrm>
          <a:prstGeom prst="rect">
            <a:avLst/>
          </a:prstGeom>
          <a:noFill/>
        </p:spPr>
        <p:txBody>
          <a:bodyPr wrap="square" rtlCol="0" anchor="b" anchorCtr="0">
            <a:spAutoFit/>
          </a:bodyPr>
          <a:lstStyle/>
          <a:p>
            <a:pPr algn="ctr"/>
            <a:r>
              <a:rPr lang="en-GB" sz="1400" b="1" dirty="0">
                <a:solidFill>
                  <a:schemeClr val="tx2"/>
                </a:solidFill>
                <a:latin typeface="+mj-lt"/>
                <a:ea typeface="League Spartan" charset="0"/>
                <a:cs typeface="Poppins" pitchFamily="2" charset="77"/>
              </a:rPr>
              <a:t>Energy Invested</a:t>
            </a:r>
          </a:p>
        </p:txBody>
      </p:sp>
      <p:sp>
        <p:nvSpPr>
          <p:cNvPr id="43" name="TextBox 13">
            <a:extLst>
              <a:ext uri="{FF2B5EF4-FFF2-40B4-BE49-F238E27FC236}">
                <a16:creationId xmlns:a16="http://schemas.microsoft.com/office/drawing/2014/main" xmlns="" id="{F2C43120-43BD-470C-8FD9-EDCAF0BECD7C}"/>
              </a:ext>
            </a:extLst>
          </p:cNvPr>
          <p:cNvSpPr txBox="1"/>
          <p:nvPr/>
        </p:nvSpPr>
        <p:spPr>
          <a:xfrm>
            <a:off x="5410294" y="3254264"/>
            <a:ext cx="1209627" cy="584775"/>
          </a:xfrm>
          <a:prstGeom prst="rect">
            <a:avLst/>
          </a:prstGeom>
          <a:noFill/>
        </p:spPr>
        <p:txBody>
          <a:bodyPr wrap="square" rtlCol="0" anchor="ctr">
            <a:spAutoFit/>
          </a:bodyPr>
          <a:lstStyle/>
          <a:p>
            <a:pPr algn="ctr"/>
            <a:r>
              <a:rPr lang="en-GB" sz="1600" b="1" spc="-109" dirty="0">
                <a:solidFill>
                  <a:schemeClr val="bg1"/>
                </a:solidFill>
                <a:latin typeface="+mj-lt"/>
                <a:ea typeface="Source Sans Pro" panose="020B0503030403020204" pitchFamily="34" charset="0"/>
              </a:rPr>
              <a:t>Active Resisters</a:t>
            </a:r>
          </a:p>
        </p:txBody>
      </p:sp>
      <p:sp>
        <p:nvSpPr>
          <p:cNvPr id="44" name="TextBox 14">
            <a:extLst>
              <a:ext uri="{FF2B5EF4-FFF2-40B4-BE49-F238E27FC236}">
                <a16:creationId xmlns:a16="http://schemas.microsoft.com/office/drawing/2014/main" xmlns="" id="{966364C8-0C76-45E2-8B43-7C809F76EDDB}"/>
              </a:ext>
            </a:extLst>
          </p:cNvPr>
          <p:cNvSpPr txBox="1"/>
          <p:nvPr/>
        </p:nvSpPr>
        <p:spPr>
          <a:xfrm>
            <a:off x="8876019" y="3254264"/>
            <a:ext cx="1372107" cy="584775"/>
          </a:xfrm>
          <a:prstGeom prst="rect">
            <a:avLst/>
          </a:prstGeom>
          <a:noFill/>
        </p:spPr>
        <p:txBody>
          <a:bodyPr wrap="square" rtlCol="0" anchor="ctr">
            <a:spAutoFit/>
          </a:bodyPr>
          <a:lstStyle/>
          <a:p>
            <a:pPr algn="ctr"/>
            <a:r>
              <a:rPr lang="en-GB" sz="1600" b="1" spc="-109" dirty="0">
                <a:solidFill>
                  <a:schemeClr val="bg1"/>
                </a:solidFill>
                <a:latin typeface="+mj-lt"/>
                <a:ea typeface="Source Sans Pro" panose="020B0503030403020204" pitchFamily="34" charset="0"/>
              </a:rPr>
              <a:t>Active Supporters</a:t>
            </a:r>
          </a:p>
        </p:txBody>
      </p:sp>
      <p:sp>
        <p:nvSpPr>
          <p:cNvPr id="45" name="TextBox 15">
            <a:extLst>
              <a:ext uri="{FF2B5EF4-FFF2-40B4-BE49-F238E27FC236}">
                <a16:creationId xmlns:a16="http://schemas.microsoft.com/office/drawing/2014/main" xmlns="" id="{F13B7374-C285-4B53-A3B1-1D1502B2B56D}"/>
              </a:ext>
            </a:extLst>
          </p:cNvPr>
          <p:cNvSpPr txBox="1"/>
          <p:nvPr/>
        </p:nvSpPr>
        <p:spPr>
          <a:xfrm>
            <a:off x="5374643" y="5010180"/>
            <a:ext cx="1280928" cy="584775"/>
          </a:xfrm>
          <a:prstGeom prst="rect">
            <a:avLst/>
          </a:prstGeom>
          <a:noFill/>
        </p:spPr>
        <p:txBody>
          <a:bodyPr wrap="square" rtlCol="0" anchor="ctr">
            <a:spAutoFit/>
          </a:bodyPr>
          <a:lstStyle/>
          <a:p>
            <a:pPr algn="ctr"/>
            <a:r>
              <a:rPr lang="en-GB" sz="1600" b="1" spc="-109" dirty="0">
                <a:solidFill>
                  <a:schemeClr val="bg1"/>
                </a:solidFill>
                <a:latin typeface="+mj-lt"/>
                <a:ea typeface="Source Sans Pro" panose="020B0503030403020204" pitchFamily="34" charset="0"/>
              </a:rPr>
              <a:t>Passive Resisters</a:t>
            </a:r>
          </a:p>
        </p:txBody>
      </p:sp>
      <p:sp>
        <p:nvSpPr>
          <p:cNvPr id="46" name="TextBox 16">
            <a:extLst>
              <a:ext uri="{FF2B5EF4-FFF2-40B4-BE49-F238E27FC236}">
                <a16:creationId xmlns:a16="http://schemas.microsoft.com/office/drawing/2014/main" xmlns="" id="{87650F9A-32A5-41D7-8603-A2B9B887B711}"/>
              </a:ext>
            </a:extLst>
          </p:cNvPr>
          <p:cNvSpPr txBox="1"/>
          <p:nvPr/>
        </p:nvSpPr>
        <p:spPr>
          <a:xfrm>
            <a:off x="8840369" y="5010180"/>
            <a:ext cx="1443408" cy="584775"/>
          </a:xfrm>
          <a:prstGeom prst="rect">
            <a:avLst/>
          </a:prstGeom>
          <a:noFill/>
        </p:spPr>
        <p:txBody>
          <a:bodyPr wrap="square" rtlCol="0" anchor="ctr">
            <a:spAutoFit/>
          </a:bodyPr>
          <a:lstStyle/>
          <a:p>
            <a:pPr algn="ctr"/>
            <a:r>
              <a:rPr lang="en-GB" sz="1600" b="1" spc="-109" dirty="0">
                <a:solidFill>
                  <a:schemeClr val="bg1"/>
                </a:solidFill>
                <a:latin typeface="+mj-lt"/>
                <a:ea typeface="Source Sans Pro" panose="020B0503030403020204" pitchFamily="34" charset="0"/>
              </a:rPr>
              <a:t>Passive Supporters</a:t>
            </a:r>
          </a:p>
        </p:txBody>
      </p:sp>
    </p:spTree>
    <p:extLst>
      <p:ext uri="{BB962C8B-B14F-4D97-AF65-F5344CB8AC3E}">
        <p14:creationId xmlns:p14="http://schemas.microsoft.com/office/powerpoint/2010/main" val="73931518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28837" y="571197"/>
            <a:ext cx="10312883" cy="861754"/>
          </a:xfrm>
        </p:spPr>
        <p:txBody>
          <a:bodyPr>
            <a:noAutofit/>
          </a:bodyPr>
          <a:lstStyle/>
          <a:p>
            <a:r>
              <a:rPr lang="en-GB" dirty="0"/>
              <a:t>Strategic Objectives of Communication </a:t>
            </a:r>
            <a:r>
              <a:rPr lang="en-GB" u="sng" dirty="0"/>
              <a:t>DURING</a:t>
            </a:r>
            <a:r>
              <a:rPr lang="en-GB" dirty="0"/>
              <a:t> the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19917" y="1928247"/>
            <a:ext cx="2957621" cy="38405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The objective of crisis management is to eliminate the potential harm and allow the organization to resume execution of its strategy. </a:t>
            </a:r>
          </a:p>
          <a:p>
            <a:pPr algn="l">
              <a:lnSpc>
                <a:spcPct val="100000"/>
              </a:lnSpc>
              <a:spcBef>
                <a:spcPts val="600"/>
              </a:spcBef>
            </a:pPr>
            <a:r>
              <a:rPr lang="en-GB" sz="2200" dirty="0">
                <a:solidFill>
                  <a:srgbClr val="245473"/>
                </a:solidFill>
                <a:latin typeface="+mj-lt"/>
                <a:sym typeface="Wingdings" panose="05000000000000000000" pitchFamily="2" charset="2"/>
              </a:rPr>
              <a:t>During the business Crisis, Communication is to the major stakeholders is essential.</a:t>
            </a:r>
          </a:p>
          <a:p>
            <a:pPr algn="l">
              <a:lnSpc>
                <a:spcPts val="1500"/>
              </a:lnSpc>
              <a:spcBef>
                <a:spcPts val="600"/>
              </a:spcBef>
            </a:pPr>
            <a:endParaRPr lang="en-GB" sz="2200" dirty="0">
              <a:latin typeface="+mj-lt"/>
              <a:sym typeface="Wingdings" panose="05000000000000000000" pitchFamily="2" charset="2"/>
            </a:endParaRPr>
          </a:p>
        </p:txBody>
      </p:sp>
      <p:grpSp>
        <p:nvGrpSpPr>
          <p:cNvPr id="4" name="Gruppieren 3">
            <a:extLst>
              <a:ext uri="{FF2B5EF4-FFF2-40B4-BE49-F238E27FC236}">
                <a16:creationId xmlns:a16="http://schemas.microsoft.com/office/drawing/2014/main" xmlns="" id="{F0B03A0E-6248-424D-97CB-84CDEF89E884}"/>
              </a:ext>
            </a:extLst>
          </p:cNvPr>
          <p:cNvGrpSpPr/>
          <p:nvPr/>
        </p:nvGrpSpPr>
        <p:grpSpPr>
          <a:xfrm>
            <a:off x="4009265" y="2411248"/>
            <a:ext cx="7987843" cy="3583091"/>
            <a:chOff x="3649227" y="1891861"/>
            <a:chExt cx="9206673" cy="4239037"/>
          </a:xfrm>
        </p:grpSpPr>
        <p:sp>
          <p:nvSpPr>
            <p:cNvPr id="39" name="Pentagon 6">
              <a:extLst>
                <a:ext uri="{FF2B5EF4-FFF2-40B4-BE49-F238E27FC236}">
                  <a16:creationId xmlns:a16="http://schemas.microsoft.com/office/drawing/2014/main" xmlns="" id="{8215E949-0C02-4FE3-8314-729E28C7B1D5}"/>
                </a:ext>
              </a:extLst>
            </p:cNvPr>
            <p:cNvSpPr/>
            <p:nvPr/>
          </p:nvSpPr>
          <p:spPr>
            <a:xfrm>
              <a:off x="7915823" y="3106373"/>
              <a:ext cx="4446729" cy="839242"/>
            </a:xfrm>
            <a:prstGeom prst="homePlat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latin typeface="Lato Light" panose="020F0502020204030203" pitchFamily="34" charset="0"/>
              </a:endParaRPr>
            </a:p>
          </p:txBody>
        </p:sp>
        <p:sp>
          <p:nvSpPr>
            <p:cNvPr id="63" name="Pentagon 7">
              <a:extLst>
                <a:ext uri="{FF2B5EF4-FFF2-40B4-BE49-F238E27FC236}">
                  <a16:creationId xmlns:a16="http://schemas.microsoft.com/office/drawing/2014/main" xmlns="" id="{56309369-CC09-444E-93BC-817E91C15DBC}"/>
                </a:ext>
              </a:extLst>
            </p:cNvPr>
            <p:cNvSpPr/>
            <p:nvPr/>
          </p:nvSpPr>
          <p:spPr>
            <a:xfrm>
              <a:off x="7925556" y="3945216"/>
              <a:ext cx="4520728" cy="824473"/>
            </a:xfrm>
            <a:prstGeom prst="homePlat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latin typeface="Lato Light" panose="020F0502020204030203" pitchFamily="34" charset="0"/>
              </a:endParaRPr>
            </a:p>
          </p:txBody>
        </p:sp>
        <p:sp>
          <p:nvSpPr>
            <p:cNvPr id="64" name="Pentagon 8">
              <a:extLst>
                <a:ext uri="{FF2B5EF4-FFF2-40B4-BE49-F238E27FC236}">
                  <a16:creationId xmlns:a16="http://schemas.microsoft.com/office/drawing/2014/main" xmlns="" id="{089108CE-7781-4A21-AF51-196DEDE09AD0}"/>
                </a:ext>
              </a:extLst>
            </p:cNvPr>
            <p:cNvSpPr/>
            <p:nvPr/>
          </p:nvSpPr>
          <p:spPr>
            <a:xfrm>
              <a:off x="7925556" y="4768814"/>
              <a:ext cx="4520731" cy="1362084"/>
            </a:xfrm>
            <a:prstGeom prst="homePlat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latin typeface="Lato Light" panose="020F0502020204030203" pitchFamily="34" charset="0"/>
              </a:endParaRPr>
            </a:p>
          </p:txBody>
        </p:sp>
        <p:sp>
          <p:nvSpPr>
            <p:cNvPr id="65" name="Pentagon 9">
              <a:extLst>
                <a:ext uri="{FF2B5EF4-FFF2-40B4-BE49-F238E27FC236}">
                  <a16:creationId xmlns:a16="http://schemas.microsoft.com/office/drawing/2014/main" xmlns="" id="{D7F40F59-AC22-48A1-8C6F-4EEEDB4CEFE2}"/>
                </a:ext>
              </a:extLst>
            </p:cNvPr>
            <p:cNvSpPr/>
            <p:nvPr/>
          </p:nvSpPr>
          <p:spPr>
            <a:xfrm>
              <a:off x="7915823" y="2301045"/>
              <a:ext cx="4402551" cy="824474"/>
            </a:xfrm>
            <a:prstGeom prst="homePlat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latin typeface="Lato Light" panose="020F0502020204030203" pitchFamily="34" charset="0"/>
              </a:endParaRPr>
            </a:p>
          </p:txBody>
        </p:sp>
        <p:sp>
          <p:nvSpPr>
            <p:cNvPr id="66" name="Rectangle 10">
              <a:extLst>
                <a:ext uri="{FF2B5EF4-FFF2-40B4-BE49-F238E27FC236}">
                  <a16:creationId xmlns:a16="http://schemas.microsoft.com/office/drawing/2014/main" xmlns="" id="{2E4304CD-8684-4F0F-B59D-D8FA97889418}"/>
                </a:ext>
              </a:extLst>
            </p:cNvPr>
            <p:cNvSpPr/>
            <p:nvPr/>
          </p:nvSpPr>
          <p:spPr>
            <a:xfrm>
              <a:off x="5657923" y="3427445"/>
              <a:ext cx="1798582" cy="519724"/>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latin typeface="Lato Light" panose="020F0502020204030203" pitchFamily="34" charset="0"/>
              </a:endParaRPr>
            </a:p>
          </p:txBody>
        </p:sp>
        <p:sp>
          <p:nvSpPr>
            <p:cNvPr id="67" name="Rectangle 11">
              <a:extLst>
                <a:ext uri="{FF2B5EF4-FFF2-40B4-BE49-F238E27FC236}">
                  <a16:creationId xmlns:a16="http://schemas.microsoft.com/office/drawing/2014/main" xmlns="" id="{B4C86A65-83A5-4235-A40F-B06011604152}"/>
                </a:ext>
              </a:extLst>
            </p:cNvPr>
            <p:cNvSpPr/>
            <p:nvPr/>
          </p:nvSpPr>
          <p:spPr>
            <a:xfrm>
              <a:off x="5661365" y="3947171"/>
              <a:ext cx="1795141" cy="506237"/>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latin typeface="Lato Light" panose="020F0502020204030203" pitchFamily="34" charset="0"/>
              </a:endParaRPr>
            </a:p>
          </p:txBody>
        </p:sp>
        <p:sp>
          <p:nvSpPr>
            <p:cNvPr id="68" name="Rectangle 12">
              <a:extLst>
                <a:ext uri="{FF2B5EF4-FFF2-40B4-BE49-F238E27FC236}">
                  <a16:creationId xmlns:a16="http://schemas.microsoft.com/office/drawing/2014/main" xmlns="" id="{7547FAA9-F8F1-4E16-A036-C7DC9CFD0E4D}"/>
                </a:ext>
              </a:extLst>
            </p:cNvPr>
            <p:cNvSpPr/>
            <p:nvPr/>
          </p:nvSpPr>
          <p:spPr>
            <a:xfrm>
              <a:off x="5658941" y="4453407"/>
              <a:ext cx="1819440" cy="535258"/>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latin typeface="Lato Light" panose="020F0502020204030203" pitchFamily="34" charset="0"/>
              </a:endParaRPr>
            </a:p>
          </p:txBody>
        </p:sp>
        <p:sp>
          <p:nvSpPr>
            <p:cNvPr id="69" name="Rectangle 13">
              <a:extLst>
                <a:ext uri="{FF2B5EF4-FFF2-40B4-BE49-F238E27FC236}">
                  <a16:creationId xmlns:a16="http://schemas.microsoft.com/office/drawing/2014/main" xmlns="" id="{D7F5FDDE-FAEE-4F2F-BB72-DB43BDC29A38}"/>
                </a:ext>
              </a:extLst>
            </p:cNvPr>
            <p:cNvSpPr/>
            <p:nvPr/>
          </p:nvSpPr>
          <p:spPr>
            <a:xfrm>
              <a:off x="5638612" y="2884053"/>
              <a:ext cx="1862293" cy="54494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2400" dirty="0">
                <a:latin typeface="Lato Light" panose="020F0502020204030203" pitchFamily="34" charset="0"/>
              </a:endParaRPr>
            </a:p>
          </p:txBody>
        </p:sp>
        <p:grpSp>
          <p:nvGrpSpPr>
            <p:cNvPr id="70" name="Group 14">
              <a:extLst>
                <a:ext uri="{FF2B5EF4-FFF2-40B4-BE49-F238E27FC236}">
                  <a16:creationId xmlns:a16="http://schemas.microsoft.com/office/drawing/2014/main" xmlns="" id="{9B99C182-C0EB-4B92-991D-DCEE7D4D0A12}"/>
                </a:ext>
              </a:extLst>
            </p:cNvPr>
            <p:cNvGrpSpPr/>
            <p:nvPr/>
          </p:nvGrpSpPr>
          <p:grpSpPr>
            <a:xfrm>
              <a:off x="7456505" y="2285407"/>
              <a:ext cx="469052" cy="1661763"/>
              <a:chOff x="413581" y="698501"/>
              <a:chExt cx="556244" cy="1970670"/>
            </a:xfrm>
          </p:grpSpPr>
          <p:sp>
            <p:nvSpPr>
              <p:cNvPr id="71" name="Freeform 15">
                <a:extLst>
                  <a:ext uri="{FF2B5EF4-FFF2-40B4-BE49-F238E27FC236}">
                    <a16:creationId xmlns:a16="http://schemas.microsoft.com/office/drawing/2014/main" xmlns="" id="{1F1701F4-D8E2-4CC2-9FBA-F1D6AF5D0EDF}"/>
                  </a:ext>
                </a:extLst>
              </p:cNvPr>
              <p:cNvSpPr/>
              <p:nvPr/>
            </p:nvSpPr>
            <p:spPr>
              <a:xfrm>
                <a:off x="413845" y="698501"/>
                <a:ext cx="555980" cy="1354334"/>
              </a:xfrm>
              <a:custGeom>
                <a:avLst/>
                <a:gdLst>
                  <a:gd name="connsiteX0" fmla="*/ 555980 w 555980"/>
                  <a:gd name="connsiteY0" fmla="*/ 0 h 1354334"/>
                  <a:gd name="connsiteX1" fmla="*/ 555980 w 555980"/>
                  <a:gd name="connsiteY1" fmla="*/ 968242 h 1354334"/>
                  <a:gd name="connsiteX2" fmla="*/ 0 w 555980"/>
                  <a:gd name="connsiteY2" fmla="*/ 1354334 h 1354334"/>
                  <a:gd name="connsiteX3" fmla="*/ 737 w 555980"/>
                  <a:gd name="connsiteY3" fmla="*/ 709226 h 1354334"/>
                  <a:gd name="connsiteX4" fmla="*/ 555980 w 555980"/>
                  <a:gd name="connsiteY4" fmla="*/ 0 h 1354334"/>
                  <a:gd name="connsiteX0" fmla="*/ 555980 w 555980"/>
                  <a:gd name="connsiteY0" fmla="*/ 0 h 1354334"/>
                  <a:gd name="connsiteX1" fmla="*/ 555980 w 555980"/>
                  <a:gd name="connsiteY1" fmla="*/ 976179 h 1354334"/>
                  <a:gd name="connsiteX2" fmla="*/ 0 w 555980"/>
                  <a:gd name="connsiteY2" fmla="*/ 1354334 h 1354334"/>
                  <a:gd name="connsiteX3" fmla="*/ 737 w 555980"/>
                  <a:gd name="connsiteY3" fmla="*/ 709226 h 1354334"/>
                  <a:gd name="connsiteX4" fmla="*/ 555980 w 555980"/>
                  <a:gd name="connsiteY4" fmla="*/ 0 h 1354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980" h="1354334">
                    <a:moveTo>
                      <a:pt x="555980" y="0"/>
                    </a:moveTo>
                    <a:lnTo>
                      <a:pt x="555980" y="976179"/>
                    </a:lnTo>
                    <a:lnTo>
                      <a:pt x="0" y="1354334"/>
                    </a:lnTo>
                    <a:cubicBezTo>
                      <a:pt x="246" y="1139298"/>
                      <a:pt x="491" y="924262"/>
                      <a:pt x="737" y="709226"/>
                    </a:cubicBezTo>
                    <a:lnTo>
                      <a:pt x="555980" y="0"/>
                    </a:lnTo>
                    <a:close/>
                  </a:path>
                </a:pathLst>
              </a:cu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sz="2400" dirty="0">
                  <a:latin typeface="Lato Light" panose="020F0502020204030203" pitchFamily="34" charset="0"/>
                </a:endParaRPr>
              </a:p>
            </p:txBody>
          </p:sp>
          <p:sp>
            <p:nvSpPr>
              <p:cNvPr id="72" name="Freeform 16">
                <a:extLst>
                  <a:ext uri="{FF2B5EF4-FFF2-40B4-BE49-F238E27FC236}">
                    <a16:creationId xmlns:a16="http://schemas.microsoft.com/office/drawing/2014/main" xmlns="" id="{D4F6CF43-DCAE-429F-91D1-F52D01A38E12}"/>
                  </a:ext>
                </a:extLst>
              </p:cNvPr>
              <p:cNvSpPr/>
              <p:nvPr/>
            </p:nvSpPr>
            <p:spPr>
              <a:xfrm>
                <a:off x="413581" y="1673921"/>
                <a:ext cx="556244" cy="995250"/>
              </a:xfrm>
              <a:custGeom>
                <a:avLst/>
                <a:gdLst>
                  <a:gd name="connsiteX0" fmla="*/ 556244 w 556244"/>
                  <a:gd name="connsiteY0" fmla="*/ 0 h 995250"/>
                  <a:gd name="connsiteX1" fmla="*/ 556244 w 556244"/>
                  <a:gd name="connsiteY1" fmla="*/ 148222 h 995250"/>
                  <a:gd name="connsiteX2" fmla="*/ 556244 w 556244"/>
                  <a:gd name="connsiteY2" fmla="*/ 847028 h 995250"/>
                  <a:gd name="connsiteX3" fmla="*/ 556244 w 556244"/>
                  <a:gd name="connsiteY3" fmla="*/ 995250 h 995250"/>
                  <a:gd name="connsiteX4" fmla="*/ 0 w 556244"/>
                  <a:gd name="connsiteY4" fmla="*/ 995250 h 995250"/>
                  <a:gd name="connsiteX5" fmla="*/ 317 w 556244"/>
                  <a:gd name="connsiteY5" fmla="*/ 847028 h 995250"/>
                  <a:gd name="connsiteX6" fmla="*/ 0 w 556244"/>
                  <a:gd name="connsiteY6" fmla="*/ 847028 h 995250"/>
                  <a:gd name="connsiteX7" fmla="*/ 1001 w 556244"/>
                  <a:gd name="connsiteY7" fmla="*/ 378960 h 9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244" h="995250">
                    <a:moveTo>
                      <a:pt x="556244" y="0"/>
                    </a:moveTo>
                    <a:lnTo>
                      <a:pt x="556244" y="148222"/>
                    </a:lnTo>
                    <a:lnTo>
                      <a:pt x="556244" y="847028"/>
                    </a:lnTo>
                    <a:lnTo>
                      <a:pt x="556244" y="995250"/>
                    </a:lnTo>
                    <a:lnTo>
                      <a:pt x="0" y="995250"/>
                    </a:lnTo>
                    <a:lnTo>
                      <a:pt x="317" y="847028"/>
                    </a:lnTo>
                    <a:lnTo>
                      <a:pt x="0" y="847028"/>
                    </a:lnTo>
                    <a:lnTo>
                      <a:pt x="1001" y="378960"/>
                    </a:ln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sz="2400" dirty="0">
                  <a:latin typeface="Lato Light" panose="020F0502020204030203" pitchFamily="34" charset="0"/>
                </a:endParaRPr>
              </a:p>
            </p:txBody>
          </p:sp>
        </p:grpSp>
        <p:sp>
          <p:nvSpPr>
            <p:cNvPr id="73" name="Freeform 18">
              <a:extLst>
                <a:ext uri="{FF2B5EF4-FFF2-40B4-BE49-F238E27FC236}">
                  <a16:creationId xmlns:a16="http://schemas.microsoft.com/office/drawing/2014/main" xmlns="" id="{86E83247-155A-4506-ADC8-41445CAFCCB7}"/>
                </a:ext>
              </a:extLst>
            </p:cNvPr>
            <p:cNvSpPr/>
            <p:nvPr/>
          </p:nvSpPr>
          <p:spPr>
            <a:xfrm flipV="1">
              <a:off x="7456725" y="4453406"/>
              <a:ext cx="468830" cy="1121228"/>
            </a:xfrm>
            <a:custGeom>
              <a:avLst/>
              <a:gdLst>
                <a:gd name="connsiteX0" fmla="*/ 555980 w 555980"/>
                <a:gd name="connsiteY0" fmla="*/ 0 h 1354334"/>
                <a:gd name="connsiteX1" fmla="*/ 555980 w 555980"/>
                <a:gd name="connsiteY1" fmla="*/ 968242 h 1354334"/>
                <a:gd name="connsiteX2" fmla="*/ 0 w 555980"/>
                <a:gd name="connsiteY2" fmla="*/ 1354334 h 1354334"/>
                <a:gd name="connsiteX3" fmla="*/ 737 w 555980"/>
                <a:gd name="connsiteY3" fmla="*/ 709226 h 1354334"/>
                <a:gd name="connsiteX4" fmla="*/ 555980 w 555980"/>
                <a:gd name="connsiteY4" fmla="*/ 0 h 1354334"/>
                <a:gd name="connsiteX0" fmla="*/ 555980 w 555980"/>
                <a:gd name="connsiteY0" fmla="*/ 0 h 1354334"/>
                <a:gd name="connsiteX1" fmla="*/ 555980 w 555980"/>
                <a:gd name="connsiteY1" fmla="*/ 976179 h 1354334"/>
                <a:gd name="connsiteX2" fmla="*/ 0 w 555980"/>
                <a:gd name="connsiteY2" fmla="*/ 1354334 h 1354334"/>
                <a:gd name="connsiteX3" fmla="*/ 737 w 555980"/>
                <a:gd name="connsiteY3" fmla="*/ 709226 h 1354334"/>
                <a:gd name="connsiteX4" fmla="*/ 555980 w 555980"/>
                <a:gd name="connsiteY4" fmla="*/ 0 h 13543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980" h="1354334">
                  <a:moveTo>
                    <a:pt x="555980" y="0"/>
                  </a:moveTo>
                  <a:lnTo>
                    <a:pt x="555980" y="976179"/>
                  </a:lnTo>
                  <a:lnTo>
                    <a:pt x="0" y="1354334"/>
                  </a:lnTo>
                  <a:cubicBezTo>
                    <a:pt x="246" y="1139298"/>
                    <a:pt x="491" y="924262"/>
                    <a:pt x="737" y="709226"/>
                  </a:cubicBezTo>
                  <a:lnTo>
                    <a:pt x="555980" y="0"/>
                  </a:lnTo>
                  <a:close/>
                </a:path>
              </a:pathLst>
            </a:custGeom>
            <a:solidFill>
              <a:schemeClr val="accent4">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sz="2400" dirty="0">
                <a:latin typeface="Lato Light" panose="020F0502020204030203" pitchFamily="34" charset="0"/>
              </a:endParaRPr>
            </a:p>
          </p:txBody>
        </p:sp>
        <p:sp>
          <p:nvSpPr>
            <p:cNvPr id="74" name="Freeform 19">
              <a:extLst>
                <a:ext uri="{FF2B5EF4-FFF2-40B4-BE49-F238E27FC236}">
                  <a16:creationId xmlns:a16="http://schemas.microsoft.com/office/drawing/2014/main" xmlns="" id="{49619BF2-6943-47C6-9ACE-F3F5E275C6A1}"/>
                </a:ext>
              </a:extLst>
            </p:cNvPr>
            <p:cNvSpPr/>
            <p:nvPr/>
          </p:nvSpPr>
          <p:spPr>
            <a:xfrm flipV="1">
              <a:off x="7456503" y="3947172"/>
              <a:ext cx="469052" cy="823948"/>
            </a:xfrm>
            <a:custGeom>
              <a:avLst/>
              <a:gdLst>
                <a:gd name="connsiteX0" fmla="*/ 556244 w 556244"/>
                <a:gd name="connsiteY0" fmla="*/ 0 h 995250"/>
                <a:gd name="connsiteX1" fmla="*/ 556244 w 556244"/>
                <a:gd name="connsiteY1" fmla="*/ 148222 h 995250"/>
                <a:gd name="connsiteX2" fmla="*/ 556244 w 556244"/>
                <a:gd name="connsiteY2" fmla="*/ 847028 h 995250"/>
                <a:gd name="connsiteX3" fmla="*/ 556244 w 556244"/>
                <a:gd name="connsiteY3" fmla="*/ 995250 h 995250"/>
                <a:gd name="connsiteX4" fmla="*/ 0 w 556244"/>
                <a:gd name="connsiteY4" fmla="*/ 995250 h 995250"/>
                <a:gd name="connsiteX5" fmla="*/ 317 w 556244"/>
                <a:gd name="connsiteY5" fmla="*/ 847028 h 995250"/>
                <a:gd name="connsiteX6" fmla="*/ 0 w 556244"/>
                <a:gd name="connsiteY6" fmla="*/ 847028 h 995250"/>
                <a:gd name="connsiteX7" fmla="*/ 1001 w 556244"/>
                <a:gd name="connsiteY7" fmla="*/ 378960 h 9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244" h="995250">
                  <a:moveTo>
                    <a:pt x="556244" y="0"/>
                  </a:moveTo>
                  <a:lnTo>
                    <a:pt x="556244" y="148222"/>
                  </a:lnTo>
                  <a:lnTo>
                    <a:pt x="556244" y="847028"/>
                  </a:lnTo>
                  <a:lnTo>
                    <a:pt x="556244" y="995250"/>
                  </a:lnTo>
                  <a:lnTo>
                    <a:pt x="0" y="995250"/>
                  </a:lnTo>
                  <a:lnTo>
                    <a:pt x="317" y="847028"/>
                  </a:lnTo>
                  <a:lnTo>
                    <a:pt x="0" y="847028"/>
                  </a:lnTo>
                  <a:lnTo>
                    <a:pt x="1001" y="378960"/>
                  </a:lnTo>
                  <a:close/>
                </a:path>
              </a:pathLst>
            </a:cu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GB" sz="2400" dirty="0">
                <a:latin typeface="Lato Light" panose="020F0502020204030203" pitchFamily="34" charset="0"/>
              </a:endParaRPr>
            </a:p>
          </p:txBody>
        </p:sp>
        <p:sp>
          <p:nvSpPr>
            <p:cNvPr id="75" name="Freeform 3">
              <a:extLst>
                <a:ext uri="{FF2B5EF4-FFF2-40B4-BE49-F238E27FC236}">
                  <a16:creationId xmlns:a16="http://schemas.microsoft.com/office/drawing/2014/main" xmlns="" id="{6EC8BDFB-1B23-42ED-8D2E-379465E31EC4}"/>
                </a:ext>
              </a:extLst>
            </p:cNvPr>
            <p:cNvSpPr>
              <a:spLocks noChangeArrowheads="1"/>
            </p:cNvSpPr>
            <p:nvPr/>
          </p:nvSpPr>
          <p:spPr bwMode="auto">
            <a:xfrm>
              <a:off x="4557960" y="2829893"/>
              <a:ext cx="2204587" cy="2204587"/>
            </a:xfrm>
            <a:custGeom>
              <a:avLst/>
              <a:gdLst>
                <a:gd name="T0" fmla="*/ 5571 w 11134"/>
                <a:gd name="T1" fmla="*/ 11132 h 11134"/>
                <a:gd name="T2" fmla="*/ 5571 w 11134"/>
                <a:gd name="T3" fmla="*/ 11132 h 11134"/>
                <a:gd name="T4" fmla="*/ 11131 w 11134"/>
                <a:gd name="T5" fmla="*/ 5563 h 11134"/>
                <a:gd name="T6" fmla="*/ 11131 w 11134"/>
                <a:gd name="T7" fmla="*/ 5563 h 11134"/>
                <a:gd name="T8" fmla="*/ 5563 w 11134"/>
                <a:gd name="T9" fmla="*/ 3 h 11134"/>
                <a:gd name="T10" fmla="*/ 5563 w 11134"/>
                <a:gd name="T11" fmla="*/ 3 h 11134"/>
                <a:gd name="T12" fmla="*/ 2 w 11134"/>
                <a:gd name="T13" fmla="*/ 5571 h 11134"/>
                <a:gd name="T14" fmla="*/ 2 w 11134"/>
                <a:gd name="T15" fmla="*/ 5571 h 11134"/>
                <a:gd name="T16" fmla="*/ 5571 w 11134"/>
                <a:gd name="T17" fmla="*/ 11132 h 11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34" h="11134">
                  <a:moveTo>
                    <a:pt x="5571" y="11132"/>
                  </a:moveTo>
                  <a:lnTo>
                    <a:pt x="5571" y="11132"/>
                  </a:lnTo>
                  <a:cubicBezTo>
                    <a:pt x="8644" y="11128"/>
                    <a:pt x="11133" y="8636"/>
                    <a:pt x="11131" y="5563"/>
                  </a:cubicBezTo>
                  <a:lnTo>
                    <a:pt x="11131" y="5563"/>
                  </a:lnTo>
                  <a:cubicBezTo>
                    <a:pt x="11129" y="2489"/>
                    <a:pt x="8635" y="0"/>
                    <a:pt x="5563" y="3"/>
                  </a:cubicBezTo>
                  <a:lnTo>
                    <a:pt x="5563" y="3"/>
                  </a:lnTo>
                  <a:cubicBezTo>
                    <a:pt x="2491" y="5"/>
                    <a:pt x="0" y="2498"/>
                    <a:pt x="2" y="5571"/>
                  </a:cubicBezTo>
                  <a:lnTo>
                    <a:pt x="2" y="5571"/>
                  </a:lnTo>
                  <a:cubicBezTo>
                    <a:pt x="4" y="8644"/>
                    <a:pt x="2498" y="11133"/>
                    <a:pt x="5571" y="11132"/>
                  </a:cubicBezTo>
                </a:path>
              </a:pathLst>
            </a:custGeom>
            <a:solidFill>
              <a:schemeClr val="bg1"/>
            </a:solidFill>
            <a:ln>
              <a:noFill/>
            </a:ln>
            <a:effectLst/>
          </p:spPr>
          <p:txBody>
            <a:bodyPr wrap="none" anchor="ctr"/>
            <a:lstStyle/>
            <a:p>
              <a:endParaRPr lang="en-GB" sz="2450" dirty="0">
                <a:latin typeface="Lato Light" panose="020F0502020204030203" pitchFamily="34" charset="0"/>
              </a:endParaRPr>
            </a:p>
          </p:txBody>
        </p:sp>
        <p:sp>
          <p:nvSpPr>
            <p:cNvPr id="76" name="Freeform 4">
              <a:extLst>
                <a:ext uri="{FF2B5EF4-FFF2-40B4-BE49-F238E27FC236}">
                  <a16:creationId xmlns:a16="http://schemas.microsoft.com/office/drawing/2014/main" xmlns="" id="{2C899F13-4059-49CC-AA26-54E442993AEB}"/>
                </a:ext>
              </a:extLst>
            </p:cNvPr>
            <p:cNvSpPr>
              <a:spLocks noChangeArrowheads="1"/>
            </p:cNvSpPr>
            <p:nvPr/>
          </p:nvSpPr>
          <p:spPr bwMode="auto">
            <a:xfrm>
              <a:off x="5658943" y="2672536"/>
              <a:ext cx="1259971" cy="2518986"/>
            </a:xfrm>
            <a:custGeom>
              <a:avLst/>
              <a:gdLst>
                <a:gd name="connsiteX0" fmla="*/ 2882 w 4156546"/>
                <a:gd name="connsiteY0" fmla="*/ 3371527 h 8309941"/>
                <a:gd name="connsiteX1" fmla="*/ 785018 w 4156546"/>
                <a:gd name="connsiteY1" fmla="*/ 4150918 h 8309941"/>
                <a:gd name="connsiteX2" fmla="*/ 3535 w 4156546"/>
                <a:gd name="connsiteY2" fmla="*/ 4934226 h 8309941"/>
                <a:gd name="connsiteX3" fmla="*/ 2 w 4156546"/>
                <a:gd name="connsiteY3" fmla="*/ 1695844 h 8309941"/>
                <a:gd name="connsiteX4" fmla="*/ 2461354 w 4156546"/>
                <a:gd name="connsiteY4" fmla="*/ 4153009 h 8309941"/>
                <a:gd name="connsiteX5" fmla="*/ 3268 w 4156546"/>
                <a:gd name="connsiteY5" fmla="*/ 6613440 h 8309941"/>
                <a:gd name="connsiteX6" fmla="*/ 2615 w 4156546"/>
                <a:gd name="connsiteY6" fmla="*/ 5668729 h 8309941"/>
                <a:gd name="connsiteX7" fmla="*/ 1516791 w 4156546"/>
                <a:gd name="connsiteY7" fmla="*/ 4153663 h 8309941"/>
                <a:gd name="connsiteX8" fmla="*/ 655 w 4156546"/>
                <a:gd name="connsiteY8" fmla="*/ 2639249 h 8309941"/>
                <a:gd name="connsiteX9" fmla="*/ 0 w 4156546"/>
                <a:gd name="connsiteY9" fmla="*/ 1 h 8309941"/>
                <a:gd name="connsiteX10" fmla="*/ 4156545 w 4156546"/>
                <a:gd name="connsiteY10" fmla="*/ 4152031 h 8309941"/>
                <a:gd name="connsiteX11" fmla="*/ 5877 w 4156546"/>
                <a:gd name="connsiteY11" fmla="*/ 8309941 h 8309941"/>
                <a:gd name="connsiteX12" fmla="*/ 4571 w 4156546"/>
                <a:gd name="connsiteY12" fmla="*/ 7365348 h 8309941"/>
                <a:gd name="connsiteX13" fmla="*/ 3212914 w 4156546"/>
                <a:gd name="connsiteY13" fmla="*/ 4153338 h 8309941"/>
                <a:gd name="connsiteX14" fmla="*/ 0 w 4156546"/>
                <a:gd name="connsiteY14" fmla="*/ 943288 h 8309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56546" h="8309941">
                  <a:moveTo>
                    <a:pt x="2882" y="3371527"/>
                  </a:moveTo>
                  <a:cubicBezTo>
                    <a:pt x="435081" y="3370874"/>
                    <a:pt x="784365" y="3719446"/>
                    <a:pt x="785018" y="4150918"/>
                  </a:cubicBezTo>
                  <a:cubicBezTo>
                    <a:pt x="785671" y="4583043"/>
                    <a:pt x="436387" y="4934226"/>
                    <a:pt x="3535" y="4934226"/>
                  </a:cubicBezTo>
                  <a:close/>
                  <a:moveTo>
                    <a:pt x="2" y="1695844"/>
                  </a:moveTo>
                  <a:cubicBezTo>
                    <a:pt x="1355444" y="1694538"/>
                    <a:pt x="2460701" y="2796701"/>
                    <a:pt x="2461354" y="4153009"/>
                  </a:cubicBezTo>
                  <a:cubicBezTo>
                    <a:pt x="2462008" y="5507357"/>
                    <a:pt x="1359364" y="6612788"/>
                    <a:pt x="3268" y="6613440"/>
                  </a:cubicBezTo>
                  <a:lnTo>
                    <a:pt x="2615" y="5668729"/>
                  </a:lnTo>
                  <a:cubicBezTo>
                    <a:pt x="839396" y="5668076"/>
                    <a:pt x="1517444" y="4989269"/>
                    <a:pt x="1516791" y="4153663"/>
                  </a:cubicBezTo>
                  <a:cubicBezTo>
                    <a:pt x="1515484" y="3316750"/>
                    <a:pt x="837437" y="2638596"/>
                    <a:pt x="655" y="2639249"/>
                  </a:cubicBezTo>
                  <a:close/>
                  <a:moveTo>
                    <a:pt x="0" y="1"/>
                  </a:moveTo>
                  <a:cubicBezTo>
                    <a:pt x="2290834" y="-1959"/>
                    <a:pt x="4154586" y="1860445"/>
                    <a:pt x="4156545" y="4152031"/>
                  </a:cubicBezTo>
                  <a:cubicBezTo>
                    <a:pt x="4158504" y="6442964"/>
                    <a:pt x="2296712" y="8308634"/>
                    <a:pt x="5877" y="8309941"/>
                  </a:cubicBezTo>
                  <a:lnTo>
                    <a:pt x="4571" y="7365348"/>
                  </a:lnTo>
                  <a:cubicBezTo>
                    <a:pt x="1774939" y="7364041"/>
                    <a:pt x="3214220" y="5922980"/>
                    <a:pt x="3212914" y="4153338"/>
                  </a:cubicBezTo>
                  <a:cubicBezTo>
                    <a:pt x="3210956" y="2381735"/>
                    <a:pt x="1770368" y="941981"/>
                    <a:pt x="0" y="943288"/>
                  </a:cubicBezTo>
                  <a:close/>
                </a:path>
              </a:pathLst>
            </a:custGeom>
            <a:solidFill>
              <a:schemeClr val="accent5">
                <a:lumMod val="50000"/>
              </a:schemeClr>
            </a:solidFill>
            <a:ln>
              <a:noFill/>
            </a:ln>
            <a:effectLst/>
          </p:spPr>
          <p:txBody>
            <a:bodyPr wrap="square" anchor="ctr">
              <a:noAutofit/>
            </a:bodyPr>
            <a:lstStyle/>
            <a:p>
              <a:endParaRPr lang="en-GB" sz="2450" dirty="0">
                <a:latin typeface="Lato Light" panose="020F0502020204030203" pitchFamily="34" charset="0"/>
              </a:endParaRPr>
            </a:p>
          </p:txBody>
        </p:sp>
        <p:sp>
          <p:nvSpPr>
            <p:cNvPr id="77" name="Freeform 5">
              <a:extLst>
                <a:ext uri="{FF2B5EF4-FFF2-40B4-BE49-F238E27FC236}">
                  <a16:creationId xmlns:a16="http://schemas.microsoft.com/office/drawing/2014/main" xmlns="" id="{1DA99D93-D3B8-46CA-8FCD-D053010BF17F}"/>
                </a:ext>
              </a:extLst>
            </p:cNvPr>
            <p:cNvSpPr>
              <a:spLocks noChangeArrowheads="1"/>
            </p:cNvSpPr>
            <p:nvPr/>
          </p:nvSpPr>
          <p:spPr bwMode="auto">
            <a:xfrm>
              <a:off x="4400519" y="2672734"/>
              <a:ext cx="1260844" cy="2518788"/>
            </a:xfrm>
            <a:custGeom>
              <a:avLst/>
              <a:gdLst>
                <a:gd name="connsiteX0" fmla="*/ 4153013 w 4159426"/>
                <a:gd name="connsiteY0" fmla="*/ 3372833 h 8309289"/>
                <a:gd name="connsiteX1" fmla="*/ 4153667 w 4159426"/>
                <a:gd name="connsiteY1" fmla="*/ 4936185 h 8309289"/>
                <a:gd name="connsiteX2" fmla="*/ 3370878 w 4159426"/>
                <a:gd name="connsiteY2" fmla="*/ 4153856 h 8309289"/>
                <a:gd name="connsiteX3" fmla="*/ 4153013 w 4159426"/>
                <a:gd name="connsiteY3" fmla="*/ 3372833 h 8309289"/>
                <a:gd name="connsiteX4" fmla="*/ 4150404 w 4159426"/>
                <a:gd name="connsiteY4" fmla="*/ 1696497 h 8309289"/>
                <a:gd name="connsiteX5" fmla="*/ 4151057 w 4159426"/>
                <a:gd name="connsiteY5" fmla="*/ 2639475 h 8309289"/>
                <a:gd name="connsiteX6" fmla="*/ 2639808 w 4159426"/>
                <a:gd name="connsiteY6" fmla="*/ 4155162 h 8309289"/>
                <a:gd name="connsiteX7" fmla="*/ 4153016 w 4159426"/>
                <a:gd name="connsiteY7" fmla="*/ 5667584 h 8309289"/>
                <a:gd name="connsiteX8" fmla="*/ 4153668 w 4159426"/>
                <a:gd name="connsiteY8" fmla="*/ 6611868 h 8309289"/>
                <a:gd name="connsiteX9" fmla="*/ 1695196 w 4159426"/>
                <a:gd name="connsiteY9" fmla="*/ 4156468 h 8309289"/>
                <a:gd name="connsiteX10" fmla="*/ 4150404 w 4159426"/>
                <a:gd name="connsiteY10" fmla="*/ 1696497 h 8309289"/>
                <a:gd name="connsiteX11" fmla="*/ 4152893 w 4159426"/>
                <a:gd name="connsiteY11" fmla="*/ 0 h 8309289"/>
                <a:gd name="connsiteX12" fmla="*/ 4153546 w 4159426"/>
                <a:gd name="connsiteY12" fmla="*/ 943213 h 8309289"/>
                <a:gd name="connsiteX13" fmla="*/ 944791 w 4159426"/>
                <a:gd name="connsiteY13" fmla="*/ 4157583 h 8309289"/>
                <a:gd name="connsiteX14" fmla="*/ 4158120 w 4159426"/>
                <a:gd name="connsiteY14" fmla="*/ 7364768 h 8309289"/>
                <a:gd name="connsiteX15" fmla="*/ 4159426 w 4159426"/>
                <a:gd name="connsiteY15" fmla="*/ 8309287 h 8309289"/>
                <a:gd name="connsiteX16" fmla="*/ 2 w 4159426"/>
                <a:gd name="connsiteY16" fmla="*/ 4157583 h 8309289"/>
                <a:gd name="connsiteX17" fmla="*/ 4152893 w 4159426"/>
                <a:gd name="connsiteY17" fmla="*/ 0 h 830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159426" h="8309289">
                  <a:moveTo>
                    <a:pt x="4153013" y="3372833"/>
                  </a:moveTo>
                  <a:lnTo>
                    <a:pt x="4153667" y="4936185"/>
                  </a:lnTo>
                  <a:cubicBezTo>
                    <a:pt x="3722414" y="4936185"/>
                    <a:pt x="3370878" y="4586161"/>
                    <a:pt x="3370878" y="4153856"/>
                  </a:cubicBezTo>
                  <a:cubicBezTo>
                    <a:pt x="3370878" y="3722857"/>
                    <a:pt x="3721761" y="3372833"/>
                    <a:pt x="4153013" y="3372833"/>
                  </a:cubicBezTo>
                  <a:close/>
                  <a:moveTo>
                    <a:pt x="4150404" y="1696497"/>
                  </a:moveTo>
                  <a:lnTo>
                    <a:pt x="4151057" y="2639475"/>
                  </a:lnTo>
                  <a:cubicBezTo>
                    <a:pt x="3316116" y="2641434"/>
                    <a:pt x="2639155" y="3319281"/>
                    <a:pt x="2639808" y="4155162"/>
                  </a:cubicBezTo>
                  <a:cubicBezTo>
                    <a:pt x="2639808" y="4990390"/>
                    <a:pt x="3318075" y="5668237"/>
                    <a:pt x="4153016" y="5667584"/>
                  </a:cubicBezTo>
                  <a:lnTo>
                    <a:pt x="4153668" y="6611868"/>
                  </a:lnTo>
                  <a:cubicBezTo>
                    <a:pt x="2799746" y="6612521"/>
                    <a:pt x="1695849" y="5510856"/>
                    <a:pt x="1695196" y="4156468"/>
                  </a:cubicBezTo>
                  <a:cubicBezTo>
                    <a:pt x="1694543" y="2800774"/>
                    <a:pt x="2796482" y="1697803"/>
                    <a:pt x="4150404" y="1696497"/>
                  </a:cubicBezTo>
                  <a:close/>
                  <a:moveTo>
                    <a:pt x="4152893" y="0"/>
                  </a:moveTo>
                  <a:lnTo>
                    <a:pt x="4153546" y="943213"/>
                  </a:lnTo>
                  <a:cubicBezTo>
                    <a:pt x="2383536" y="945173"/>
                    <a:pt x="943485" y="2386120"/>
                    <a:pt x="944791" y="4157583"/>
                  </a:cubicBezTo>
                  <a:cubicBezTo>
                    <a:pt x="946098" y="5926433"/>
                    <a:pt x="2387457" y="7366074"/>
                    <a:pt x="4158120" y="7364768"/>
                  </a:cubicBezTo>
                  <a:lnTo>
                    <a:pt x="4159426" y="8309287"/>
                  </a:lnTo>
                  <a:cubicBezTo>
                    <a:pt x="1868019" y="8311900"/>
                    <a:pt x="1962" y="6448336"/>
                    <a:pt x="2" y="4157583"/>
                  </a:cubicBezTo>
                  <a:cubicBezTo>
                    <a:pt x="-1958" y="1865524"/>
                    <a:pt x="1861485" y="1960"/>
                    <a:pt x="4152893" y="0"/>
                  </a:cubicBezTo>
                  <a:close/>
                </a:path>
              </a:pathLst>
            </a:custGeom>
            <a:solidFill>
              <a:schemeClr val="accent5"/>
            </a:solidFill>
            <a:ln>
              <a:noFill/>
            </a:ln>
            <a:effectLst/>
          </p:spPr>
          <p:txBody>
            <a:bodyPr wrap="square" anchor="ctr">
              <a:noAutofit/>
            </a:bodyPr>
            <a:lstStyle/>
            <a:p>
              <a:endParaRPr lang="en-GB" sz="2450" dirty="0">
                <a:latin typeface="Lato Light" panose="020F0502020204030203" pitchFamily="34" charset="0"/>
              </a:endParaRPr>
            </a:p>
          </p:txBody>
        </p:sp>
        <p:sp>
          <p:nvSpPr>
            <p:cNvPr id="78" name="Freeform 10">
              <a:extLst>
                <a:ext uri="{FF2B5EF4-FFF2-40B4-BE49-F238E27FC236}">
                  <a16:creationId xmlns:a16="http://schemas.microsoft.com/office/drawing/2014/main" xmlns="" id="{C96B7DD1-E668-4C00-BA26-3E1BED15FAA5}"/>
                </a:ext>
              </a:extLst>
            </p:cNvPr>
            <p:cNvSpPr>
              <a:spLocks noChangeArrowheads="1"/>
            </p:cNvSpPr>
            <p:nvPr/>
          </p:nvSpPr>
          <p:spPr bwMode="auto">
            <a:xfrm rot="15300000">
              <a:off x="4829024" y="1953466"/>
              <a:ext cx="724329" cy="601119"/>
            </a:xfrm>
            <a:custGeom>
              <a:avLst/>
              <a:gdLst>
                <a:gd name="T0" fmla="*/ 2567 w 2568"/>
                <a:gd name="T1" fmla="*/ 0 h 2132"/>
                <a:gd name="T2" fmla="*/ 1579 w 2568"/>
                <a:gd name="T3" fmla="*/ 1065 h 2132"/>
                <a:gd name="T4" fmla="*/ 2567 w 2568"/>
                <a:gd name="T5" fmla="*/ 2131 h 2132"/>
                <a:gd name="T6" fmla="*/ 0 w 2568"/>
                <a:gd name="T7" fmla="*/ 1065 h 2132"/>
                <a:gd name="T8" fmla="*/ 2567 w 2568"/>
                <a:gd name="T9" fmla="*/ 0 h 2132"/>
              </a:gdLst>
              <a:ahLst/>
              <a:cxnLst>
                <a:cxn ang="0">
                  <a:pos x="T0" y="T1"/>
                </a:cxn>
                <a:cxn ang="0">
                  <a:pos x="T2" y="T3"/>
                </a:cxn>
                <a:cxn ang="0">
                  <a:pos x="T4" y="T5"/>
                </a:cxn>
                <a:cxn ang="0">
                  <a:pos x="T6" y="T7"/>
                </a:cxn>
                <a:cxn ang="0">
                  <a:pos x="T8" y="T9"/>
                </a:cxn>
              </a:cxnLst>
              <a:rect l="0" t="0" r="r" b="b"/>
              <a:pathLst>
                <a:path w="2568" h="2132">
                  <a:moveTo>
                    <a:pt x="2567" y="0"/>
                  </a:moveTo>
                  <a:lnTo>
                    <a:pt x="1579" y="1065"/>
                  </a:lnTo>
                  <a:lnTo>
                    <a:pt x="2567" y="2131"/>
                  </a:lnTo>
                  <a:lnTo>
                    <a:pt x="0" y="1065"/>
                  </a:lnTo>
                  <a:lnTo>
                    <a:pt x="2567" y="0"/>
                  </a:lnTo>
                </a:path>
              </a:pathLst>
            </a:custGeom>
            <a:solidFill>
              <a:schemeClr val="accent4"/>
            </a:solidFill>
            <a:ln>
              <a:noFill/>
            </a:ln>
            <a:effectLst/>
          </p:spPr>
          <p:txBody>
            <a:bodyPr wrap="none" anchor="ctr"/>
            <a:lstStyle/>
            <a:p>
              <a:endParaRPr lang="en-GB" sz="2450" dirty="0">
                <a:latin typeface="Lato Light" panose="020F0502020204030203" pitchFamily="34" charset="0"/>
              </a:endParaRPr>
            </a:p>
          </p:txBody>
        </p:sp>
        <p:sp>
          <p:nvSpPr>
            <p:cNvPr id="79" name="Freeform 11">
              <a:extLst>
                <a:ext uri="{FF2B5EF4-FFF2-40B4-BE49-F238E27FC236}">
                  <a16:creationId xmlns:a16="http://schemas.microsoft.com/office/drawing/2014/main" xmlns="" id="{351505F3-4A7B-4695-9F1C-6692C5202302}"/>
                </a:ext>
              </a:extLst>
            </p:cNvPr>
            <p:cNvSpPr>
              <a:spLocks noChangeArrowheads="1"/>
            </p:cNvSpPr>
            <p:nvPr/>
          </p:nvSpPr>
          <p:spPr bwMode="auto">
            <a:xfrm rot="15300000">
              <a:off x="4548995" y="2974122"/>
              <a:ext cx="1688622" cy="50705"/>
            </a:xfrm>
            <a:prstGeom prst="roundRect">
              <a:avLst>
                <a:gd name="adj" fmla="val 50000"/>
              </a:avLst>
            </a:pr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80" name="Freeform 14">
              <a:extLst>
                <a:ext uri="{FF2B5EF4-FFF2-40B4-BE49-F238E27FC236}">
                  <a16:creationId xmlns:a16="http://schemas.microsoft.com/office/drawing/2014/main" xmlns="" id="{7C3B8983-4098-4B0E-922C-901447F08367}"/>
                </a:ext>
              </a:extLst>
            </p:cNvPr>
            <p:cNvSpPr>
              <a:spLocks noChangeArrowheads="1"/>
            </p:cNvSpPr>
            <p:nvPr/>
          </p:nvSpPr>
          <p:spPr bwMode="auto">
            <a:xfrm rot="17100000">
              <a:off x="4835921" y="5309425"/>
              <a:ext cx="724329" cy="601119"/>
            </a:xfrm>
            <a:custGeom>
              <a:avLst/>
              <a:gdLst>
                <a:gd name="T0" fmla="*/ 0 w 2568"/>
                <a:gd name="T1" fmla="*/ 0 h 2132"/>
                <a:gd name="T2" fmla="*/ 988 w 2568"/>
                <a:gd name="T3" fmla="*/ 1065 h 2132"/>
                <a:gd name="T4" fmla="*/ 0 w 2568"/>
                <a:gd name="T5" fmla="*/ 2131 h 2132"/>
                <a:gd name="T6" fmla="*/ 2567 w 2568"/>
                <a:gd name="T7" fmla="*/ 1065 h 2132"/>
                <a:gd name="T8" fmla="*/ 0 w 2568"/>
                <a:gd name="T9" fmla="*/ 0 h 2132"/>
              </a:gdLst>
              <a:ahLst/>
              <a:cxnLst>
                <a:cxn ang="0">
                  <a:pos x="T0" y="T1"/>
                </a:cxn>
                <a:cxn ang="0">
                  <a:pos x="T2" y="T3"/>
                </a:cxn>
                <a:cxn ang="0">
                  <a:pos x="T4" y="T5"/>
                </a:cxn>
                <a:cxn ang="0">
                  <a:pos x="T6" y="T7"/>
                </a:cxn>
                <a:cxn ang="0">
                  <a:pos x="T8" y="T9"/>
                </a:cxn>
              </a:cxnLst>
              <a:rect l="0" t="0" r="r" b="b"/>
              <a:pathLst>
                <a:path w="2568" h="2132">
                  <a:moveTo>
                    <a:pt x="0" y="0"/>
                  </a:moveTo>
                  <a:lnTo>
                    <a:pt x="988" y="1065"/>
                  </a:lnTo>
                  <a:lnTo>
                    <a:pt x="0" y="2131"/>
                  </a:lnTo>
                  <a:lnTo>
                    <a:pt x="2567" y="1065"/>
                  </a:lnTo>
                  <a:lnTo>
                    <a:pt x="0" y="0"/>
                  </a:lnTo>
                </a:path>
              </a:pathLst>
            </a:custGeom>
            <a:solidFill>
              <a:schemeClr val="accent1"/>
            </a:solidFill>
            <a:ln>
              <a:noFill/>
            </a:ln>
            <a:effectLst/>
          </p:spPr>
          <p:txBody>
            <a:bodyPr wrap="none" anchor="ctr"/>
            <a:lstStyle/>
            <a:p>
              <a:endParaRPr lang="en-GB" sz="2450" dirty="0">
                <a:latin typeface="Lato Light" panose="020F0502020204030203" pitchFamily="34" charset="0"/>
              </a:endParaRPr>
            </a:p>
          </p:txBody>
        </p:sp>
        <p:sp>
          <p:nvSpPr>
            <p:cNvPr id="81" name="Freeform 11">
              <a:extLst>
                <a:ext uri="{FF2B5EF4-FFF2-40B4-BE49-F238E27FC236}">
                  <a16:creationId xmlns:a16="http://schemas.microsoft.com/office/drawing/2014/main" xmlns="" id="{462D5512-D0C7-419C-A16F-47C2D12BBBE2}"/>
                </a:ext>
              </a:extLst>
            </p:cNvPr>
            <p:cNvSpPr>
              <a:spLocks noChangeArrowheads="1"/>
            </p:cNvSpPr>
            <p:nvPr/>
          </p:nvSpPr>
          <p:spPr bwMode="auto">
            <a:xfrm rot="17100000">
              <a:off x="4550783" y="4836474"/>
              <a:ext cx="1691166" cy="50705"/>
            </a:xfrm>
            <a:prstGeom prst="roundRect">
              <a:avLst>
                <a:gd name="adj" fmla="val 50000"/>
              </a:avLst>
            </a:pr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82" name="Freeform 8">
              <a:extLst>
                <a:ext uri="{FF2B5EF4-FFF2-40B4-BE49-F238E27FC236}">
                  <a16:creationId xmlns:a16="http://schemas.microsoft.com/office/drawing/2014/main" xmlns="" id="{C14267C7-2776-4395-AF09-F7EB12396F8F}"/>
                </a:ext>
              </a:extLst>
            </p:cNvPr>
            <p:cNvSpPr>
              <a:spLocks noChangeArrowheads="1"/>
            </p:cNvSpPr>
            <p:nvPr/>
          </p:nvSpPr>
          <p:spPr bwMode="auto">
            <a:xfrm rot="15300000">
              <a:off x="3649227" y="2631885"/>
              <a:ext cx="725574" cy="725573"/>
            </a:xfrm>
            <a:custGeom>
              <a:avLst/>
              <a:gdLst>
                <a:gd name="T0" fmla="*/ 1062 w 2570"/>
                <a:gd name="T1" fmla="*/ 0 h 2570"/>
                <a:gd name="T2" fmla="*/ 1117 w 2570"/>
                <a:gd name="T3" fmla="*/ 1451 h 2570"/>
                <a:gd name="T4" fmla="*/ 2569 w 2570"/>
                <a:gd name="T5" fmla="*/ 1507 h 2570"/>
                <a:gd name="T6" fmla="*/ 0 w 2570"/>
                <a:gd name="T7" fmla="*/ 2569 h 2570"/>
                <a:gd name="T8" fmla="*/ 1062 w 2570"/>
                <a:gd name="T9" fmla="*/ 0 h 2570"/>
              </a:gdLst>
              <a:ahLst/>
              <a:cxnLst>
                <a:cxn ang="0">
                  <a:pos x="T0" y="T1"/>
                </a:cxn>
                <a:cxn ang="0">
                  <a:pos x="T2" y="T3"/>
                </a:cxn>
                <a:cxn ang="0">
                  <a:pos x="T4" y="T5"/>
                </a:cxn>
                <a:cxn ang="0">
                  <a:pos x="T6" y="T7"/>
                </a:cxn>
                <a:cxn ang="0">
                  <a:pos x="T8" y="T9"/>
                </a:cxn>
              </a:cxnLst>
              <a:rect l="0" t="0" r="r" b="b"/>
              <a:pathLst>
                <a:path w="2570" h="2570">
                  <a:moveTo>
                    <a:pt x="1062" y="0"/>
                  </a:moveTo>
                  <a:lnTo>
                    <a:pt x="1117" y="1451"/>
                  </a:lnTo>
                  <a:lnTo>
                    <a:pt x="2569" y="1507"/>
                  </a:lnTo>
                  <a:lnTo>
                    <a:pt x="0" y="2569"/>
                  </a:lnTo>
                  <a:lnTo>
                    <a:pt x="1062" y="0"/>
                  </a:lnTo>
                </a:path>
              </a:pathLst>
            </a:custGeom>
            <a:solidFill>
              <a:schemeClr val="accent3"/>
            </a:solidFill>
            <a:ln>
              <a:noFill/>
            </a:ln>
            <a:effectLst/>
          </p:spPr>
          <p:txBody>
            <a:bodyPr wrap="none" anchor="ctr"/>
            <a:lstStyle/>
            <a:p>
              <a:endParaRPr lang="en-GB" sz="2450" dirty="0">
                <a:latin typeface="Lato Light" panose="020F0502020204030203" pitchFamily="34" charset="0"/>
              </a:endParaRPr>
            </a:p>
          </p:txBody>
        </p:sp>
        <p:sp>
          <p:nvSpPr>
            <p:cNvPr id="83" name="Freeform 11">
              <a:extLst>
                <a:ext uri="{FF2B5EF4-FFF2-40B4-BE49-F238E27FC236}">
                  <a16:creationId xmlns:a16="http://schemas.microsoft.com/office/drawing/2014/main" xmlns="" id="{3C8FC970-7FFB-4609-B78F-F3A132598919}"/>
                </a:ext>
              </a:extLst>
            </p:cNvPr>
            <p:cNvSpPr>
              <a:spLocks noChangeArrowheads="1"/>
            </p:cNvSpPr>
            <p:nvPr/>
          </p:nvSpPr>
          <p:spPr bwMode="auto">
            <a:xfrm rot="12600000">
              <a:off x="3963436" y="3432908"/>
              <a:ext cx="1688622" cy="50705"/>
            </a:xfrm>
            <a:prstGeom prst="roundRect">
              <a:avLst>
                <a:gd name="adj" fmla="val 50000"/>
              </a:avLst>
            </a:pr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84" name="Freeform 12">
              <a:extLst>
                <a:ext uri="{FF2B5EF4-FFF2-40B4-BE49-F238E27FC236}">
                  <a16:creationId xmlns:a16="http://schemas.microsoft.com/office/drawing/2014/main" xmlns="" id="{5B2C808A-9914-4E5D-A93D-D1C1E2F9BD28}"/>
                </a:ext>
              </a:extLst>
            </p:cNvPr>
            <p:cNvSpPr>
              <a:spLocks noChangeArrowheads="1"/>
            </p:cNvSpPr>
            <p:nvPr/>
          </p:nvSpPr>
          <p:spPr bwMode="auto">
            <a:xfrm rot="17100000">
              <a:off x="3649228" y="4498864"/>
              <a:ext cx="725573" cy="725573"/>
            </a:xfrm>
            <a:custGeom>
              <a:avLst/>
              <a:gdLst>
                <a:gd name="T0" fmla="*/ 1507 w 2570"/>
                <a:gd name="T1" fmla="*/ 0 h 2570"/>
                <a:gd name="T2" fmla="*/ 1452 w 2570"/>
                <a:gd name="T3" fmla="*/ 1451 h 2570"/>
                <a:gd name="T4" fmla="*/ 0 w 2570"/>
                <a:gd name="T5" fmla="*/ 1507 h 2570"/>
                <a:gd name="T6" fmla="*/ 2569 w 2570"/>
                <a:gd name="T7" fmla="*/ 2569 h 2570"/>
                <a:gd name="T8" fmla="*/ 1507 w 2570"/>
                <a:gd name="T9" fmla="*/ 0 h 2570"/>
              </a:gdLst>
              <a:ahLst/>
              <a:cxnLst>
                <a:cxn ang="0">
                  <a:pos x="T0" y="T1"/>
                </a:cxn>
                <a:cxn ang="0">
                  <a:pos x="T2" y="T3"/>
                </a:cxn>
                <a:cxn ang="0">
                  <a:pos x="T4" y="T5"/>
                </a:cxn>
                <a:cxn ang="0">
                  <a:pos x="T6" y="T7"/>
                </a:cxn>
                <a:cxn ang="0">
                  <a:pos x="T8" y="T9"/>
                </a:cxn>
              </a:cxnLst>
              <a:rect l="0" t="0" r="r" b="b"/>
              <a:pathLst>
                <a:path w="2570" h="2570">
                  <a:moveTo>
                    <a:pt x="1507" y="0"/>
                  </a:moveTo>
                  <a:lnTo>
                    <a:pt x="1452" y="1451"/>
                  </a:lnTo>
                  <a:lnTo>
                    <a:pt x="0" y="1507"/>
                  </a:lnTo>
                  <a:lnTo>
                    <a:pt x="2569" y="2569"/>
                  </a:lnTo>
                  <a:lnTo>
                    <a:pt x="1507" y="0"/>
                  </a:lnTo>
                </a:path>
              </a:pathLst>
            </a:custGeom>
            <a:solidFill>
              <a:schemeClr val="accent2"/>
            </a:solidFill>
            <a:ln>
              <a:noFill/>
            </a:ln>
            <a:effectLst/>
          </p:spPr>
          <p:txBody>
            <a:bodyPr wrap="none" anchor="ctr"/>
            <a:lstStyle/>
            <a:p>
              <a:endParaRPr lang="en-GB" sz="2450" dirty="0">
                <a:latin typeface="Lato Light" panose="020F0502020204030203" pitchFamily="34" charset="0"/>
              </a:endParaRPr>
            </a:p>
          </p:txBody>
        </p:sp>
        <p:sp>
          <p:nvSpPr>
            <p:cNvPr id="85" name="Freeform 11">
              <a:extLst>
                <a:ext uri="{FF2B5EF4-FFF2-40B4-BE49-F238E27FC236}">
                  <a16:creationId xmlns:a16="http://schemas.microsoft.com/office/drawing/2014/main" xmlns="" id="{4D3A249E-51F8-42C9-92CD-1DA9C1B90BEB}"/>
                </a:ext>
              </a:extLst>
            </p:cNvPr>
            <p:cNvSpPr>
              <a:spLocks noChangeArrowheads="1"/>
            </p:cNvSpPr>
            <p:nvPr/>
          </p:nvSpPr>
          <p:spPr bwMode="auto">
            <a:xfrm rot="19800000">
              <a:off x="3962824" y="4374993"/>
              <a:ext cx="1688622" cy="50705"/>
            </a:xfrm>
            <a:prstGeom prst="roundRect">
              <a:avLst>
                <a:gd name="adj" fmla="val 50000"/>
              </a:avLst>
            </a:prstGeom>
            <a:solidFill>
              <a:schemeClr val="bg1">
                <a:lumMod val="85000"/>
              </a:schemeClr>
            </a:solidFill>
            <a:ln>
              <a:noFill/>
            </a:ln>
            <a:effectLst/>
          </p:spPr>
          <p:txBody>
            <a:bodyPr wrap="none" anchor="ctr"/>
            <a:lstStyle/>
            <a:p>
              <a:endParaRPr lang="en-GB" sz="2450" dirty="0">
                <a:latin typeface="Lato Light" panose="020F0502020204030203" pitchFamily="34" charset="0"/>
              </a:endParaRPr>
            </a:p>
          </p:txBody>
        </p:sp>
        <p:sp>
          <p:nvSpPr>
            <p:cNvPr id="87" name="Subtitle 2">
              <a:extLst>
                <a:ext uri="{FF2B5EF4-FFF2-40B4-BE49-F238E27FC236}">
                  <a16:creationId xmlns:a16="http://schemas.microsoft.com/office/drawing/2014/main" xmlns="" id="{1955CF9E-FD5C-4C23-B247-29FEC98B6DA0}"/>
                </a:ext>
              </a:extLst>
            </p:cNvPr>
            <p:cNvSpPr txBox="1">
              <a:spLocks/>
            </p:cNvSpPr>
            <p:nvPr/>
          </p:nvSpPr>
          <p:spPr>
            <a:xfrm>
              <a:off x="8133534" y="4821844"/>
              <a:ext cx="4722366" cy="118981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Cooperate with local, state and                           federal authorities to return to “normal” quickly</a:t>
              </a:r>
            </a:p>
          </p:txBody>
        </p:sp>
        <p:sp>
          <p:nvSpPr>
            <p:cNvPr id="89" name="Subtitle 2">
              <a:extLst>
                <a:ext uri="{FF2B5EF4-FFF2-40B4-BE49-F238E27FC236}">
                  <a16:creationId xmlns:a16="http://schemas.microsoft.com/office/drawing/2014/main" xmlns="" id="{2A4FCD63-71CD-4BA1-8FBC-3D9CA786125A}"/>
                </a:ext>
              </a:extLst>
            </p:cNvPr>
            <p:cNvSpPr txBox="1">
              <a:spLocks/>
            </p:cNvSpPr>
            <p:nvPr/>
          </p:nvSpPr>
          <p:spPr>
            <a:xfrm>
              <a:off x="8119906" y="2268418"/>
              <a:ext cx="4402551" cy="82569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Prevent loss of employee confidence and morale</a:t>
              </a:r>
            </a:p>
          </p:txBody>
        </p:sp>
        <p:sp>
          <p:nvSpPr>
            <p:cNvPr id="91" name="Subtitle 2">
              <a:extLst>
                <a:ext uri="{FF2B5EF4-FFF2-40B4-BE49-F238E27FC236}">
                  <a16:creationId xmlns:a16="http://schemas.microsoft.com/office/drawing/2014/main" xmlns="" id="{AF1514E8-462A-44B0-BBD4-AF18F052504B}"/>
                </a:ext>
              </a:extLst>
            </p:cNvPr>
            <p:cNvSpPr txBox="1">
              <a:spLocks/>
            </p:cNvSpPr>
            <p:nvPr/>
          </p:nvSpPr>
          <p:spPr>
            <a:xfrm>
              <a:off x="8081638" y="3107927"/>
              <a:ext cx="4100075" cy="82569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Maintain or restore operations quickly</a:t>
              </a:r>
            </a:p>
          </p:txBody>
        </p:sp>
        <p:sp>
          <p:nvSpPr>
            <p:cNvPr id="93" name="Subtitle 2">
              <a:extLst>
                <a:ext uri="{FF2B5EF4-FFF2-40B4-BE49-F238E27FC236}">
                  <a16:creationId xmlns:a16="http://schemas.microsoft.com/office/drawing/2014/main" xmlns="" id="{CCE287AF-7D90-4BC9-AC57-982A9A415392}"/>
                </a:ext>
              </a:extLst>
            </p:cNvPr>
            <p:cNvSpPr txBox="1">
              <a:spLocks/>
            </p:cNvSpPr>
            <p:nvPr/>
          </p:nvSpPr>
          <p:spPr>
            <a:xfrm>
              <a:off x="8089150" y="3965022"/>
              <a:ext cx="4100075" cy="82569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Restore customer, vendor confidence</a:t>
              </a:r>
            </a:p>
          </p:txBody>
        </p:sp>
      </p:grpSp>
      <p:sp>
        <p:nvSpPr>
          <p:cNvPr id="35" name="TextBox 34">
            <a:extLst>
              <a:ext uri="{FF2B5EF4-FFF2-40B4-BE49-F238E27FC236}">
                <a16:creationId xmlns:a16="http://schemas.microsoft.com/office/drawing/2014/main" xmlns="" id="{AD50223C-703C-4CCA-83D0-BA1B5B9A2E12}"/>
              </a:ext>
            </a:extLst>
          </p:cNvPr>
          <p:cNvSpPr txBox="1"/>
          <p:nvPr/>
        </p:nvSpPr>
        <p:spPr>
          <a:xfrm>
            <a:off x="3282142" y="1807100"/>
            <a:ext cx="8359580" cy="461665"/>
          </a:xfrm>
          <a:prstGeom prst="rect">
            <a:avLst/>
          </a:prstGeom>
          <a:noFill/>
        </p:spPr>
        <p:txBody>
          <a:bodyPr wrap="square">
            <a:spAutoFit/>
          </a:bodyPr>
          <a:lstStyle/>
          <a:p>
            <a:pPr algn="l">
              <a:lnSpc>
                <a:spcPct val="100000"/>
              </a:lnSpc>
              <a:spcBef>
                <a:spcPts val="600"/>
              </a:spcBef>
            </a:pPr>
            <a:r>
              <a:rPr lang="en-GB" sz="2400" dirty="0">
                <a:solidFill>
                  <a:srgbClr val="245473"/>
                </a:solidFill>
                <a:latin typeface="+mj-lt"/>
                <a:sym typeface="Wingdings" panose="05000000000000000000" pitchFamily="2" charset="2"/>
              </a:rPr>
              <a:t>Business Crisis Communication has the following major objectives</a:t>
            </a:r>
            <a:r>
              <a:rPr lang="en-GB" sz="2000" dirty="0">
                <a:solidFill>
                  <a:srgbClr val="245473"/>
                </a:solidFill>
                <a:latin typeface="+mj-lt"/>
                <a:sym typeface="Wingdings" panose="05000000000000000000" pitchFamily="2" charset="2"/>
              </a:rPr>
              <a:t>:</a:t>
            </a:r>
          </a:p>
        </p:txBody>
      </p:sp>
    </p:spTree>
    <p:extLst>
      <p:ext uri="{BB962C8B-B14F-4D97-AF65-F5344CB8AC3E}">
        <p14:creationId xmlns:p14="http://schemas.microsoft.com/office/powerpoint/2010/main" val="35538163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27252" y="493978"/>
            <a:ext cx="8852375" cy="697353"/>
          </a:xfrm>
        </p:spPr>
        <p:txBody>
          <a:bodyPr>
            <a:normAutofit fontScale="92500"/>
          </a:bodyPr>
          <a:lstStyle/>
          <a:p>
            <a:r>
              <a:rPr lang="en-GB"/>
              <a:t>Basic rules of communication </a:t>
            </a:r>
            <a:r>
              <a:rPr lang="en-GB" u="sng"/>
              <a:t>DURING</a:t>
            </a:r>
            <a:r>
              <a:rPr lang="en-GB"/>
              <a:t> the crisis</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10453" y="2115607"/>
            <a:ext cx="3607003" cy="369875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latin typeface="+mj-lt"/>
              </a:rPr>
              <a:t>During the crisis, first and foremost one important basic rule applies for communication to stakeholders: </a:t>
            </a:r>
          </a:p>
          <a:p>
            <a:pPr marL="285750" indent="-285750" algn="l">
              <a:lnSpc>
                <a:spcPct val="100000"/>
              </a:lnSpc>
              <a:spcBef>
                <a:spcPts val="600"/>
              </a:spcBef>
              <a:buFont typeface="Wingdings" panose="05000000000000000000" pitchFamily="2" charset="2"/>
              <a:buChar char="à"/>
            </a:pPr>
            <a:r>
              <a:rPr lang="en-GB" altLang="de-DE" sz="2000" b="1" dirty="0">
                <a:latin typeface="+mj-lt"/>
              </a:rPr>
              <a:t>Communicate openly, transparently and regularly</a:t>
            </a:r>
          </a:p>
          <a:p>
            <a:pPr marL="285750" indent="-285750" algn="l">
              <a:lnSpc>
                <a:spcPct val="100000"/>
              </a:lnSpc>
              <a:spcBef>
                <a:spcPts val="600"/>
              </a:spcBef>
              <a:buFont typeface="Wingdings" panose="05000000000000000000" pitchFamily="2" charset="2"/>
              <a:buChar char="à"/>
            </a:pPr>
            <a:r>
              <a:rPr lang="en-GB" altLang="de-DE" sz="2000" dirty="0">
                <a:latin typeface="+mj-lt"/>
              </a:rPr>
              <a:t>First and foremost, it is a matter of maintaining or restoring trust</a:t>
            </a:r>
          </a:p>
          <a:p>
            <a:pPr marL="285750" indent="-285750" algn="l">
              <a:lnSpc>
                <a:spcPct val="100000"/>
              </a:lnSpc>
              <a:spcBef>
                <a:spcPts val="600"/>
              </a:spcBef>
              <a:buFont typeface="Wingdings" panose="05000000000000000000" pitchFamily="2" charset="2"/>
              <a:buChar char="à"/>
            </a:pPr>
            <a:r>
              <a:rPr lang="en-GB" altLang="de-DE" sz="2000" dirty="0">
                <a:latin typeface="+mj-lt"/>
              </a:rPr>
              <a:t>Honesty is the absolute prerequisite for this.</a:t>
            </a:r>
            <a:endParaRPr lang="en-GB" sz="2000" dirty="0">
              <a:latin typeface="+mj-lt"/>
              <a:sym typeface="Wingdings" panose="05000000000000000000" pitchFamily="2" charset="2"/>
            </a:endParaRPr>
          </a:p>
        </p:txBody>
      </p:sp>
      <p:sp>
        <p:nvSpPr>
          <p:cNvPr id="28" name="Freeform 1">
            <a:extLst>
              <a:ext uri="{FF2B5EF4-FFF2-40B4-BE49-F238E27FC236}">
                <a16:creationId xmlns:a16="http://schemas.microsoft.com/office/drawing/2014/main" xmlns="" id="{E34A739C-64E7-48A2-A963-E431EB9F84A4}"/>
              </a:ext>
            </a:extLst>
          </p:cNvPr>
          <p:cNvSpPr>
            <a:spLocks noChangeArrowheads="1"/>
          </p:cNvSpPr>
          <p:nvPr/>
        </p:nvSpPr>
        <p:spPr bwMode="auto">
          <a:xfrm>
            <a:off x="6515268" y="2486498"/>
            <a:ext cx="2770935" cy="2770936"/>
          </a:xfrm>
          <a:custGeom>
            <a:avLst/>
            <a:gdLst>
              <a:gd name="T0" fmla="*/ 6527 w 13056"/>
              <a:gd name="T1" fmla="*/ 886 h 13057"/>
              <a:gd name="T2" fmla="*/ 6527 w 13056"/>
              <a:gd name="T3" fmla="*/ 886 h 13057"/>
              <a:gd name="T4" fmla="*/ 887 w 13056"/>
              <a:gd name="T5" fmla="*/ 6528 h 13057"/>
              <a:gd name="T6" fmla="*/ 887 w 13056"/>
              <a:gd name="T7" fmla="*/ 6528 h 13057"/>
              <a:gd name="T8" fmla="*/ 6527 w 13056"/>
              <a:gd name="T9" fmla="*/ 12169 h 13057"/>
              <a:gd name="T10" fmla="*/ 6527 w 13056"/>
              <a:gd name="T11" fmla="*/ 12169 h 13057"/>
              <a:gd name="T12" fmla="*/ 12169 w 13056"/>
              <a:gd name="T13" fmla="*/ 6528 h 13057"/>
              <a:gd name="T14" fmla="*/ 12169 w 13056"/>
              <a:gd name="T15" fmla="*/ 6528 h 13057"/>
              <a:gd name="T16" fmla="*/ 6527 w 13056"/>
              <a:gd name="T17" fmla="*/ 886 h 13057"/>
              <a:gd name="T18" fmla="*/ 6527 w 13056"/>
              <a:gd name="T19" fmla="*/ 13056 h 13057"/>
              <a:gd name="T20" fmla="*/ 6527 w 13056"/>
              <a:gd name="T21" fmla="*/ 13056 h 13057"/>
              <a:gd name="T22" fmla="*/ 0 w 13056"/>
              <a:gd name="T23" fmla="*/ 6528 h 13057"/>
              <a:gd name="T24" fmla="*/ 0 w 13056"/>
              <a:gd name="T25" fmla="*/ 6528 h 13057"/>
              <a:gd name="T26" fmla="*/ 6527 w 13056"/>
              <a:gd name="T27" fmla="*/ 0 h 13057"/>
              <a:gd name="T28" fmla="*/ 6527 w 13056"/>
              <a:gd name="T29" fmla="*/ 0 h 13057"/>
              <a:gd name="T30" fmla="*/ 13055 w 13056"/>
              <a:gd name="T31" fmla="*/ 6528 h 13057"/>
              <a:gd name="T32" fmla="*/ 13055 w 13056"/>
              <a:gd name="T33" fmla="*/ 6528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6"/>
                </a:moveTo>
                <a:lnTo>
                  <a:pt x="6527" y="886"/>
                </a:lnTo>
                <a:cubicBezTo>
                  <a:pt x="3417" y="886"/>
                  <a:pt x="887" y="3417"/>
                  <a:pt x="887" y="6528"/>
                </a:cubicBezTo>
                <a:lnTo>
                  <a:pt x="887" y="6528"/>
                </a:lnTo>
                <a:cubicBezTo>
                  <a:pt x="887" y="9638"/>
                  <a:pt x="3417" y="12169"/>
                  <a:pt x="6527" y="12169"/>
                </a:cubicBezTo>
                <a:lnTo>
                  <a:pt x="6527" y="12169"/>
                </a:lnTo>
                <a:cubicBezTo>
                  <a:pt x="9638" y="12169"/>
                  <a:pt x="12169" y="9638"/>
                  <a:pt x="12169" y="6528"/>
                </a:cubicBezTo>
                <a:lnTo>
                  <a:pt x="12169" y="6528"/>
                </a:lnTo>
                <a:cubicBezTo>
                  <a:pt x="12169" y="3417"/>
                  <a:pt x="9638" y="886"/>
                  <a:pt x="6527" y="886"/>
                </a:cubicBezTo>
                <a:close/>
                <a:moveTo>
                  <a:pt x="6527" y="13056"/>
                </a:moveTo>
                <a:lnTo>
                  <a:pt x="6527" y="13056"/>
                </a:lnTo>
                <a:cubicBezTo>
                  <a:pt x="2929" y="13056"/>
                  <a:pt x="0" y="10127"/>
                  <a:pt x="0" y="6528"/>
                </a:cubicBezTo>
                <a:lnTo>
                  <a:pt x="0" y="6528"/>
                </a:lnTo>
                <a:cubicBezTo>
                  <a:pt x="0" y="2929"/>
                  <a:pt x="2929" y="0"/>
                  <a:pt x="6527" y="0"/>
                </a:cubicBezTo>
                <a:lnTo>
                  <a:pt x="6527" y="0"/>
                </a:lnTo>
                <a:cubicBezTo>
                  <a:pt x="10126" y="0"/>
                  <a:pt x="13055" y="2929"/>
                  <a:pt x="13055" y="6528"/>
                </a:cubicBezTo>
                <a:lnTo>
                  <a:pt x="13055" y="6528"/>
                </a:lnTo>
                <a:cubicBezTo>
                  <a:pt x="13055" y="10127"/>
                  <a:pt x="10126" y="13056"/>
                  <a:pt x="6527" y="13056"/>
                </a:cubicBezTo>
                <a:close/>
              </a:path>
            </a:pathLst>
          </a:custGeom>
          <a:solidFill>
            <a:schemeClr val="accent1">
              <a:alpha val="75000"/>
            </a:schemeClr>
          </a:solidFill>
          <a:ln>
            <a:noFill/>
          </a:ln>
          <a:effectLst/>
        </p:spPr>
        <p:txBody>
          <a:bodyPr wrap="none" anchor="ctr"/>
          <a:lstStyle/>
          <a:p>
            <a:endParaRPr lang="en-GB" sz="1400" dirty="0">
              <a:latin typeface="+mj-lt"/>
            </a:endParaRPr>
          </a:p>
        </p:txBody>
      </p:sp>
      <p:sp>
        <p:nvSpPr>
          <p:cNvPr id="29" name="Freeform 3">
            <a:extLst>
              <a:ext uri="{FF2B5EF4-FFF2-40B4-BE49-F238E27FC236}">
                <a16:creationId xmlns:a16="http://schemas.microsoft.com/office/drawing/2014/main" xmlns="" id="{E3822690-4A63-4DF5-809E-E667B403460B}"/>
              </a:ext>
            </a:extLst>
          </p:cNvPr>
          <p:cNvSpPr>
            <a:spLocks noChangeArrowheads="1"/>
          </p:cNvSpPr>
          <p:nvPr/>
        </p:nvSpPr>
        <p:spPr bwMode="auto">
          <a:xfrm>
            <a:off x="6457248" y="2535161"/>
            <a:ext cx="2770935" cy="2770936"/>
          </a:xfrm>
          <a:custGeom>
            <a:avLst/>
            <a:gdLst>
              <a:gd name="T0" fmla="*/ 6527 w 13056"/>
              <a:gd name="T1" fmla="*/ 887 h 13057"/>
              <a:gd name="T2" fmla="*/ 6527 w 13056"/>
              <a:gd name="T3" fmla="*/ 887 h 13057"/>
              <a:gd name="T4" fmla="*/ 887 w 13056"/>
              <a:gd name="T5" fmla="*/ 6529 h 13057"/>
              <a:gd name="T6" fmla="*/ 887 w 13056"/>
              <a:gd name="T7" fmla="*/ 6529 h 13057"/>
              <a:gd name="T8" fmla="*/ 6527 w 13056"/>
              <a:gd name="T9" fmla="*/ 12170 h 13057"/>
              <a:gd name="T10" fmla="*/ 6527 w 13056"/>
              <a:gd name="T11" fmla="*/ 12170 h 13057"/>
              <a:gd name="T12" fmla="*/ 12169 w 13056"/>
              <a:gd name="T13" fmla="*/ 6529 h 13057"/>
              <a:gd name="T14" fmla="*/ 12169 w 13056"/>
              <a:gd name="T15" fmla="*/ 6529 h 13057"/>
              <a:gd name="T16" fmla="*/ 6527 w 13056"/>
              <a:gd name="T17" fmla="*/ 887 h 13057"/>
              <a:gd name="T18" fmla="*/ 6527 w 13056"/>
              <a:gd name="T19" fmla="*/ 13056 h 13057"/>
              <a:gd name="T20" fmla="*/ 6527 w 13056"/>
              <a:gd name="T21" fmla="*/ 13056 h 13057"/>
              <a:gd name="T22" fmla="*/ 0 w 13056"/>
              <a:gd name="T23" fmla="*/ 6529 h 13057"/>
              <a:gd name="T24" fmla="*/ 0 w 13056"/>
              <a:gd name="T25" fmla="*/ 6529 h 13057"/>
              <a:gd name="T26" fmla="*/ 6527 w 13056"/>
              <a:gd name="T27" fmla="*/ 0 h 13057"/>
              <a:gd name="T28" fmla="*/ 6527 w 13056"/>
              <a:gd name="T29" fmla="*/ 0 h 13057"/>
              <a:gd name="T30" fmla="*/ 13055 w 13056"/>
              <a:gd name="T31" fmla="*/ 6529 h 13057"/>
              <a:gd name="T32" fmla="*/ 13055 w 13056"/>
              <a:gd name="T33" fmla="*/ 6529 h 13057"/>
              <a:gd name="T34" fmla="*/ 6527 w 13056"/>
              <a:gd name="T35" fmla="*/ 13056 h 13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7">
                <a:moveTo>
                  <a:pt x="6527" y="887"/>
                </a:moveTo>
                <a:lnTo>
                  <a:pt x="6527" y="887"/>
                </a:lnTo>
                <a:cubicBezTo>
                  <a:pt x="3417" y="887"/>
                  <a:pt x="887" y="3418"/>
                  <a:pt x="887" y="6529"/>
                </a:cubicBezTo>
                <a:lnTo>
                  <a:pt x="887" y="6529"/>
                </a:lnTo>
                <a:cubicBezTo>
                  <a:pt x="887" y="9639"/>
                  <a:pt x="3417" y="12170"/>
                  <a:pt x="6527" y="12170"/>
                </a:cubicBezTo>
                <a:lnTo>
                  <a:pt x="6527" y="12170"/>
                </a:lnTo>
                <a:cubicBezTo>
                  <a:pt x="9638" y="12170"/>
                  <a:pt x="12169" y="9639"/>
                  <a:pt x="12169" y="6529"/>
                </a:cubicBezTo>
                <a:lnTo>
                  <a:pt x="12169" y="6529"/>
                </a:lnTo>
                <a:cubicBezTo>
                  <a:pt x="12169" y="3418"/>
                  <a:pt x="9638" y="887"/>
                  <a:pt x="6527" y="887"/>
                </a:cubicBezTo>
                <a:close/>
                <a:moveTo>
                  <a:pt x="6527" y="13056"/>
                </a:moveTo>
                <a:lnTo>
                  <a:pt x="6527" y="13056"/>
                </a:lnTo>
                <a:cubicBezTo>
                  <a:pt x="2929" y="13056"/>
                  <a:pt x="0" y="10127"/>
                  <a:pt x="0" y="6529"/>
                </a:cubicBezTo>
                <a:lnTo>
                  <a:pt x="0" y="6529"/>
                </a:lnTo>
                <a:cubicBezTo>
                  <a:pt x="0" y="2929"/>
                  <a:pt x="2929" y="0"/>
                  <a:pt x="6527" y="0"/>
                </a:cubicBezTo>
                <a:lnTo>
                  <a:pt x="6527" y="0"/>
                </a:lnTo>
                <a:cubicBezTo>
                  <a:pt x="10126" y="0"/>
                  <a:pt x="13055" y="2929"/>
                  <a:pt x="13055" y="6529"/>
                </a:cubicBezTo>
                <a:lnTo>
                  <a:pt x="13055" y="6529"/>
                </a:lnTo>
                <a:cubicBezTo>
                  <a:pt x="13055" y="10127"/>
                  <a:pt x="10126" y="13056"/>
                  <a:pt x="6527" y="13056"/>
                </a:cubicBezTo>
                <a:close/>
              </a:path>
            </a:pathLst>
          </a:custGeom>
          <a:solidFill>
            <a:schemeClr val="accent3">
              <a:alpha val="75000"/>
            </a:schemeClr>
          </a:solidFill>
          <a:ln>
            <a:noFill/>
          </a:ln>
          <a:effectLst/>
        </p:spPr>
        <p:txBody>
          <a:bodyPr wrap="none" anchor="ctr"/>
          <a:lstStyle/>
          <a:p>
            <a:endParaRPr lang="en-GB" sz="1400" dirty="0">
              <a:latin typeface="+mj-lt"/>
            </a:endParaRPr>
          </a:p>
        </p:txBody>
      </p:sp>
      <p:sp>
        <p:nvSpPr>
          <p:cNvPr id="30" name="Freeform 5">
            <a:extLst>
              <a:ext uri="{FF2B5EF4-FFF2-40B4-BE49-F238E27FC236}">
                <a16:creationId xmlns:a16="http://schemas.microsoft.com/office/drawing/2014/main" xmlns="" id="{B945A720-3EC9-4217-86F8-BB64B1B9E839}"/>
              </a:ext>
            </a:extLst>
          </p:cNvPr>
          <p:cNvSpPr>
            <a:spLocks noChangeArrowheads="1"/>
          </p:cNvSpPr>
          <p:nvPr/>
        </p:nvSpPr>
        <p:spPr bwMode="auto">
          <a:xfrm>
            <a:off x="6283187" y="2478078"/>
            <a:ext cx="2770935" cy="2770935"/>
          </a:xfrm>
          <a:custGeom>
            <a:avLst/>
            <a:gdLst>
              <a:gd name="T0" fmla="*/ 6528 w 13056"/>
              <a:gd name="T1" fmla="*/ 886 h 13056"/>
              <a:gd name="T2" fmla="*/ 6528 w 13056"/>
              <a:gd name="T3" fmla="*/ 886 h 13056"/>
              <a:gd name="T4" fmla="*/ 887 w 13056"/>
              <a:gd name="T5" fmla="*/ 6528 h 13056"/>
              <a:gd name="T6" fmla="*/ 887 w 13056"/>
              <a:gd name="T7" fmla="*/ 6528 h 13056"/>
              <a:gd name="T8" fmla="*/ 6528 w 13056"/>
              <a:gd name="T9" fmla="*/ 12169 h 13056"/>
              <a:gd name="T10" fmla="*/ 6528 w 13056"/>
              <a:gd name="T11" fmla="*/ 12169 h 13056"/>
              <a:gd name="T12" fmla="*/ 12169 w 13056"/>
              <a:gd name="T13" fmla="*/ 6528 h 13056"/>
              <a:gd name="T14" fmla="*/ 12169 w 13056"/>
              <a:gd name="T15" fmla="*/ 6528 h 13056"/>
              <a:gd name="T16" fmla="*/ 6528 w 13056"/>
              <a:gd name="T17" fmla="*/ 886 h 13056"/>
              <a:gd name="T18" fmla="*/ 6528 w 13056"/>
              <a:gd name="T19" fmla="*/ 13055 h 13056"/>
              <a:gd name="T20" fmla="*/ 6528 w 13056"/>
              <a:gd name="T21" fmla="*/ 13055 h 13056"/>
              <a:gd name="T22" fmla="*/ 0 w 13056"/>
              <a:gd name="T23" fmla="*/ 6528 h 13056"/>
              <a:gd name="T24" fmla="*/ 0 w 13056"/>
              <a:gd name="T25" fmla="*/ 6528 h 13056"/>
              <a:gd name="T26" fmla="*/ 6528 w 13056"/>
              <a:gd name="T27" fmla="*/ 0 h 13056"/>
              <a:gd name="T28" fmla="*/ 6528 w 13056"/>
              <a:gd name="T29" fmla="*/ 0 h 13056"/>
              <a:gd name="T30" fmla="*/ 13055 w 13056"/>
              <a:gd name="T31" fmla="*/ 6528 h 13056"/>
              <a:gd name="T32" fmla="*/ 13055 w 13056"/>
              <a:gd name="T33" fmla="*/ 6528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7" y="3417"/>
                  <a:pt x="887" y="6528"/>
                </a:cubicBezTo>
                <a:lnTo>
                  <a:pt x="887" y="6528"/>
                </a:lnTo>
                <a:cubicBezTo>
                  <a:pt x="887" y="9638"/>
                  <a:pt x="3417" y="12169"/>
                  <a:pt x="6528" y="12169"/>
                </a:cubicBezTo>
                <a:lnTo>
                  <a:pt x="6528" y="12169"/>
                </a:lnTo>
                <a:cubicBezTo>
                  <a:pt x="9638" y="12169"/>
                  <a:pt x="12169" y="9638"/>
                  <a:pt x="12169" y="6528"/>
                </a:cubicBezTo>
                <a:lnTo>
                  <a:pt x="12169" y="6528"/>
                </a:lnTo>
                <a:cubicBezTo>
                  <a:pt x="12169" y="3417"/>
                  <a:pt x="9638" y="886"/>
                  <a:pt x="6528" y="886"/>
                </a:cubicBezTo>
                <a:close/>
                <a:moveTo>
                  <a:pt x="6528" y="13055"/>
                </a:moveTo>
                <a:lnTo>
                  <a:pt x="6528" y="13055"/>
                </a:lnTo>
                <a:cubicBezTo>
                  <a:pt x="2929" y="13055"/>
                  <a:pt x="0" y="10127"/>
                  <a:pt x="0" y="6528"/>
                </a:cubicBezTo>
                <a:lnTo>
                  <a:pt x="0" y="6528"/>
                </a:lnTo>
                <a:cubicBezTo>
                  <a:pt x="0" y="2928"/>
                  <a:pt x="2929" y="0"/>
                  <a:pt x="6528" y="0"/>
                </a:cubicBezTo>
                <a:lnTo>
                  <a:pt x="6528" y="0"/>
                </a:lnTo>
                <a:cubicBezTo>
                  <a:pt x="10126" y="0"/>
                  <a:pt x="13055" y="2928"/>
                  <a:pt x="13055" y="6528"/>
                </a:cubicBezTo>
                <a:lnTo>
                  <a:pt x="13055" y="6528"/>
                </a:lnTo>
                <a:cubicBezTo>
                  <a:pt x="13055" y="10127"/>
                  <a:pt x="10126" y="13055"/>
                  <a:pt x="6528" y="13055"/>
                </a:cubicBezTo>
                <a:close/>
              </a:path>
            </a:pathLst>
          </a:custGeom>
          <a:solidFill>
            <a:schemeClr val="accent6">
              <a:lumMod val="90000"/>
              <a:alpha val="75000"/>
            </a:schemeClr>
          </a:solidFill>
          <a:ln>
            <a:noFill/>
          </a:ln>
          <a:effectLst/>
        </p:spPr>
        <p:txBody>
          <a:bodyPr wrap="none" anchor="ctr"/>
          <a:lstStyle/>
          <a:p>
            <a:endParaRPr lang="en-GB" sz="1400" dirty="0">
              <a:latin typeface="+mj-lt"/>
            </a:endParaRPr>
          </a:p>
        </p:txBody>
      </p:sp>
      <p:sp>
        <p:nvSpPr>
          <p:cNvPr id="31" name="Freeform 7">
            <a:extLst>
              <a:ext uri="{FF2B5EF4-FFF2-40B4-BE49-F238E27FC236}">
                <a16:creationId xmlns:a16="http://schemas.microsoft.com/office/drawing/2014/main" xmlns="" id="{1EA871A3-47F4-4A02-A9C5-6D66849E237C}"/>
              </a:ext>
            </a:extLst>
          </p:cNvPr>
          <p:cNvSpPr>
            <a:spLocks noChangeArrowheads="1"/>
          </p:cNvSpPr>
          <p:nvPr/>
        </p:nvSpPr>
        <p:spPr bwMode="auto">
          <a:xfrm>
            <a:off x="6260728" y="2623127"/>
            <a:ext cx="2770935" cy="2770936"/>
          </a:xfrm>
          <a:custGeom>
            <a:avLst/>
            <a:gdLst>
              <a:gd name="T0" fmla="*/ 6528 w 13056"/>
              <a:gd name="T1" fmla="*/ 886 h 13056"/>
              <a:gd name="T2" fmla="*/ 6528 w 13056"/>
              <a:gd name="T3" fmla="*/ 886 h 13056"/>
              <a:gd name="T4" fmla="*/ 886 w 13056"/>
              <a:gd name="T5" fmla="*/ 6527 h 13056"/>
              <a:gd name="T6" fmla="*/ 886 w 13056"/>
              <a:gd name="T7" fmla="*/ 6527 h 13056"/>
              <a:gd name="T8" fmla="*/ 6528 w 13056"/>
              <a:gd name="T9" fmla="*/ 12169 h 13056"/>
              <a:gd name="T10" fmla="*/ 6528 w 13056"/>
              <a:gd name="T11" fmla="*/ 12169 h 13056"/>
              <a:gd name="T12" fmla="*/ 12168 w 13056"/>
              <a:gd name="T13" fmla="*/ 6527 h 13056"/>
              <a:gd name="T14" fmla="*/ 12168 w 13056"/>
              <a:gd name="T15" fmla="*/ 6527 h 13056"/>
              <a:gd name="T16" fmla="*/ 6528 w 13056"/>
              <a:gd name="T17" fmla="*/ 886 h 13056"/>
              <a:gd name="T18" fmla="*/ 6528 w 13056"/>
              <a:gd name="T19" fmla="*/ 13055 h 13056"/>
              <a:gd name="T20" fmla="*/ 6528 w 13056"/>
              <a:gd name="T21" fmla="*/ 13055 h 13056"/>
              <a:gd name="T22" fmla="*/ 0 w 13056"/>
              <a:gd name="T23" fmla="*/ 6527 h 13056"/>
              <a:gd name="T24" fmla="*/ 0 w 13056"/>
              <a:gd name="T25" fmla="*/ 6527 h 13056"/>
              <a:gd name="T26" fmla="*/ 6528 w 13056"/>
              <a:gd name="T27" fmla="*/ 0 h 13056"/>
              <a:gd name="T28" fmla="*/ 6528 w 13056"/>
              <a:gd name="T29" fmla="*/ 0 h 13056"/>
              <a:gd name="T30" fmla="*/ 13055 w 13056"/>
              <a:gd name="T31" fmla="*/ 6527 h 13056"/>
              <a:gd name="T32" fmla="*/ 13055 w 13056"/>
              <a:gd name="T33" fmla="*/ 6527 h 13056"/>
              <a:gd name="T34" fmla="*/ 6528 w 13056"/>
              <a:gd name="T35" fmla="*/ 13055 h 13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56" h="13056">
                <a:moveTo>
                  <a:pt x="6528" y="886"/>
                </a:moveTo>
                <a:lnTo>
                  <a:pt x="6528" y="886"/>
                </a:lnTo>
                <a:cubicBezTo>
                  <a:pt x="3417" y="886"/>
                  <a:pt x="886" y="3417"/>
                  <a:pt x="886" y="6527"/>
                </a:cubicBezTo>
                <a:lnTo>
                  <a:pt x="886" y="6527"/>
                </a:lnTo>
                <a:cubicBezTo>
                  <a:pt x="886" y="9638"/>
                  <a:pt x="3417" y="12169"/>
                  <a:pt x="6528" y="12169"/>
                </a:cubicBezTo>
                <a:lnTo>
                  <a:pt x="6528" y="12169"/>
                </a:lnTo>
                <a:cubicBezTo>
                  <a:pt x="9637" y="12169"/>
                  <a:pt x="12168" y="9638"/>
                  <a:pt x="12168" y="6527"/>
                </a:cubicBezTo>
                <a:lnTo>
                  <a:pt x="12168" y="6527"/>
                </a:lnTo>
                <a:cubicBezTo>
                  <a:pt x="12168" y="3417"/>
                  <a:pt x="9637" y="886"/>
                  <a:pt x="6528" y="886"/>
                </a:cubicBezTo>
                <a:close/>
                <a:moveTo>
                  <a:pt x="6528" y="13055"/>
                </a:moveTo>
                <a:lnTo>
                  <a:pt x="6528" y="13055"/>
                </a:lnTo>
                <a:cubicBezTo>
                  <a:pt x="2928" y="13055"/>
                  <a:pt x="0" y="10127"/>
                  <a:pt x="0" y="6527"/>
                </a:cubicBezTo>
                <a:lnTo>
                  <a:pt x="0" y="6527"/>
                </a:lnTo>
                <a:cubicBezTo>
                  <a:pt x="0" y="2928"/>
                  <a:pt x="2928" y="0"/>
                  <a:pt x="6528" y="0"/>
                </a:cubicBezTo>
                <a:lnTo>
                  <a:pt x="6528" y="0"/>
                </a:lnTo>
                <a:cubicBezTo>
                  <a:pt x="10126" y="0"/>
                  <a:pt x="13055" y="2928"/>
                  <a:pt x="13055" y="6527"/>
                </a:cubicBezTo>
                <a:lnTo>
                  <a:pt x="13055" y="6527"/>
                </a:lnTo>
                <a:cubicBezTo>
                  <a:pt x="13055" y="10127"/>
                  <a:pt x="10126" y="13055"/>
                  <a:pt x="6528" y="13055"/>
                </a:cubicBezTo>
                <a:close/>
              </a:path>
            </a:pathLst>
          </a:custGeom>
          <a:solidFill>
            <a:schemeClr val="accent5">
              <a:alpha val="75000"/>
            </a:schemeClr>
          </a:solidFill>
          <a:ln>
            <a:noFill/>
          </a:ln>
          <a:effectLst/>
        </p:spPr>
        <p:txBody>
          <a:bodyPr wrap="none" anchor="ctr"/>
          <a:lstStyle/>
          <a:p>
            <a:endParaRPr lang="en-GB" sz="1400" dirty="0">
              <a:latin typeface="+mj-lt"/>
            </a:endParaRPr>
          </a:p>
        </p:txBody>
      </p:sp>
      <p:sp>
        <p:nvSpPr>
          <p:cNvPr id="32" name="Freeform 9">
            <a:extLst>
              <a:ext uri="{FF2B5EF4-FFF2-40B4-BE49-F238E27FC236}">
                <a16:creationId xmlns:a16="http://schemas.microsoft.com/office/drawing/2014/main" xmlns="" id="{B2EBC399-34D4-46E0-94BE-9E66C874D804}"/>
              </a:ext>
            </a:extLst>
          </p:cNvPr>
          <p:cNvSpPr>
            <a:spLocks noChangeArrowheads="1"/>
          </p:cNvSpPr>
          <p:nvPr/>
        </p:nvSpPr>
        <p:spPr bwMode="auto">
          <a:xfrm>
            <a:off x="6402033" y="2655882"/>
            <a:ext cx="2871068" cy="2871067"/>
          </a:xfrm>
          <a:custGeom>
            <a:avLst/>
            <a:gdLst>
              <a:gd name="T0" fmla="*/ 6764 w 13529"/>
              <a:gd name="T1" fmla="*/ 313 h 13528"/>
              <a:gd name="T2" fmla="*/ 6764 w 13529"/>
              <a:gd name="T3" fmla="*/ 313 h 13528"/>
              <a:gd name="T4" fmla="*/ 314 w 13529"/>
              <a:gd name="T5" fmla="*/ 6763 h 13528"/>
              <a:gd name="T6" fmla="*/ 314 w 13529"/>
              <a:gd name="T7" fmla="*/ 6763 h 13528"/>
              <a:gd name="T8" fmla="*/ 6764 w 13529"/>
              <a:gd name="T9" fmla="*/ 13214 h 13528"/>
              <a:gd name="T10" fmla="*/ 6764 w 13529"/>
              <a:gd name="T11" fmla="*/ 13214 h 13528"/>
              <a:gd name="T12" fmla="*/ 13215 w 13529"/>
              <a:gd name="T13" fmla="*/ 6763 h 13528"/>
              <a:gd name="T14" fmla="*/ 13215 w 13529"/>
              <a:gd name="T15" fmla="*/ 6763 h 13528"/>
              <a:gd name="T16" fmla="*/ 6764 w 13529"/>
              <a:gd name="T17" fmla="*/ 313 h 13528"/>
              <a:gd name="T18" fmla="*/ 6764 w 13529"/>
              <a:gd name="T19" fmla="*/ 13527 h 13528"/>
              <a:gd name="T20" fmla="*/ 6764 w 13529"/>
              <a:gd name="T21" fmla="*/ 13527 h 13528"/>
              <a:gd name="T22" fmla="*/ 0 w 13529"/>
              <a:gd name="T23" fmla="*/ 6763 h 13528"/>
              <a:gd name="T24" fmla="*/ 0 w 13529"/>
              <a:gd name="T25" fmla="*/ 6763 h 13528"/>
              <a:gd name="T26" fmla="*/ 6764 w 13529"/>
              <a:gd name="T27" fmla="*/ 0 h 13528"/>
              <a:gd name="T28" fmla="*/ 6764 w 13529"/>
              <a:gd name="T29" fmla="*/ 0 h 13528"/>
              <a:gd name="T30" fmla="*/ 13528 w 13529"/>
              <a:gd name="T31" fmla="*/ 6763 h 13528"/>
              <a:gd name="T32" fmla="*/ 13528 w 13529"/>
              <a:gd name="T33" fmla="*/ 6763 h 13528"/>
              <a:gd name="T34" fmla="*/ 6764 w 13529"/>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9" h="13528">
                <a:moveTo>
                  <a:pt x="6764" y="313"/>
                </a:moveTo>
                <a:lnTo>
                  <a:pt x="6764" y="313"/>
                </a:lnTo>
                <a:cubicBezTo>
                  <a:pt x="3207" y="313"/>
                  <a:pt x="314" y="3207"/>
                  <a:pt x="314" y="6763"/>
                </a:cubicBezTo>
                <a:lnTo>
                  <a:pt x="314" y="6763"/>
                </a:lnTo>
                <a:cubicBezTo>
                  <a:pt x="314" y="10320"/>
                  <a:pt x="3207" y="13214"/>
                  <a:pt x="6764" y="13214"/>
                </a:cubicBezTo>
                <a:lnTo>
                  <a:pt x="6764" y="13214"/>
                </a:lnTo>
                <a:cubicBezTo>
                  <a:pt x="10320" y="13214"/>
                  <a:pt x="13215" y="10320"/>
                  <a:pt x="13215" y="6763"/>
                </a:cubicBezTo>
                <a:lnTo>
                  <a:pt x="13215" y="6763"/>
                </a:lnTo>
                <a:cubicBezTo>
                  <a:pt x="13215" y="3207"/>
                  <a:pt x="10320" y="313"/>
                  <a:pt x="6764" y="313"/>
                </a:cubicBezTo>
                <a:close/>
                <a:moveTo>
                  <a:pt x="6764" y="13527"/>
                </a:moveTo>
                <a:lnTo>
                  <a:pt x="6764" y="13527"/>
                </a:lnTo>
                <a:cubicBezTo>
                  <a:pt x="3035" y="13527"/>
                  <a:pt x="0" y="10493"/>
                  <a:pt x="0" y="6763"/>
                </a:cubicBezTo>
                <a:lnTo>
                  <a:pt x="0" y="6763"/>
                </a:lnTo>
                <a:cubicBezTo>
                  <a:pt x="0" y="3035"/>
                  <a:pt x="3035" y="0"/>
                  <a:pt x="6764" y="0"/>
                </a:cubicBezTo>
                <a:lnTo>
                  <a:pt x="6764" y="0"/>
                </a:lnTo>
                <a:cubicBezTo>
                  <a:pt x="10493" y="0"/>
                  <a:pt x="13528" y="3035"/>
                  <a:pt x="13528" y="6763"/>
                </a:cubicBezTo>
                <a:lnTo>
                  <a:pt x="13528" y="6763"/>
                </a:lnTo>
                <a:cubicBezTo>
                  <a:pt x="13528" y="10493"/>
                  <a:pt x="10493" y="13527"/>
                  <a:pt x="6764" y="13527"/>
                </a:cubicBezTo>
                <a:close/>
              </a:path>
            </a:pathLst>
          </a:custGeom>
          <a:solidFill>
            <a:schemeClr val="accent2">
              <a:alpha val="75000"/>
            </a:schemeClr>
          </a:solidFill>
          <a:ln>
            <a:noFill/>
          </a:ln>
          <a:effectLst/>
        </p:spPr>
        <p:txBody>
          <a:bodyPr wrap="none" anchor="ctr"/>
          <a:lstStyle/>
          <a:p>
            <a:endParaRPr lang="en-GB" sz="1400" dirty="0">
              <a:latin typeface="+mj-lt"/>
            </a:endParaRPr>
          </a:p>
        </p:txBody>
      </p:sp>
      <p:sp>
        <p:nvSpPr>
          <p:cNvPr id="34" name="Freeform 11">
            <a:extLst>
              <a:ext uri="{FF2B5EF4-FFF2-40B4-BE49-F238E27FC236}">
                <a16:creationId xmlns:a16="http://schemas.microsoft.com/office/drawing/2014/main" xmlns="" id="{E5510DCD-626F-4A94-87CA-9E26C8C50DD6}"/>
              </a:ext>
            </a:extLst>
          </p:cNvPr>
          <p:cNvSpPr>
            <a:spLocks noChangeArrowheads="1"/>
          </p:cNvSpPr>
          <p:nvPr/>
        </p:nvSpPr>
        <p:spPr bwMode="auto">
          <a:xfrm>
            <a:off x="6151235" y="2361101"/>
            <a:ext cx="2871068" cy="2871067"/>
          </a:xfrm>
          <a:custGeom>
            <a:avLst/>
            <a:gdLst>
              <a:gd name="T0" fmla="*/ 6764 w 13528"/>
              <a:gd name="T1" fmla="*/ 313 h 13530"/>
              <a:gd name="T2" fmla="*/ 6764 w 13528"/>
              <a:gd name="T3" fmla="*/ 313 h 13530"/>
              <a:gd name="T4" fmla="*/ 313 w 13528"/>
              <a:gd name="T5" fmla="*/ 6765 h 13530"/>
              <a:gd name="T6" fmla="*/ 313 w 13528"/>
              <a:gd name="T7" fmla="*/ 6765 h 13530"/>
              <a:gd name="T8" fmla="*/ 6764 w 13528"/>
              <a:gd name="T9" fmla="*/ 13215 h 13530"/>
              <a:gd name="T10" fmla="*/ 6764 w 13528"/>
              <a:gd name="T11" fmla="*/ 13215 h 13530"/>
              <a:gd name="T12" fmla="*/ 13214 w 13528"/>
              <a:gd name="T13" fmla="*/ 6765 h 13530"/>
              <a:gd name="T14" fmla="*/ 13214 w 13528"/>
              <a:gd name="T15" fmla="*/ 6765 h 13530"/>
              <a:gd name="T16" fmla="*/ 6764 w 13528"/>
              <a:gd name="T17" fmla="*/ 313 h 13530"/>
              <a:gd name="T18" fmla="*/ 6764 w 13528"/>
              <a:gd name="T19" fmla="*/ 13529 h 13530"/>
              <a:gd name="T20" fmla="*/ 6764 w 13528"/>
              <a:gd name="T21" fmla="*/ 13529 h 13530"/>
              <a:gd name="T22" fmla="*/ 0 w 13528"/>
              <a:gd name="T23" fmla="*/ 6765 h 13530"/>
              <a:gd name="T24" fmla="*/ 0 w 13528"/>
              <a:gd name="T25" fmla="*/ 6765 h 13530"/>
              <a:gd name="T26" fmla="*/ 6764 w 13528"/>
              <a:gd name="T27" fmla="*/ 0 h 13530"/>
              <a:gd name="T28" fmla="*/ 6764 w 13528"/>
              <a:gd name="T29" fmla="*/ 0 h 13530"/>
              <a:gd name="T30" fmla="*/ 13527 w 13528"/>
              <a:gd name="T31" fmla="*/ 6765 h 13530"/>
              <a:gd name="T32" fmla="*/ 13527 w 13528"/>
              <a:gd name="T33" fmla="*/ 6765 h 13530"/>
              <a:gd name="T34" fmla="*/ 6764 w 13528"/>
              <a:gd name="T35" fmla="*/ 13529 h 13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30">
                <a:moveTo>
                  <a:pt x="6764" y="313"/>
                </a:moveTo>
                <a:lnTo>
                  <a:pt x="6764" y="313"/>
                </a:lnTo>
                <a:cubicBezTo>
                  <a:pt x="3207" y="313"/>
                  <a:pt x="313" y="3208"/>
                  <a:pt x="313" y="6765"/>
                </a:cubicBezTo>
                <a:lnTo>
                  <a:pt x="313" y="6765"/>
                </a:lnTo>
                <a:cubicBezTo>
                  <a:pt x="313" y="10321"/>
                  <a:pt x="3207" y="13215"/>
                  <a:pt x="6764" y="13215"/>
                </a:cubicBezTo>
                <a:lnTo>
                  <a:pt x="6764" y="13215"/>
                </a:lnTo>
                <a:cubicBezTo>
                  <a:pt x="10321" y="13215"/>
                  <a:pt x="13214" y="10321"/>
                  <a:pt x="13214" y="6765"/>
                </a:cubicBezTo>
                <a:lnTo>
                  <a:pt x="13214" y="6765"/>
                </a:lnTo>
                <a:cubicBezTo>
                  <a:pt x="13214" y="3208"/>
                  <a:pt x="10321" y="313"/>
                  <a:pt x="6764" y="313"/>
                </a:cubicBezTo>
                <a:close/>
                <a:moveTo>
                  <a:pt x="6764" y="13529"/>
                </a:moveTo>
                <a:lnTo>
                  <a:pt x="6764" y="13529"/>
                </a:lnTo>
                <a:cubicBezTo>
                  <a:pt x="3034" y="13529"/>
                  <a:pt x="0" y="10494"/>
                  <a:pt x="0" y="6765"/>
                </a:cubicBezTo>
                <a:lnTo>
                  <a:pt x="0" y="6765"/>
                </a:lnTo>
                <a:cubicBezTo>
                  <a:pt x="0" y="3035"/>
                  <a:pt x="3034" y="0"/>
                  <a:pt x="6764" y="0"/>
                </a:cubicBezTo>
                <a:lnTo>
                  <a:pt x="6764" y="0"/>
                </a:lnTo>
                <a:cubicBezTo>
                  <a:pt x="10493" y="0"/>
                  <a:pt x="13527" y="3035"/>
                  <a:pt x="13527" y="6765"/>
                </a:cubicBezTo>
                <a:lnTo>
                  <a:pt x="13527" y="6765"/>
                </a:lnTo>
                <a:cubicBezTo>
                  <a:pt x="13527" y="10494"/>
                  <a:pt x="10493" y="13529"/>
                  <a:pt x="6764" y="13529"/>
                </a:cubicBezTo>
                <a:close/>
              </a:path>
            </a:pathLst>
          </a:custGeom>
          <a:solidFill>
            <a:schemeClr val="accent4">
              <a:alpha val="75000"/>
            </a:schemeClr>
          </a:solidFill>
          <a:ln>
            <a:noFill/>
          </a:ln>
          <a:effectLst/>
        </p:spPr>
        <p:txBody>
          <a:bodyPr wrap="none" anchor="ctr"/>
          <a:lstStyle/>
          <a:p>
            <a:endParaRPr lang="en-GB" sz="1400" dirty="0">
              <a:latin typeface="+mj-lt"/>
            </a:endParaRPr>
          </a:p>
        </p:txBody>
      </p:sp>
      <p:sp>
        <p:nvSpPr>
          <p:cNvPr id="35" name="Freeform 13">
            <a:extLst>
              <a:ext uri="{FF2B5EF4-FFF2-40B4-BE49-F238E27FC236}">
                <a16:creationId xmlns:a16="http://schemas.microsoft.com/office/drawing/2014/main" xmlns="" id="{1631AE15-E820-4EE5-96FC-6223C7BD213C}"/>
              </a:ext>
            </a:extLst>
          </p:cNvPr>
          <p:cNvSpPr>
            <a:spLocks noChangeArrowheads="1"/>
          </p:cNvSpPr>
          <p:nvPr/>
        </p:nvSpPr>
        <p:spPr bwMode="auto">
          <a:xfrm>
            <a:off x="6112868" y="2660560"/>
            <a:ext cx="2871068" cy="2871067"/>
          </a:xfrm>
          <a:custGeom>
            <a:avLst/>
            <a:gdLst>
              <a:gd name="T0" fmla="*/ 6764 w 13528"/>
              <a:gd name="T1" fmla="*/ 313 h 13528"/>
              <a:gd name="T2" fmla="*/ 6764 w 13528"/>
              <a:gd name="T3" fmla="*/ 313 h 13528"/>
              <a:gd name="T4" fmla="*/ 313 w 13528"/>
              <a:gd name="T5" fmla="*/ 6763 h 13528"/>
              <a:gd name="T6" fmla="*/ 313 w 13528"/>
              <a:gd name="T7" fmla="*/ 6763 h 13528"/>
              <a:gd name="T8" fmla="*/ 6764 w 13528"/>
              <a:gd name="T9" fmla="*/ 13214 h 13528"/>
              <a:gd name="T10" fmla="*/ 6764 w 13528"/>
              <a:gd name="T11" fmla="*/ 13214 h 13528"/>
              <a:gd name="T12" fmla="*/ 13214 w 13528"/>
              <a:gd name="T13" fmla="*/ 6763 h 13528"/>
              <a:gd name="T14" fmla="*/ 13214 w 13528"/>
              <a:gd name="T15" fmla="*/ 6763 h 13528"/>
              <a:gd name="T16" fmla="*/ 6764 w 13528"/>
              <a:gd name="T17" fmla="*/ 313 h 13528"/>
              <a:gd name="T18" fmla="*/ 6764 w 13528"/>
              <a:gd name="T19" fmla="*/ 13527 h 13528"/>
              <a:gd name="T20" fmla="*/ 6764 w 13528"/>
              <a:gd name="T21" fmla="*/ 13527 h 13528"/>
              <a:gd name="T22" fmla="*/ 0 w 13528"/>
              <a:gd name="T23" fmla="*/ 6763 h 13528"/>
              <a:gd name="T24" fmla="*/ 0 w 13528"/>
              <a:gd name="T25" fmla="*/ 6763 h 13528"/>
              <a:gd name="T26" fmla="*/ 6764 w 13528"/>
              <a:gd name="T27" fmla="*/ 0 h 13528"/>
              <a:gd name="T28" fmla="*/ 6764 w 13528"/>
              <a:gd name="T29" fmla="*/ 0 h 13528"/>
              <a:gd name="T30" fmla="*/ 13527 w 13528"/>
              <a:gd name="T31" fmla="*/ 6763 h 13528"/>
              <a:gd name="T32" fmla="*/ 13527 w 13528"/>
              <a:gd name="T33" fmla="*/ 6763 h 13528"/>
              <a:gd name="T34" fmla="*/ 6764 w 13528"/>
              <a:gd name="T35" fmla="*/ 13527 h 13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8">
                <a:moveTo>
                  <a:pt x="6764" y="313"/>
                </a:moveTo>
                <a:lnTo>
                  <a:pt x="6764" y="313"/>
                </a:lnTo>
                <a:cubicBezTo>
                  <a:pt x="3207" y="313"/>
                  <a:pt x="313" y="3207"/>
                  <a:pt x="313" y="6763"/>
                </a:cubicBezTo>
                <a:lnTo>
                  <a:pt x="313" y="6763"/>
                </a:lnTo>
                <a:cubicBezTo>
                  <a:pt x="313" y="10320"/>
                  <a:pt x="3207" y="13214"/>
                  <a:pt x="6764" y="13214"/>
                </a:cubicBezTo>
                <a:lnTo>
                  <a:pt x="6764" y="13214"/>
                </a:lnTo>
                <a:cubicBezTo>
                  <a:pt x="10320" y="13214"/>
                  <a:pt x="13214" y="10320"/>
                  <a:pt x="13214" y="6763"/>
                </a:cubicBezTo>
                <a:lnTo>
                  <a:pt x="13214" y="6763"/>
                </a:lnTo>
                <a:cubicBezTo>
                  <a:pt x="13214" y="3207"/>
                  <a:pt x="10320" y="313"/>
                  <a:pt x="6764" y="313"/>
                </a:cubicBezTo>
                <a:close/>
                <a:moveTo>
                  <a:pt x="6764" y="13527"/>
                </a:moveTo>
                <a:lnTo>
                  <a:pt x="6764" y="13527"/>
                </a:lnTo>
                <a:cubicBezTo>
                  <a:pt x="3034" y="13527"/>
                  <a:pt x="0" y="10493"/>
                  <a:pt x="0" y="6763"/>
                </a:cubicBezTo>
                <a:lnTo>
                  <a:pt x="0" y="6763"/>
                </a:lnTo>
                <a:cubicBezTo>
                  <a:pt x="0" y="3034"/>
                  <a:pt x="3034" y="0"/>
                  <a:pt x="6764" y="0"/>
                </a:cubicBezTo>
                <a:lnTo>
                  <a:pt x="6764" y="0"/>
                </a:lnTo>
                <a:cubicBezTo>
                  <a:pt x="10493" y="0"/>
                  <a:pt x="13527" y="3034"/>
                  <a:pt x="13527" y="6763"/>
                </a:cubicBezTo>
                <a:lnTo>
                  <a:pt x="13527" y="6763"/>
                </a:lnTo>
                <a:cubicBezTo>
                  <a:pt x="13527" y="10493"/>
                  <a:pt x="10493" y="13527"/>
                  <a:pt x="6764" y="13527"/>
                </a:cubicBezTo>
                <a:close/>
              </a:path>
            </a:pathLst>
          </a:custGeom>
          <a:solidFill>
            <a:schemeClr val="accent1">
              <a:alpha val="75000"/>
            </a:schemeClr>
          </a:solidFill>
          <a:ln>
            <a:noFill/>
          </a:ln>
          <a:effectLst/>
        </p:spPr>
        <p:txBody>
          <a:bodyPr wrap="none" anchor="ctr"/>
          <a:lstStyle/>
          <a:p>
            <a:endParaRPr lang="en-GB" sz="1400" dirty="0">
              <a:latin typeface="+mj-lt"/>
            </a:endParaRPr>
          </a:p>
        </p:txBody>
      </p:sp>
      <p:sp>
        <p:nvSpPr>
          <p:cNvPr id="37" name="Freeform 15">
            <a:extLst>
              <a:ext uri="{FF2B5EF4-FFF2-40B4-BE49-F238E27FC236}">
                <a16:creationId xmlns:a16="http://schemas.microsoft.com/office/drawing/2014/main" xmlns="" id="{7ABF21ED-341A-4F00-B588-F5E4092AD9DA}"/>
              </a:ext>
            </a:extLst>
          </p:cNvPr>
          <p:cNvSpPr>
            <a:spLocks noChangeArrowheads="1"/>
          </p:cNvSpPr>
          <p:nvPr/>
        </p:nvSpPr>
        <p:spPr bwMode="auto">
          <a:xfrm>
            <a:off x="6451631" y="2309632"/>
            <a:ext cx="2871068" cy="2871067"/>
          </a:xfrm>
          <a:custGeom>
            <a:avLst/>
            <a:gdLst>
              <a:gd name="T0" fmla="*/ 6763 w 13528"/>
              <a:gd name="T1" fmla="*/ 313 h 13529"/>
              <a:gd name="T2" fmla="*/ 6763 w 13528"/>
              <a:gd name="T3" fmla="*/ 313 h 13529"/>
              <a:gd name="T4" fmla="*/ 313 w 13528"/>
              <a:gd name="T5" fmla="*/ 6765 h 13529"/>
              <a:gd name="T6" fmla="*/ 313 w 13528"/>
              <a:gd name="T7" fmla="*/ 6765 h 13529"/>
              <a:gd name="T8" fmla="*/ 6763 w 13528"/>
              <a:gd name="T9" fmla="*/ 13215 h 13529"/>
              <a:gd name="T10" fmla="*/ 6763 w 13528"/>
              <a:gd name="T11" fmla="*/ 13215 h 13529"/>
              <a:gd name="T12" fmla="*/ 13214 w 13528"/>
              <a:gd name="T13" fmla="*/ 6765 h 13529"/>
              <a:gd name="T14" fmla="*/ 13214 w 13528"/>
              <a:gd name="T15" fmla="*/ 6765 h 13529"/>
              <a:gd name="T16" fmla="*/ 6763 w 13528"/>
              <a:gd name="T17" fmla="*/ 313 h 13529"/>
              <a:gd name="T18" fmla="*/ 6763 w 13528"/>
              <a:gd name="T19" fmla="*/ 13528 h 13529"/>
              <a:gd name="T20" fmla="*/ 6763 w 13528"/>
              <a:gd name="T21" fmla="*/ 13528 h 13529"/>
              <a:gd name="T22" fmla="*/ 0 w 13528"/>
              <a:gd name="T23" fmla="*/ 6765 h 13529"/>
              <a:gd name="T24" fmla="*/ 0 w 13528"/>
              <a:gd name="T25" fmla="*/ 6765 h 13529"/>
              <a:gd name="T26" fmla="*/ 6763 w 13528"/>
              <a:gd name="T27" fmla="*/ 0 h 13529"/>
              <a:gd name="T28" fmla="*/ 6763 w 13528"/>
              <a:gd name="T29" fmla="*/ 0 h 13529"/>
              <a:gd name="T30" fmla="*/ 13527 w 13528"/>
              <a:gd name="T31" fmla="*/ 6765 h 13529"/>
              <a:gd name="T32" fmla="*/ 13527 w 13528"/>
              <a:gd name="T33" fmla="*/ 6765 h 13529"/>
              <a:gd name="T34" fmla="*/ 6763 w 13528"/>
              <a:gd name="T35" fmla="*/ 13528 h 13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528" h="13529">
                <a:moveTo>
                  <a:pt x="6763" y="313"/>
                </a:moveTo>
                <a:lnTo>
                  <a:pt x="6763" y="313"/>
                </a:lnTo>
                <a:cubicBezTo>
                  <a:pt x="3207" y="313"/>
                  <a:pt x="313" y="3207"/>
                  <a:pt x="313" y="6765"/>
                </a:cubicBezTo>
                <a:lnTo>
                  <a:pt x="313" y="6765"/>
                </a:lnTo>
                <a:cubicBezTo>
                  <a:pt x="313" y="10321"/>
                  <a:pt x="3207" y="13215"/>
                  <a:pt x="6763" y="13215"/>
                </a:cubicBezTo>
                <a:lnTo>
                  <a:pt x="6763" y="13215"/>
                </a:lnTo>
                <a:cubicBezTo>
                  <a:pt x="10320" y="13215"/>
                  <a:pt x="13214" y="10321"/>
                  <a:pt x="13214" y="6765"/>
                </a:cubicBezTo>
                <a:lnTo>
                  <a:pt x="13214" y="6765"/>
                </a:lnTo>
                <a:cubicBezTo>
                  <a:pt x="13214" y="3207"/>
                  <a:pt x="10320" y="313"/>
                  <a:pt x="6763" y="313"/>
                </a:cubicBezTo>
                <a:close/>
                <a:moveTo>
                  <a:pt x="6763" y="13528"/>
                </a:moveTo>
                <a:lnTo>
                  <a:pt x="6763" y="13528"/>
                </a:lnTo>
                <a:cubicBezTo>
                  <a:pt x="3034" y="13528"/>
                  <a:pt x="0" y="10493"/>
                  <a:pt x="0" y="6765"/>
                </a:cubicBezTo>
                <a:lnTo>
                  <a:pt x="0" y="6765"/>
                </a:lnTo>
                <a:cubicBezTo>
                  <a:pt x="0" y="3035"/>
                  <a:pt x="3034" y="0"/>
                  <a:pt x="6763" y="0"/>
                </a:cubicBezTo>
                <a:lnTo>
                  <a:pt x="6763" y="0"/>
                </a:lnTo>
                <a:cubicBezTo>
                  <a:pt x="10492" y="0"/>
                  <a:pt x="13527" y="3035"/>
                  <a:pt x="13527" y="6765"/>
                </a:cubicBezTo>
                <a:lnTo>
                  <a:pt x="13527" y="6765"/>
                </a:lnTo>
                <a:cubicBezTo>
                  <a:pt x="13527" y="10493"/>
                  <a:pt x="10492" y="13528"/>
                  <a:pt x="6763" y="13528"/>
                </a:cubicBezTo>
                <a:close/>
              </a:path>
            </a:pathLst>
          </a:custGeom>
          <a:solidFill>
            <a:schemeClr val="accent3">
              <a:alpha val="75000"/>
            </a:schemeClr>
          </a:solidFill>
          <a:ln>
            <a:noFill/>
          </a:ln>
          <a:effectLst/>
        </p:spPr>
        <p:txBody>
          <a:bodyPr wrap="none" anchor="ctr"/>
          <a:lstStyle/>
          <a:p>
            <a:endParaRPr lang="en-GB" sz="1400" dirty="0">
              <a:latin typeface="+mj-lt"/>
            </a:endParaRPr>
          </a:p>
        </p:txBody>
      </p:sp>
      <p:sp>
        <p:nvSpPr>
          <p:cNvPr id="38" name="Oval 12">
            <a:extLst>
              <a:ext uri="{FF2B5EF4-FFF2-40B4-BE49-F238E27FC236}">
                <a16:creationId xmlns:a16="http://schemas.microsoft.com/office/drawing/2014/main" xmlns="" id="{00963E71-FD59-4677-B0BE-59376EAE10BB}"/>
              </a:ext>
            </a:extLst>
          </p:cNvPr>
          <p:cNvSpPr/>
          <p:nvPr/>
        </p:nvSpPr>
        <p:spPr>
          <a:xfrm>
            <a:off x="6496106" y="2212061"/>
            <a:ext cx="968519" cy="96851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40" name="Oval 13">
            <a:extLst>
              <a:ext uri="{FF2B5EF4-FFF2-40B4-BE49-F238E27FC236}">
                <a16:creationId xmlns:a16="http://schemas.microsoft.com/office/drawing/2014/main" xmlns="" id="{DD77E1D5-A9DA-4391-9DBC-F49C9EC4F245}"/>
              </a:ext>
            </a:extLst>
          </p:cNvPr>
          <p:cNvSpPr/>
          <p:nvPr/>
        </p:nvSpPr>
        <p:spPr>
          <a:xfrm>
            <a:off x="7970943" y="2212061"/>
            <a:ext cx="968519" cy="968519"/>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41" name="Oval 16">
            <a:extLst>
              <a:ext uri="{FF2B5EF4-FFF2-40B4-BE49-F238E27FC236}">
                <a16:creationId xmlns:a16="http://schemas.microsoft.com/office/drawing/2014/main" xmlns="" id="{0B10B486-D7BB-45B7-A0CA-C2F2BF910A5C}"/>
              </a:ext>
            </a:extLst>
          </p:cNvPr>
          <p:cNvSpPr/>
          <p:nvPr/>
        </p:nvSpPr>
        <p:spPr>
          <a:xfrm>
            <a:off x="6496106" y="4690547"/>
            <a:ext cx="968519" cy="96851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42" name="Oval 17">
            <a:extLst>
              <a:ext uri="{FF2B5EF4-FFF2-40B4-BE49-F238E27FC236}">
                <a16:creationId xmlns:a16="http://schemas.microsoft.com/office/drawing/2014/main" xmlns="" id="{EBFC635F-931D-4CCC-861A-636118DAF6AB}"/>
              </a:ext>
            </a:extLst>
          </p:cNvPr>
          <p:cNvSpPr/>
          <p:nvPr/>
        </p:nvSpPr>
        <p:spPr>
          <a:xfrm>
            <a:off x="7970943" y="4690547"/>
            <a:ext cx="968519" cy="968519"/>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43" name="Oval 18">
            <a:extLst>
              <a:ext uri="{FF2B5EF4-FFF2-40B4-BE49-F238E27FC236}">
                <a16:creationId xmlns:a16="http://schemas.microsoft.com/office/drawing/2014/main" xmlns="" id="{55A62F65-546C-4663-BC0D-CCB9C8A51825}"/>
              </a:ext>
            </a:extLst>
          </p:cNvPr>
          <p:cNvSpPr/>
          <p:nvPr/>
        </p:nvSpPr>
        <p:spPr>
          <a:xfrm>
            <a:off x="8596065" y="3436370"/>
            <a:ext cx="968519" cy="9685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44" name="Oval 19">
            <a:extLst>
              <a:ext uri="{FF2B5EF4-FFF2-40B4-BE49-F238E27FC236}">
                <a16:creationId xmlns:a16="http://schemas.microsoft.com/office/drawing/2014/main" xmlns="" id="{D699F206-B5D6-47A6-B1BD-573495F351A3}"/>
              </a:ext>
            </a:extLst>
          </p:cNvPr>
          <p:cNvSpPr/>
          <p:nvPr/>
        </p:nvSpPr>
        <p:spPr>
          <a:xfrm>
            <a:off x="5870985" y="3436370"/>
            <a:ext cx="968519" cy="968519"/>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45" name="Freeform 951">
            <a:extLst>
              <a:ext uri="{FF2B5EF4-FFF2-40B4-BE49-F238E27FC236}">
                <a16:creationId xmlns:a16="http://schemas.microsoft.com/office/drawing/2014/main" xmlns="" id="{92CD933F-21FB-4E77-89F3-05A07F1ACF70}"/>
              </a:ext>
            </a:extLst>
          </p:cNvPr>
          <p:cNvSpPr>
            <a:spLocks noChangeAspect="1"/>
          </p:cNvSpPr>
          <p:nvPr/>
        </p:nvSpPr>
        <p:spPr bwMode="auto">
          <a:xfrm>
            <a:off x="8885896" y="3698911"/>
            <a:ext cx="408547" cy="413576"/>
          </a:xfrm>
          <a:custGeom>
            <a:avLst/>
            <a:gdLst>
              <a:gd name="T0" fmla="*/ 7629764 w 283807"/>
              <a:gd name="T1" fmla="*/ 7279539 h 286528"/>
              <a:gd name="T2" fmla="*/ 4970194 w 283807"/>
              <a:gd name="T3" fmla="*/ 10433779 h 286528"/>
              <a:gd name="T4" fmla="*/ 2623495 w 283807"/>
              <a:gd name="T5" fmla="*/ 6957379 h 286528"/>
              <a:gd name="T6" fmla="*/ 10155648 w 283807"/>
              <a:gd name="T7" fmla="*/ 10667301 h 286528"/>
              <a:gd name="T8" fmla="*/ 9055113 w 283807"/>
              <a:gd name="T9" fmla="*/ 10491788 h 286528"/>
              <a:gd name="T10" fmla="*/ 8576029 w 283807"/>
              <a:gd name="T11" fmla="*/ 9546927 h 286528"/>
              <a:gd name="T12" fmla="*/ 10000283 w 283807"/>
              <a:gd name="T13" fmla="*/ 6941998 h 286528"/>
              <a:gd name="T14" fmla="*/ 312876 w 283807"/>
              <a:gd name="T15" fmla="*/ 9222950 h 286528"/>
              <a:gd name="T16" fmla="*/ 1577434 w 283807"/>
              <a:gd name="T17" fmla="*/ 9546927 h 286528"/>
              <a:gd name="T18" fmla="*/ 1264538 w 283807"/>
              <a:gd name="T19" fmla="*/ 9546927 h 286528"/>
              <a:gd name="T20" fmla="*/ 0 w 283807"/>
              <a:gd name="T21" fmla="*/ 10491788 h 286528"/>
              <a:gd name="T22" fmla="*/ 1095486 w 283807"/>
              <a:gd name="T23" fmla="*/ 5219421 h 286528"/>
              <a:gd name="T24" fmla="*/ 2444856 w 283807"/>
              <a:gd name="T25" fmla="*/ 8538722 h 286528"/>
              <a:gd name="T26" fmla="*/ 3492882 w 283807"/>
              <a:gd name="T27" fmla="*/ 10272257 h 286528"/>
              <a:gd name="T28" fmla="*/ 3283225 w 283807"/>
              <a:gd name="T29" fmla="*/ 8216203 h 286528"/>
              <a:gd name="T30" fmla="*/ 1724380 w 283807"/>
              <a:gd name="T31" fmla="*/ 5810656 h 286528"/>
              <a:gd name="T32" fmla="*/ 3414232 w 283807"/>
              <a:gd name="T33" fmla="*/ 6092911 h 286528"/>
              <a:gd name="T34" fmla="*/ 4383706 w 283807"/>
              <a:gd name="T35" fmla="*/ 5380673 h 286528"/>
              <a:gd name="T36" fmla="*/ 1737387 w 283807"/>
              <a:gd name="T37" fmla="*/ 5152240 h 286528"/>
              <a:gd name="T38" fmla="*/ 6117282 w 283807"/>
              <a:gd name="T39" fmla="*/ 5418551 h 286528"/>
              <a:gd name="T40" fmla="*/ 8482733 w 283807"/>
              <a:gd name="T41" fmla="*/ 5685449 h 286528"/>
              <a:gd name="T42" fmla="*/ 8062182 w 283807"/>
              <a:gd name="T43" fmla="*/ 7993466 h 286528"/>
              <a:gd name="T44" fmla="*/ 6550953 w 283807"/>
              <a:gd name="T45" fmla="*/ 10181407 h 286528"/>
              <a:gd name="T46" fmla="*/ 7418251 w 283807"/>
              <a:gd name="T47" fmla="*/ 8914016 h 286528"/>
              <a:gd name="T48" fmla="*/ 9520904 w 283807"/>
              <a:gd name="T49" fmla="*/ 5551988 h 286528"/>
              <a:gd name="T50" fmla="*/ 7470849 w 283807"/>
              <a:gd name="T51" fmla="*/ 5645422 h 286528"/>
              <a:gd name="T52" fmla="*/ 7181777 w 283807"/>
              <a:gd name="T53" fmla="*/ 5325168 h 286528"/>
              <a:gd name="T54" fmla="*/ 9297479 w 283807"/>
              <a:gd name="T55" fmla="*/ 4938329 h 286528"/>
              <a:gd name="T56" fmla="*/ 7904533 w 283807"/>
              <a:gd name="T57" fmla="*/ 8873965 h 286528"/>
              <a:gd name="T58" fmla="*/ 6761206 w 283807"/>
              <a:gd name="T59" fmla="*/ 10608360 h 286528"/>
              <a:gd name="T60" fmla="*/ 7365728 w 283807"/>
              <a:gd name="T61" fmla="*/ 7699936 h 286528"/>
              <a:gd name="T62" fmla="*/ 7444558 w 283807"/>
              <a:gd name="T63" fmla="*/ 6459188 h 286528"/>
              <a:gd name="T64" fmla="*/ 5828146 w 283807"/>
              <a:gd name="T65" fmla="*/ 4965017 h 286528"/>
              <a:gd name="T66" fmla="*/ 3191539 w 283807"/>
              <a:gd name="T67" fmla="*/ 5380673 h 286528"/>
              <a:gd name="T68" fmla="*/ 4881542 w 283807"/>
              <a:gd name="T69" fmla="*/ 5783795 h 286528"/>
              <a:gd name="T70" fmla="*/ 2038717 w 283807"/>
              <a:gd name="T71" fmla="*/ 6025737 h 286528"/>
              <a:gd name="T72" fmla="*/ 3584567 w 283807"/>
              <a:gd name="T73" fmla="*/ 8108662 h 286528"/>
              <a:gd name="T74" fmla="*/ 3492882 w 283807"/>
              <a:gd name="T75" fmla="*/ 10608257 h 286528"/>
              <a:gd name="T76" fmla="*/ 1514692 w 283807"/>
              <a:gd name="T77" fmla="*/ 8888139 h 286528"/>
              <a:gd name="T78" fmla="*/ 1698156 w 283807"/>
              <a:gd name="T79" fmla="*/ 4843078 h 286528"/>
              <a:gd name="T80" fmla="*/ 8641862 w 283807"/>
              <a:gd name="T81" fmla="*/ 4239087 h 286528"/>
              <a:gd name="T82" fmla="*/ 8968600 w 283807"/>
              <a:gd name="T83" fmla="*/ 3361935 h 286528"/>
              <a:gd name="T84" fmla="*/ 1224675 w 283807"/>
              <a:gd name="T85" fmla="*/ 4347130 h 286528"/>
              <a:gd name="T86" fmla="*/ 1342334 w 283807"/>
              <a:gd name="T87" fmla="*/ 3361935 h 286528"/>
              <a:gd name="T88" fmla="*/ 9164573 w 283807"/>
              <a:gd name="T89" fmla="*/ 4671004 h 286528"/>
              <a:gd name="T90" fmla="*/ 8772574 w 283807"/>
              <a:gd name="T91" fmla="*/ 3064973 h 286528"/>
              <a:gd name="T92" fmla="*/ 1342334 w 283807"/>
              <a:gd name="T93" fmla="*/ 4697987 h 286528"/>
              <a:gd name="T94" fmla="*/ 1538280 w 283807"/>
              <a:gd name="T95" fmla="*/ 3064973 h 286528"/>
              <a:gd name="T96" fmla="*/ 5286808 w 283807"/>
              <a:gd name="T97" fmla="*/ 2944175 h 286528"/>
              <a:gd name="T98" fmla="*/ 4204825 w 283807"/>
              <a:gd name="T99" fmla="*/ 1837184 h 286528"/>
              <a:gd name="T100" fmla="*/ 3445345 w 283807"/>
              <a:gd name="T101" fmla="*/ 42384 h 286528"/>
              <a:gd name="T102" fmla="*/ 3603209 w 283807"/>
              <a:gd name="T103" fmla="*/ 364464 h 286528"/>
              <a:gd name="T104" fmla="*/ 5155409 w 283807"/>
              <a:gd name="T105" fmla="*/ 4309059 h 286528"/>
              <a:gd name="T106" fmla="*/ 6707605 w 283807"/>
              <a:gd name="T107" fmla="*/ 2524558 h 286528"/>
              <a:gd name="T108" fmla="*/ 6852260 w 283807"/>
              <a:gd name="T109" fmla="*/ 3839433 h 286528"/>
              <a:gd name="T110" fmla="*/ 5037024 w 283807"/>
              <a:gd name="T111" fmla="*/ 4644400 h 286528"/>
              <a:gd name="T112" fmla="*/ 3287561 w 283807"/>
              <a:gd name="T113" fmla="*/ 190006 h 2865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83807" h="286528">
                <a:moveTo>
                  <a:pt x="72210" y="186878"/>
                </a:moveTo>
                <a:lnTo>
                  <a:pt x="210007" y="186878"/>
                </a:lnTo>
                <a:cubicBezTo>
                  <a:pt x="212160" y="186878"/>
                  <a:pt x="213954" y="188681"/>
                  <a:pt x="213954" y="191204"/>
                </a:cubicBezTo>
                <a:cubicBezTo>
                  <a:pt x="213954" y="193368"/>
                  <a:pt x="212160" y="195531"/>
                  <a:pt x="210007" y="195531"/>
                </a:cubicBezTo>
                <a:lnTo>
                  <a:pt x="145415" y="195531"/>
                </a:lnTo>
                <a:lnTo>
                  <a:pt x="145415" y="280256"/>
                </a:lnTo>
                <a:cubicBezTo>
                  <a:pt x="145415" y="282779"/>
                  <a:pt x="143621" y="284943"/>
                  <a:pt x="141109" y="284943"/>
                </a:cubicBezTo>
                <a:cubicBezTo>
                  <a:pt x="138597" y="284943"/>
                  <a:pt x="136803" y="282779"/>
                  <a:pt x="136803" y="280256"/>
                </a:cubicBezTo>
                <a:lnTo>
                  <a:pt x="136803" y="195531"/>
                </a:lnTo>
                <a:lnTo>
                  <a:pt x="72210" y="195531"/>
                </a:lnTo>
                <a:cubicBezTo>
                  <a:pt x="70057" y="195531"/>
                  <a:pt x="68263" y="193368"/>
                  <a:pt x="68263" y="191204"/>
                </a:cubicBezTo>
                <a:cubicBezTo>
                  <a:pt x="68263" y="188681"/>
                  <a:pt x="70057" y="186878"/>
                  <a:pt x="72210" y="186878"/>
                </a:cubicBezTo>
                <a:close/>
                <a:moveTo>
                  <a:pt x="279530" y="182115"/>
                </a:moveTo>
                <a:cubicBezTo>
                  <a:pt x="281669" y="182115"/>
                  <a:pt x="283807" y="184290"/>
                  <a:pt x="283807" y="186466"/>
                </a:cubicBezTo>
                <a:lnTo>
                  <a:pt x="283807" y="281814"/>
                </a:lnTo>
                <a:cubicBezTo>
                  <a:pt x="283807" y="284352"/>
                  <a:pt x="281669" y="286528"/>
                  <a:pt x="279530" y="286528"/>
                </a:cubicBezTo>
                <a:cubicBezTo>
                  <a:pt x="277036" y="286528"/>
                  <a:pt x="275254" y="284352"/>
                  <a:pt x="275254" y="281814"/>
                </a:cubicBezTo>
                <a:lnTo>
                  <a:pt x="275254" y="256436"/>
                </a:lnTo>
                <a:lnTo>
                  <a:pt x="249238" y="256436"/>
                </a:lnTo>
                <a:lnTo>
                  <a:pt x="249238" y="281814"/>
                </a:lnTo>
                <a:cubicBezTo>
                  <a:pt x="249238" y="284352"/>
                  <a:pt x="247100" y="286528"/>
                  <a:pt x="244961" y="286528"/>
                </a:cubicBezTo>
                <a:cubicBezTo>
                  <a:pt x="242467" y="286528"/>
                  <a:pt x="240685" y="284352"/>
                  <a:pt x="240685" y="281814"/>
                </a:cubicBezTo>
                <a:lnTo>
                  <a:pt x="240685" y="256436"/>
                </a:lnTo>
                <a:lnTo>
                  <a:pt x="236052" y="256436"/>
                </a:lnTo>
                <a:cubicBezTo>
                  <a:pt x="233914" y="256436"/>
                  <a:pt x="231775" y="254261"/>
                  <a:pt x="231775" y="251723"/>
                </a:cubicBezTo>
                <a:cubicBezTo>
                  <a:pt x="231775" y="249548"/>
                  <a:pt x="233914" y="247735"/>
                  <a:pt x="236052" y="247735"/>
                </a:cubicBezTo>
                <a:lnTo>
                  <a:pt x="275254" y="247735"/>
                </a:lnTo>
                <a:lnTo>
                  <a:pt x="275254" y="186466"/>
                </a:lnTo>
                <a:cubicBezTo>
                  <a:pt x="275254" y="184290"/>
                  <a:pt x="277036" y="182115"/>
                  <a:pt x="279530" y="182115"/>
                </a:cubicBezTo>
                <a:close/>
                <a:moveTo>
                  <a:pt x="4306" y="182115"/>
                </a:moveTo>
                <a:cubicBezTo>
                  <a:pt x="6817" y="182115"/>
                  <a:pt x="8611" y="184290"/>
                  <a:pt x="8611" y="186466"/>
                </a:cubicBezTo>
                <a:lnTo>
                  <a:pt x="8611" y="247735"/>
                </a:lnTo>
                <a:lnTo>
                  <a:pt x="48082" y="247735"/>
                </a:lnTo>
                <a:cubicBezTo>
                  <a:pt x="50235" y="247735"/>
                  <a:pt x="52029" y="249548"/>
                  <a:pt x="52029" y="251723"/>
                </a:cubicBezTo>
                <a:cubicBezTo>
                  <a:pt x="52029" y="254261"/>
                  <a:pt x="50235" y="256436"/>
                  <a:pt x="48082" y="256436"/>
                </a:cubicBezTo>
                <a:lnTo>
                  <a:pt x="43417" y="256436"/>
                </a:lnTo>
                <a:lnTo>
                  <a:pt x="43417" y="281814"/>
                </a:lnTo>
                <a:cubicBezTo>
                  <a:pt x="43417" y="284352"/>
                  <a:pt x="41623" y="286528"/>
                  <a:pt x="39111" y="286528"/>
                </a:cubicBezTo>
                <a:cubicBezTo>
                  <a:pt x="36958" y="286528"/>
                  <a:pt x="34805" y="284352"/>
                  <a:pt x="34805" y="281814"/>
                </a:cubicBezTo>
                <a:lnTo>
                  <a:pt x="34805" y="256436"/>
                </a:lnTo>
                <a:lnTo>
                  <a:pt x="8611" y="256436"/>
                </a:lnTo>
                <a:lnTo>
                  <a:pt x="8611" y="281814"/>
                </a:lnTo>
                <a:cubicBezTo>
                  <a:pt x="8611" y="284352"/>
                  <a:pt x="6817" y="286528"/>
                  <a:pt x="4306" y="286528"/>
                </a:cubicBezTo>
                <a:cubicBezTo>
                  <a:pt x="1794" y="286528"/>
                  <a:pt x="0" y="284352"/>
                  <a:pt x="0" y="281814"/>
                </a:cubicBezTo>
                <a:lnTo>
                  <a:pt x="0" y="186466"/>
                </a:lnTo>
                <a:cubicBezTo>
                  <a:pt x="0" y="184290"/>
                  <a:pt x="1794" y="182115"/>
                  <a:pt x="4306" y="182115"/>
                </a:cubicBezTo>
                <a:close/>
                <a:moveTo>
                  <a:pt x="47822" y="138391"/>
                </a:moveTo>
                <a:lnTo>
                  <a:pt x="30153" y="140196"/>
                </a:lnTo>
                <a:cubicBezTo>
                  <a:pt x="26187" y="140557"/>
                  <a:pt x="22942" y="144167"/>
                  <a:pt x="23302" y="148137"/>
                </a:cubicBezTo>
                <a:lnTo>
                  <a:pt x="25826" y="214915"/>
                </a:lnTo>
                <a:cubicBezTo>
                  <a:pt x="26187" y="223578"/>
                  <a:pt x="33038" y="230437"/>
                  <a:pt x="41331" y="229715"/>
                </a:cubicBezTo>
                <a:lnTo>
                  <a:pt x="67293" y="229354"/>
                </a:lnTo>
                <a:lnTo>
                  <a:pt x="67654" y="229354"/>
                </a:lnTo>
                <a:cubicBezTo>
                  <a:pt x="73784" y="229354"/>
                  <a:pt x="79192" y="233324"/>
                  <a:pt x="80995" y="239100"/>
                </a:cubicBezTo>
                <a:lnTo>
                  <a:pt x="90010" y="271226"/>
                </a:lnTo>
                <a:cubicBezTo>
                  <a:pt x="90731" y="274113"/>
                  <a:pt x="93255" y="275918"/>
                  <a:pt x="96140" y="275918"/>
                </a:cubicBezTo>
                <a:lnTo>
                  <a:pt x="99024" y="275918"/>
                </a:lnTo>
                <a:cubicBezTo>
                  <a:pt x="101548" y="275918"/>
                  <a:pt x="103351" y="275196"/>
                  <a:pt x="104794" y="273391"/>
                </a:cubicBezTo>
                <a:cubicBezTo>
                  <a:pt x="106236" y="271586"/>
                  <a:pt x="106597" y="269060"/>
                  <a:pt x="105875" y="266894"/>
                </a:cubicBezTo>
                <a:lnTo>
                  <a:pt x="90370" y="220691"/>
                </a:lnTo>
                <a:cubicBezTo>
                  <a:pt x="89289" y="217081"/>
                  <a:pt x="86043" y="214915"/>
                  <a:pt x="82438" y="214915"/>
                </a:cubicBezTo>
                <a:lnTo>
                  <a:pt x="62966" y="214193"/>
                </a:lnTo>
                <a:cubicBezTo>
                  <a:pt x="55033" y="214193"/>
                  <a:pt x="48182" y="207696"/>
                  <a:pt x="48182" y="199394"/>
                </a:cubicBezTo>
                <a:lnTo>
                  <a:pt x="47461" y="156078"/>
                </a:lnTo>
                <a:cubicBezTo>
                  <a:pt x="47461" y="154635"/>
                  <a:pt x="48182" y="153552"/>
                  <a:pt x="49264" y="152469"/>
                </a:cubicBezTo>
                <a:cubicBezTo>
                  <a:pt x="50346" y="151747"/>
                  <a:pt x="51788" y="151386"/>
                  <a:pt x="53231" y="151747"/>
                </a:cubicBezTo>
                <a:lnTo>
                  <a:pt x="90010" y="163659"/>
                </a:lnTo>
                <a:cubicBezTo>
                  <a:pt x="91452" y="164020"/>
                  <a:pt x="92534" y="164020"/>
                  <a:pt x="93976" y="163659"/>
                </a:cubicBezTo>
                <a:lnTo>
                  <a:pt x="123544" y="154274"/>
                </a:lnTo>
                <a:cubicBezTo>
                  <a:pt x="124987" y="153913"/>
                  <a:pt x="126068" y="152830"/>
                  <a:pt x="126790" y="151747"/>
                </a:cubicBezTo>
                <a:cubicBezTo>
                  <a:pt x="127150" y="150664"/>
                  <a:pt x="127150" y="149220"/>
                  <a:pt x="126790" y="147776"/>
                </a:cubicBezTo>
                <a:cubicBezTo>
                  <a:pt x="125708" y="145249"/>
                  <a:pt x="123184" y="144167"/>
                  <a:pt x="120660" y="144528"/>
                </a:cubicBezTo>
                <a:lnTo>
                  <a:pt x="93616" y="153191"/>
                </a:lnTo>
                <a:cubicBezTo>
                  <a:pt x="90731" y="154274"/>
                  <a:pt x="87486" y="153913"/>
                  <a:pt x="84601" y="152830"/>
                </a:cubicBezTo>
                <a:lnTo>
                  <a:pt x="53591" y="139474"/>
                </a:lnTo>
                <a:cubicBezTo>
                  <a:pt x="51788" y="138752"/>
                  <a:pt x="49625" y="138391"/>
                  <a:pt x="47822" y="138391"/>
                </a:cubicBezTo>
                <a:close/>
                <a:moveTo>
                  <a:pt x="173802" y="137304"/>
                </a:moveTo>
                <a:cubicBezTo>
                  <a:pt x="171632" y="136229"/>
                  <a:pt x="168738" y="136587"/>
                  <a:pt x="167291" y="138737"/>
                </a:cubicBezTo>
                <a:cubicBezTo>
                  <a:pt x="166206" y="139812"/>
                  <a:pt x="165844" y="140887"/>
                  <a:pt x="166206" y="142321"/>
                </a:cubicBezTo>
                <a:cubicBezTo>
                  <a:pt x="166206" y="143754"/>
                  <a:pt x="166929" y="145187"/>
                  <a:pt x="168376" y="145546"/>
                </a:cubicBezTo>
                <a:lnTo>
                  <a:pt x="196951" y="165255"/>
                </a:lnTo>
                <a:cubicBezTo>
                  <a:pt x="198036" y="166330"/>
                  <a:pt x="199845" y="166330"/>
                  <a:pt x="201292" y="165613"/>
                </a:cubicBezTo>
                <a:lnTo>
                  <a:pt x="231675" y="153071"/>
                </a:lnTo>
                <a:cubicBezTo>
                  <a:pt x="232399" y="152713"/>
                  <a:pt x="232760" y="152713"/>
                  <a:pt x="233484" y="152713"/>
                </a:cubicBezTo>
                <a:cubicBezTo>
                  <a:pt x="234207" y="152713"/>
                  <a:pt x="234931" y="152713"/>
                  <a:pt x="236016" y="153071"/>
                </a:cubicBezTo>
                <a:cubicBezTo>
                  <a:pt x="237101" y="154146"/>
                  <a:pt x="237824" y="155580"/>
                  <a:pt x="237824" y="157013"/>
                </a:cubicBezTo>
                <a:lnTo>
                  <a:pt x="237101" y="200015"/>
                </a:lnTo>
                <a:cubicBezTo>
                  <a:pt x="237101" y="208257"/>
                  <a:pt x="230228" y="214708"/>
                  <a:pt x="221909" y="214708"/>
                </a:cubicBezTo>
                <a:lnTo>
                  <a:pt x="202739" y="215424"/>
                </a:lnTo>
                <a:cubicBezTo>
                  <a:pt x="199121" y="215424"/>
                  <a:pt x="195866" y="217575"/>
                  <a:pt x="194781" y="221158"/>
                </a:cubicBezTo>
                <a:lnTo>
                  <a:pt x="179227" y="267027"/>
                </a:lnTo>
                <a:cubicBezTo>
                  <a:pt x="178504" y="269177"/>
                  <a:pt x="178866" y="271686"/>
                  <a:pt x="180313" y="273477"/>
                </a:cubicBezTo>
                <a:cubicBezTo>
                  <a:pt x="181398" y="275269"/>
                  <a:pt x="183568" y="275986"/>
                  <a:pt x="186100" y="275986"/>
                </a:cubicBezTo>
                <a:lnTo>
                  <a:pt x="188632" y="275986"/>
                </a:lnTo>
                <a:cubicBezTo>
                  <a:pt x="191526" y="275986"/>
                  <a:pt x="194058" y="274194"/>
                  <a:pt x="195143" y="271327"/>
                </a:cubicBezTo>
                <a:lnTo>
                  <a:pt x="204185" y="239434"/>
                </a:lnTo>
                <a:cubicBezTo>
                  <a:pt x="205994" y="233700"/>
                  <a:pt x="211420" y="229758"/>
                  <a:pt x="217930" y="229758"/>
                </a:cubicBezTo>
                <a:lnTo>
                  <a:pt x="243612" y="230117"/>
                </a:lnTo>
                <a:cubicBezTo>
                  <a:pt x="252293" y="230834"/>
                  <a:pt x="259165" y="224025"/>
                  <a:pt x="259527" y="215424"/>
                </a:cubicBezTo>
                <a:lnTo>
                  <a:pt x="262059" y="149129"/>
                </a:lnTo>
                <a:cubicBezTo>
                  <a:pt x="262059" y="145187"/>
                  <a:pt x="259165" y="141604"/>
                  <a:pt x="255186" y="141246"/>
                </a:cubicBezTo>
                <a:lnTo>
                  <a:pt x="237463" y="139454"/>
                </a:lnTo>
                <a:cubicBezTo>
                  <a:pt x="235292" y="139454"/>
                  <a:pt x="233484" y="139812"/>
                  <a:pt x="231675" y="140529"/>
                </a:cubicBezTo>
                <a:lnTo>
                  <a:pt x="205632" y="151638"/>
                </a:lnTo>
                <a:cubicBezTo>
                  <a:pt x="201292" y="153071"/>
                  <a:pt x="196590" y="152713"/>
                  <a:pt x="192611" y="150204"/>
                </a:cubicBezTo>
                <a:lnTo>
                  <a:pt x="173802" y="137304"/>
                </a:lnTo>
                <a:close/>
                <a:moveTo>
                  <a:pt x="178866" y="130137"/>
                </a:moveTo>
                <a:lnTo>
                  <a:pt x="197675" y="143037"/>
                </a:lnTo>
                <a:cubicBezTo>
                  <a:pt x="198760" y="144112"/>
                  <a:pt x="200568" y="144112"/>
                  <a:pt x="202377" y="143754"/>
                </a:cubicBezTo>
                <a:lnTo>
                  <a:pt x="228058" y="132645"/>
                </a:lnTo>
                <a:cubicBezTo>
                  <a:pt x="231314" y="131212"/>
                  <a:pt x="234931" y="130853"/>
                  <a:pt x="238548" y="131212"/>
                </a:cubicBezTo>
                <a:lnTo>
                  <a:pt x="255910" y="132645"/>
                </a:lnTo>
                <a:cubicBezTo>
                  <a:pt x="264591" y="133362"/>
                  <a:pt x="271102" y="140887"/>
                  <a:pt x="270740" y="149129"/>
                </a:cubicBezTo>
                <a:lnTo>
                  <a:pt x="268208" y="215783"/>
                </a:lnTo>
                <a:cubicBezTo>
                  <a:pt x="267846" y="228683"/>
                  <a:pt x="256633" y="239434"/>
                  <a:pt x="243612" y="239076"/>
                </a:cubicBezTo>
                <a:lnTo>
                  <a:pt x="217569" y="238359"/>
                </a:lnTo>
                <a:cubicBezTo>
                  <a:pt x="215037" y="238359"/>
                  <a:pt x="213228" y="239792"/>
                  <a:pt x="212505" y="241942"/>
                </a:cubicBezTo>
                <a:lnTo>
                  <a:pt x="203462" y="273836"/>
                </a:lnTo>
                <a:cubicBezTo>
                  <a:pt x="201653" y="280286"/>
                  <a:pt x="195504" y="284945"/>
                  <a:pt x="188632" y="284945"/>
                </a:cubicBezTo>
                <a:lnTo>
                  <a:pt x="186100" y="284945"/>
                </a:lnTo>
                <a:cubicBezTo>
                  <a:pt x="180674" y="284945"/>
                  <a:pt x="176334" y="282436"/>
                  <a:pt x="173078" y="278136"/>
                </a:cubicBezTo>
                <a:cubicBezTo>
                  <a:pt x="170185" y="274194"/>
                  <a:pt x="169461" y="269177"/>
                  <a:pt x="171270" y="264519"/>
                </a:cubicBezTo>
                <a:lnTo>
                  <a:pt x="186462" y="218291"/>
                </a:lnTo>
                <a:cubicBezTo>
                  <a:pt x="188632" y="211483"/>
                  <a:pt x="195143" y="206824"/>
                  <a:pt x="202739" y="206824"/>
                </a:cubicBezTo>
                <a:lnTo>
                  <a:pt x="221909" y="206466"/>
                </a:lnTo>
                <a:cubicBezTo>
                  <a:pt x="225526" y="206107"/>
                  <a:pt x="228420" y="203599"/>
                  <a:pt x="228420" y="200015"/>
                </a:cubicBezTo>
                <a:lnTo>
                  <a:pt x="228782" y="163463"/>
                </a:lnTo>
                <a:lnTo>
                  <a:pt x="204909" y="173497"/>
                </a:lnTo>
                <a:cubicBezTo>
                  <a:pt x="200568" y="175289"/>
                  <a:pt x="195866" y="174931"/>
                  <a:pt x="191887" y="172422"/>
                </a:cubicBezTo>
                <a:lnTo>
                  <a:pt x="163312" y="152713"/>
                </a:lnTo>
                <a:cubicBezTo>
                  <a:pt x="160419" y="150921"/>
                  <a:pt x="158248" y="147337"/>
                  <a:pt x="157525" y="143754"/>
                </a:cubicBezTo>
                <a:cubicBezTo>
                  <a:pt x="157163" y="140170"/>
                  <a:pt x="158248" y="136587"/>
                  <a:pt x="160419" y="133362"/>
                </a:cubicBezTo>
                <a:cubicBezTo>
                  <a:pt x="164759" y="127628"/>
                  <a:pt x="172717" y="126553"/>
                  <a:pt x="178866" y="130137"/>
                </a:cubicBezTo>
                <a:close/>
                <a:moveTo>
                  <a:pt x="46740" y="130089"/>
                </a:moveTo>
                <a:cubicBezTo>
                  <a:pt x="50346" y="129728"/>
                  <a:pt x="53591" y="130089"/>
                  <a:pt x="56836" y="131533"/>
                </a:cubicBezTo>
                <a:lnTo>
                  <a:pt x="87846" y="144528"/>
                </a:lnTo>
                <a:cubicBezTo>
                  <a:pt x="88928" y="144889"/>
                  <a:pt x="90010" y="145249"/>
                  <a:pt x="91452" y="144889"/>
                </a:cubicBezTo>
                <a:lnTo>
                  <a:pt x="118136" y="136225"/>
                </a:lnTo>
                <a:cubicBezTo>
                  <a:pt x="124987" y="134421"/>
                  <a:pt x="132198" y="138030"/>
                  <a:pt x="135083" y="144528"/>
                </a:cubicBezTo>
                <a:cubicBezTo>
                  <a:pt x="136165" y="148137"/>
                  <a:pt x="135804" y="152108"/>
                  <a:pt x="134362" y="155356"/>
                </a:cubicBezTo>
                <a:cubicBezTo>
                  <a:pt x="132919" y="158966"/>
                  <a:pt x="129674" y="161493"/>
                  <a:pt x="126068" y="162576"/>
                </a:cubicBezTo>
                <a:lnTo>
                  <a:pt x="96861" y="171961"/>
                </a:lnTo>
                <a:cubicBezTo>
                  <a:pt x="93616" y="172683"/>
                  <a:pt x="90370" y="172683"/>
                  <a:pt x="87486" y="171961"/>
                </a:cubicBezTo>
                <a:lnTo>
                  <a:pt x="56115" y="161854"/>
                </a:lnTo>
                <a:lnTo>
                  <a:pt x="56836" y="199394"/>
                </a:lnTo>
                <a:cubicBezTo>
                  <a:pt x="56836" y="203004"/>
                  <a:pt x="59721" y="205530"/>
                  <a:pt x="63327" y="205891"/>
                </a:cubicBezTo>
                <a:lnTo>
                  <a:pt x="82438" y="206252"/>
                </a:lnTo>
                <a:cubicBezTo>
                  <a:pt x="89649" y="206252"/>
                  <a:pt x="96140" y="210945"/>
                  <a:pt x="98664" y="217803"/>
                </a:cubicBezTo>
                <a:lnTo>
                  <a:pt x="113808" y="264367"/>
                </a:lnTo>
                <a:cubicBezTo>
                  <a:pt x="115612" y="269060"/>
                  <a:pt x="114890" y="274113"/>
                  <a:pt x="111645" y="278084"/>
                </a:cubicBezTo>
                <a:cubicBezTo>
                  <a:pt x="108760" y="282415"/>
                  <a:pt x="104072" y="284942"/>
                  <a:pt x="99024" y="284942"/>
                </a:cubicBezTo>
                <a:lnTo>
                  <a:pt x="96140" y="284942"/>
                </a:lnTo>
                <a:cubicBezTo>
                  <a:pt x="89649" y="284942"/>
                  <a:pt x="83519" y="280250"/>
                  <a:pt x="81716" y="273752"/>
                </a:cubicBezTo>
                <a:lnTo>
                  <a:pt x="72702" y="241627"/>
                </a:lnTo>
                <a:cubicBezTo>
                  <a:pt x="71981" y="239461"/>
                  <a:pt x="70178" y="238017"/>
                  <a:pt x="67654" y="238017"/>
                </a:cubicBezTo>
                <a:lnTo>
                  <a:pt x="41692" y="238739"/>
                </a:lnTo>
                <a:cubicBezTo>
                  <a:pt x="28711" y="239100"/>
                  <a:pt x="17533" y="228271"/>
                  <a:pt x="17172" y="215276"/>
                </a:cubicBezTo>
                <a:lnTo>
                  <a:pt x="14648" y="148137"/>
                </a:lnTo>
                <a:cubicBezTo>
                  <a:pt x="14288" y="139835"/>
                  <a:pt x="20778" y="132255"/>
                  <a:pt x="29432" y="131533"/>
                </a:cubicBezTo>
                <a:lnTo>
                  <a:pt x="46740" y="130089"/>
                </a:lnTo>
                <a:close/>
                <a:moveTo>
                  <a:pt x="246857" y="90303"/>
                </a:moveTo>
                <a:cubicBezTo>
                  <a:pt x="245418" y="90303"/>
                  <a:pt x="244699" y="90303"/>
                  <a:pt x="243260" y="91028"/>
                </a:cubicBezTo>
                <a:cubicBezTo>
                  <a:pt x="238225" y="92115"/>
                  <a:pt x="234269" y="96828"/>
                  <a:pt x="233549" y="101903"/>
                </a:cubicBezTo>
                <a:cubicBezTo>
                  <a:pt x="232830" y="106253"/>
                  <a:pt x="234269" y="110965"/>
                  <a:pt x="237865" y="113865"/>
                </a:cubicBezTo>
                <a:cubicBezTo>
                  <a:pt x="241102" y="116765"/>
                  <a:pt x="245418" y="118215"/>
                  <a:pt x="250094" y="116765"/>
                </a:cubicBezTo>
                <a:cubicBezTo>
                  <a:pt x="255129" y="115678"/>
                  <a:pt x="259085" y="111328"/>
                  <a:pt x="259805" y="105890"/>
                </a:cubicBezTo>
                <a:cubicBezTo>
                  <a:pt x="260524" y="101178"/>
                  <a:pt x="259085" y="96828"/>
                  <a:pt x="255489" y="93928"/>
                </a:cubicBezTo>
                <a:cubicBezTo>
                  <a:pt x="253331" y="91390"/>
                  <a:pt x="250094" y="90303"/>
                  <a:pt x="246857" y="90303"/>
                </a:cubicBezTo>
                <a:close/>
                <a:moveTo>
                  <a:pt x="36947" y="90303"/>
                </a:moveTo>
                <a:cubicBezTo>
                  <a:pt x="33710" y="90303"/>
                  <a:pt x="30473" y="91390"/>
                  <a:pt x="28315" y="93928"/>
                </a:cubicBezTo>
                <a:cubicBezTo>
                  <a:pt x="24718" y="96828"/>
                  <a:pt x="22920" y="101178"/>
                  <a:pt x="23639" y="105890"/>
                </a:cubicBezTo>
                <a:cubicBezTo>
                  <a:pt x="24718" y="111328"/>
                  <a:pt x="28674" y="115678"/>
                  <a:pt x="33710" y="116765"/>
                </a:cubicBezTo>
                <a:cubicBezTo>
                  <a:pt x="38026" y="118215"/>
                  <a:pt x="42701" y="116765"/>
                  <a:pt x="45938" y="113865"/>
                </a:cubicBezTo>
                <a:cubicBezTo>
                  <a:pt x="49175" y="110965"/>
                  <a:pt x="50973" y="106253"/>
                  <a:pt x="50254" y="101903"/>
                </a:cubicBezTo>
                <a:cubicBezTo>
                  <a:pt x="49535" y="96828"/>
                  <a:pt x="45579" y="92115"/>
                  <a:pt x="40543" y="91028"/>
                </a:cubicBezTo>
                <a:cubicBezTo>
                  <a:pt x="39105" y="90303"/>
                  <a:pt x="38026" y="90303"/>
                  <a:pt x="36947" y="90303"/>
                </a:cubicBezTo>
                <a:close/>
                <a:moveTo>
                  <a:pt x="241462" y="82328"/>
                </a:moveTo>
                <a:cubicBezTo>
                  <a:pt x="248655" y="80515"/>
                  <a:pt x="255848" y="82690"/>
                  <a:pt x="261603" y="87403"/>
                </a:cubicBezTo>
                <a:cubicBezTo>
                  <a:pt x="266638" y="92478"/>
                  <a:pt x="269516" y="99728"/>
                  <a:pt x="268437" y="106978"/>
                </a:cubicBezTo>
                <a:cubicBezTo>
                  <a:pt x="266998" y="116040"/>
                  <a:pt x="260524" y="123291"/>
                  <a:pt x="252252" y="125466"/>
                </a:cubicBezTo>
                <a:cubicBezTo>
                  <a:pt x="250453" y="125828"/>
                  <a:pt x="248655" y="126191"/>
                  <a:pt x="246857" y="126191"/>
                </a:cubicBezTo>
                <a:cubicBezTo>
                  <a:pt x="241462" y="126191"/>
                  <a:pt x="236067" y="124016"/>
                  <a:pt x="231751" y="120390"/>
                </a:cubicBezTo>
                <a:cubicBezTo>
                  <a:pt x="226716" y="115315"/>
                  <a:pt x="223838" y="108065"/>
                  <a:pt x="224917" y="100815"/>
                </a:cubicBezTo>
                <a:cubicBezTo>
                  <a:pt x="226356" y="92115"/>
                  <a:pt x="232830" y="84503"/>
                  <a:pt x="241462" y="82328"/>
                </a:cubicBezTo>
                <a:close/>
                <a:moveTo>
                  <a:pt x="42342" y="82328"/>
                </a:moveTo>
                <a:cubicBezTo>
                  <a:pt x="50973" y="84503"/>
                  <a:pt x="57447" y="92115"/>
                  <a:pt x="58886" y="100815"/>
                </a:cubicBezTo>
                <a:cubicBezTo>
                  <a:pt x="59965" y="108065"/>
                  <a:pt x="57088" y="115315"/>
                  <a:pt x="51693" y="120390"/>
                </a:cubicBezTo>
                <a:cubicBezTo>
                  <a:pt x="47737" y="124016"/>
                  <a:pt x="42342" y="126191"/>
                  <a:pt x="36947" y="126191"/>
                </a:cubicBezTo>
                <a:cubicBezTo>
                  <a:pt x="35148" y="126191"/>
                  <a:pt x="33350" y="125828"/>
                  <a:pt x="31552" y="125466"/>
                </a:cubicBezTo>
                <a:cubicBezTo>
                  <a:pt x="22920" y="123291"/>
                  <a:pt x="16446" y="116040"/>
                  <a:pt x="15367" y="106978"/>
                </a:cubicBezTo>
                <a:cubicBezTo>
                  <a:pt x="14288" y="99728"/>
                  <a:pt x="16805" y="92478"/>
                  <a:pt x="22200" y="87403"/>
                </a:cubicBezTo>
                <a:cubicBezTo>
                  <a:pt x="27595" y="82690"/>
                  <a:pt x="35148" y="80515"/>
                  <a:pt x="42342" y="82328"/>
                </a:cubicBezTo>
                <a:close/>
                <a:moveTo>
                  <a:pt x="210822" y="1344"/>
                </a:moveTo>
                <a:cubicBezTo>
                  <a:pt x="212617" y="-447"/>
                  <a:pt x="215487" y="-447"/>
                  <a:pt x="216922" y="1344"/>
                </a:cubicBezTo>
                <a:cubicBezTo>
                  <a:pt x="218716" y="3135"/>
                  <a:pt x="218716" y="5643"/>
                  <a:pt x="216922" y="7434"/>
                </a:cubicBezTo>
                <a:lnTo>
                  <a:pt x="145517" y="79082"/>
                </a:lnTo>
                <a:cubicBezTo>
                  <a:pt x="144441" y="79799"/>
                  <a:pt x="143365" y="80157"/>
                  <a:pt x="142288" y="80157"/>
                </a:cubicBezTo>
                <a:cubicBezTo>
                  <a:pt x="141212" y="80157"/>
                  <a:pt x="140135" y="79799"/>
                  <a:pt x="139418" y="79082"/>
                </a:cubicBezTo>
                <a:lnTo>
                  <a:pt x="115736" y="55797"/>
                </a:lnTo>
                <a:cubicBezTo>
                  <a:pt x="114300" y="54005"/>
                  <a:pt x="114300" y="51139"/>
                  <a:pt x="115736" y="49348"/>
                </a:cubicBezTo>
                <a:cubicBezTo>
                  <a:pt x="117530" y="47915"/>
                  <a:pt x="120400" y="47915"/>
                  <a:pt x="121835" y="49348"/>
                </a:cubicBezTo>
                <a:lnTo>
                  <a:pt x="142288" y="70126"/>
                </a:lnTo>
                <a:lnTo>
                  <a:pt x="210822" y="1344"/>
                </a:lnTo>
                <a:close/>
                <a:moveTo>
                  <a:pt x="94832" y="1140"/>
                </a:moveTo>
                <a:lnTo>
                  <a:pt x="177383" y="1140"/>
                </a:lnTo>
                <a:cubicBezTo>
                  <a:pt x="179555" y="1140"/>
                  <a:pt x="181727" y="2942"/>
                  <a:pt x="181727" y="5104"/>
                </a:cubicBezTo>
                <a:cubicBezTo>
                  <a:pt x="181727" y="7627"/>
                  <a:pt x="179555" y="9789"/>
                  <a:pt x="177383" y="9789"/>
                </a:cubicBezTo>
                <a:lnTo>
                  <a:pt x="99177" y="9789"/>
                </a:lnTo>
                <a:lnTo>
                  <a:pt x="99177" y="94479"/>
                </a:lnTo>
                <a:lnTo>
                  <a:pt x="118367" y="94479"/>
                </a:lnTo>
                <a:cubicBezTo>
                  <a:pt x="119453" y="94479"/>
                  <a:pt x="120539" y="94839"/>
                  <a:pt x="121263" y="95560"/>
                </a:cubicBezTo>
                <a:lnTo>
                  <a:pt x="141901" y="115742"/>
                </a:lnTo>
                <a:lnTo>
                  <a:pt x="162538" y="95560"/>
                </a:lnTo>
                <a:cubicBezTo>
                  <a:pt x="162900" y="94839"/>
                  <a:pt x="164348" y="94479"/>
                  <a:pt x="165435" y="94479"/>
                </a:cubicBezTo>
                <a:lnTo>
                  <a:pt x="184624" y="94479"/>
                </a:lnTo>
                <a:lnTo>
                  <a:pt x="184624" y="67811"/>
                </a:lnTo>
                <a:cubicBezTo>
                  <a:pt x="184624" y="65648"/>
                  <a:pt x="186434" y="63847"/>
                  <a:pt x="188606" y="63847"/>
                </a:cubicBezTo>
                <a:cubicBezTo>
                  <a:pt x="191141" y="63847"/>
                  <a:pt x="193313" y="65648"/>
                  <a:pt x="193313" y="67811"/>
                </a:cubicBezTo>
                <a:lnTo>
                  <a:pt x="193313" y="98804"/>
                </a:lnTo>
                <a:cubicBezTo>
                  <a:pt x="193313" y="100966"/>
                  <a:pt x="191141" y="103128"/>
                  <a:pt x="188606" y="103128"/>
                </a:cubicBezTo>
                <a:lnTo>
                  <a:pt x="167245" y="103128"/>
                </a:lnTo>
                <a:lnTo>
                  <a:pt x="144797" y="124751"/>
                </a:lnTo>
                <a:cubicBezTo>
                  <a:pt x="144073" y="125832"/>
                  <a:pt x="142987" y="126193"/>
                  <a:pt x="141901" y="126193"/>
                </a:cubicBezTo>
                <a:cubicBezTo>
                  <a:pt x="140815" y="126193"/>
                  <a:pt x="139728" y="125832"/>
                  <a:pt x="138642" y="124751"/>
                </a:cubicBezTo>
                <a:lnTo>
                  <a:pt x="116557" y="103128"/>
                </a:lnTo>
                <a:lnTo>
                  <a:pt x="94832" y="103128"/>
                </a:lnTo>
                <a:cubicBezTo>
                  <a:pt x="92298" y="103128"/>
                  <a:pt x="90488" y="100966"/>
                  <a:pt x="90488" y="98804"/>
                </a:cubicBezTo>
                <a:lnTo>
                  <a:pt x="90488" y="5104"/>
                </a:lnTo>
                <a:cubicBezTo>
                  <a:pt x="90488" y="2942"/>
                  <a:pt x="92298" y="1140"/>
                  <a:pt x="94832" y="1140"/>
                </a:cubicBezTo>
                <a:close/>
              </a:path>
            </a:pathLst>
          </a:custGeom>
          <a:solidFill>
            <a:schemeClr val="bg1"/>
          </a:solidFill>
          <a:ln>
            <a:noFill/>
          </a:ln>
        </p:spPr>
        <p:txBody>
          <a:bodyPr anchor="ctr"/>
          <a:lstStyle/>
          <a:p>
            <a:endParaRPr lang="en-GB" sz="1400" dirty="0">
              <a:latin typeface="+mj-lt"/>
            </a:endParaRPr>
          </a:p>
        </p:txBody>
      </p:sp>
      <p:sp>
        <p:nvSpPr>
          <p:cNvPr id="46" name="Freeform 952">
            <a:extLst>
              <a:ext uri="{FF2B5EF4-FFF2-40B4-BE49-F238E27FC236}">
                <a16:creationId xmlns:a16="http://schemas.microsoft.com/office/drawing/2014/main" xmlns="" id="{7B4E797D-13EB-497C-9852-D544CBEEC493}"/>
              </a:ext>
            </a:extLst>
          </p:cNvPr>
          <p:cNvSpPr>
            <a:spLocks noChangeAspect="1"/>
          </p:cNvSpPr>
          <p:nvPr/>
        </p:nvSpPr>
        <p:spPr bwMode="auto">
          <a:xfrm>
            <a:off x="6150342" y="3716355"/>
            <a:ext cx="409805" cy="408548"/>
          </a:xfrm>
          <a:custGeom>
            <a:avLst/>
            <a:gdLst>
              <a:gd name="T0" fmla="*/ 4634450 w 285390"/>
              <a:gd name="T1" fmla="*/ 8255285 h 283806"/>
              <a:gd name="T2" fmla="*/ 5549597 w 285390"/>
              <a:gd name="T3" fmla="*/ 8255285 h 283806"/>
              <a:gd name="T4" fmla="*/ 5965497 w 285390"/>
              <a:gd name="T5" fmla="*/ 7094344 h 283806"/>
              <a:gd name="T6" fmla="*/ 10240788 w 285390"/>
              <a:gd name="T7" fmla="*/ 7252865 h 283806"/>
              <a:gd name="T8" fmla="*/ 10085828 w 285390"/>
              <a:gd name="T9" fmla="*/ 9445861 h 283806"/>
              <a:gd name="T10" fmla="*/ 5810463 w 285390"/>
              <a:gd name="T11" fmla="*/ 9287375 h 283806"/>
              <a:gd name="T12" fmla="*/ 9930802 w 285390"/>
              <a:gd name="T13" fmla="*/ 9115627 h 283806"/>
              <a:gd name="T14" fmla="*/ 5965497 w 285390"/>
              <a:gd name="T15" fmla="*/ 7411407 h 283806"/>
              <a:gd name="T16" fmla="*/ 5965497 w 285390"/>
              <a:gd name="T17" fmla="*/ 7094344 h 283806"/>
              <a:gd name="T18" fmla="*/ 4275329 w 285390"/>
              <a:gd name="T19" fmla="*/ 7094344 h 283806"/>
              <a:gd name="T20" fmla="*/ 4275329 w 285390"/>
              <a:gd name="T21" fmla="*/ 7405634 h 283806"/>
              <a:gd name="T22" fmla="*/ 310002 w 285390"/>
              <a:gd name="T23" fmla="*/ 9870270 h 283806"/>
              <a:gd name="T24" fmla="*/ 1601633 w 285390"/>
              <a:gd name="T25" fmla="*/ 9078976 h 283806"/>
              <a:gd name="T26" fmla="*/ 4430371 w 285390"/>
              <a:gd name="T27" fmla="*/ 9247632 h 283806"/>
              <a:gd name="T28" fmla="*/ 1640423 w 285390"/>
              <a:gd name="T29" fmla="*/ 9403315 h 283806"/>
              <a:gd name="T30" fmla="*/ 154871 w 285390"/>
              <a:gd name="T31" fmla="*/ 10311277 h 283806"/>
              <a:gd name="T32" fmla="*/ 0 w 285390"/>
              <a:gd name="T33" fmla="*/ 10142663 h 283806"/>
              <a:gd name="T34" fmla="*/ 154871 w 285390"/>
              <a:gd name="T35" fmla="*/ 7094344 h 283806"/>
              <a:gd name="T36" fmla="*/ 4634450 w 285390"/>
              <a:gd name="T37" fmla="*/ 4700712 h 283806"/>
              <a:gd name="T38" fmla="*/ 5549597 w 285390"/>
              <a:gd name="T39" fmla="*/ 4700712 h 283806"/>
              <a:gd name="T40" fmla="*/ 5965497 w 285390"/>
              <a:gd name="T41" fmla="*/ 3518331 h 283806"/>
              <a:gd name="T42" fmla="*/ 10240788 w 285390"/>
              <a:gd name="T43" fmla="*/ 3674670 h 283806"/>
              <a:gd name="T44" fmla="*/ 10163348 w 285390"/>
              <a:gd name="T45" fmla="*/ 6722233 h 283806"/>
              <a:gd name="T46" fmla="*/ 10008336 w 285390"/>
              <a:gd name="T47" fmla="*/ 6722233 h 283806"/>
              <a:gd name="T48" fmla="*/ 5965497 w 285390"/>
              <a:gd name="T49" fmla="*/ 5823564 h 283806"/>
              <a:gd name="T50" fmla="*/ 5965497 w 285390"/>
              <a:gd name="T51" fmla="*/ 5511003 h 283806"/>
              <a:gd name="T52" fmla="*/ 8716652 w 285390"/>
              <a:gd name="T53" fmla="*/ 5550103 h 283806"/>
              <a:gd name="T54" fmla="*/ 9930802 w 285390"/>
              <a:gd name="T55" fmla="*/ 3830906 h 283806"/>
              <a:gd name="T56" fmla="*/ 5810463 w 285390"/>
              <a:gd name="T57" fmla="*/ 3674670 h 283806"/>
              <a:gd name="T58" fmla="*/ 154871 w 285390"/>
              <a:gd name="T59" fmla="*/ 3518331 h 283806"/>
              <a:gd name="T60" fmla="*/ 4430371 w 285390"/>
              <a:gd name="T61" fmla="*/ 3673870 h 283806"/>
              <a:gd name="T62" fmla="*/ 310002 w 285390"/>
              <a:gd name="T63" fmla="*/ 3829444 h 283806"/>
              <a:gd name="T64" fmla="*/ 4275329 w 285390"/>
              <a:gd name="T65" fmla="*/ 5501412 h 283806"/>
              <a:gd name="T66" fmla="*/ 4275329 w 285390"/>
              <a:gd name="T67" fmla="*/ 5812467 h 283806"/>
              <a:gd name="T68" fmla="*/ 0 w 285390"/>
              <a:gd name="T69" fmla="*/ 5669922 h 283806"/>
              <a:gd name="T70" fmla="*/ 154871 w 285390"/>
              <a:gd name="T71" fmla="*/ 3518331 h 283806"/>
              <a:gd name="T72" fmla="*/ 4634450 w 285390"/>
              <a:gd name="T73" fmla="*/ 1132978 h 283806"/>
              <a:gd name="T74" fmla="*/ 5549597 w 285390"/>
              <a:gd name="T75" fmla="*/ 1132978 h 283806"/>
              <a:gd name="T76" fmla="*/ 5091992 w 285390"/>
              <a:gd name="T77" fmla="*/ 346063 h 283806"/>
              <a:gd name="T78" fmla="*/ 5244574 w 285390"/>
              <a:gd name="T79" fmla="*/ 1906894 h 283806"/>
              <a:gd name="T80" fmla="*/ 5854700 w 285390"/>
              <a:gd name="T81" fmla="*/ 4700712 h 283806"/>
              <a:gd name="T82" fmla="*/ 5244574 w 285390"/>
              <a:gd name="T83" fmla="*/ 7481401 h 283806"/>
              <a:gd name="T84" fmla="*/ 5091992 w 285390"/>
              <a:gd name="T85" fmla="*/ 9042245 h 283806"/>
              <a:gd name="T86" fmla="*/ 4939516 w 285390"/>
              <a:gd name="T87" fmla="*/ 7481401 h 283806"/>
              <a:gd name="T88" fmla="*/ 4329355 w 285390"/>
              <a:gd name="T89" fmla="*/ 4700712 h 283806"/>
              <a:gd name="T90" fmla="*/ 4939516 w 285390"/>
              <a:gd name="T91" fmla="*/ 1906894 h 283806"/>
              <a:gd name="T92" fmla="*/ 5091992 w 285390"/>
              <a:gd name="T93" fmla="*/ 346063 h 283806"/>
              <a:gd name="T94" fmla="*/ 10085828 w 285390"/>
              <a:gd name="T95" fmla="*/ 0 h 283806"/>
              <a:gd name="T96" fmla="*/ 10240788 w 285390"/>
              <a:gd name="T97" fmla="*/ 2138548 h 283806"/>
              <a:gd name="T98" fmla="*/ 5965497 w 285390"/>
              <a:gd name="T99" fmla="*/ 2294179 h 283806"/>
              <a:gd name="T100" fmla="*/ 5965497 w 285390"/>
              <a:gd name="T101" fmla="*/ 1995963 h 283806"/>
              <a:gd name="T102" fmla="*/ 9930802 w 285390"/>
              <a:gd name="T103" fmla="*/ 311108 h 283806"/>
              <a:gd name="T104" fmla="*/ 5810463 w 285390"/>
              <a:gd name="T105" fmla="*/ 142574 h 283806"/>
              <a:gd name="T106" fmla="*/ 154871 w 285390"/>
              <a:gd name="T107" fmla="*/ 0 h 283806"/>
              <a:gd name="T108" fmla="*/ 4430371 w 285390"/>
              <a:gd name="T109" fmla="*/ 143254 h 283806"/>
              <a:gd name="T110" fmla="*/ 310002 w 285390"/>
              <a:gd name="T111" fmla="*/ 312599 h 283806"/>
              <a:gd name="T112" fmla="*/ 1511177 w 285390"/>
              <a:gd name="T113" fmla="*/ 2018727 h 283806"/>
              <a:gd name="T114" fmla="*/ 4275329 w 285390"/>
              <a:gd name="T115" fmla="*/ 2005742 h 283806"/>
              <a:gd name="T116" fmla="*/ 4275329 w 285390"/>
              <a:gd name="T117" fmla="*/ 2305250 h 283806"/>
              <a:gd name="T118" fmla="*/ 232450 w 285390"/>
              <a:gd name="T119" fmla="*/ 3190905 h 283806"/>
              <a:gd name="T120" fmla="*/ 77534 w 285390"/>
              <a:gd name="T121" fmla="*/ 3203846 h 283806"/>
              <a:gd name="T122" fmla="*/ 0 w 285390"/>
              <a:gd name="T123" fmla="*/ 143254 h 28380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85390" h="283806">
                <a:moveTo>
                  <a:pt x="141904" y="214220"/>
                </a:moveTo>
                <a:cubicBezTo>
                  <a:pt x="134820" y="214220"/>
                  <a:pt x="129152" y="219996"/>
                  <a:pt x="129152" y="227216"/>
                </a:cubicBezTo>
                <a:cubicBezTo>
                  <a:pt x="129152" y="234437"/>
                  <a:pt x="134820" y="240213"/>
                  <a:pt x="141904" y="240213"/>
                </a:cubicBezTo>
                <a:cubicBezTo>
                  <a:pt x="148989" y="240213"/>
                  <a:pt x="154656" y="234437"/>
                  <a:pt x="154656" y="227216"/>
                </a:cubicBezTo>
                <a:cubicBezTo>
                  <a:pt x="154656" y="219996"/>
                  <a:pt x="148989" y="214220"/>
                  <a:pt x="141904" y="214220"/>
                </a:cubicBezTo>
                <a:close/>
                <a:moveTo>
                  <a:pt x="166245" y="195263"/>
                </a:moveTo>
                <a:lnTo>
                  <a:pt x="281071" y="195263"/>
                </a:lnTo>
                <a:cubicBezTo>
                  <a:pt x="283231" y="195263"/>
                  <a:pt x="285390" y="197445"/>
                  <a:pt x="285390" y="199626"/>
                </a:cubicBezTo>
                <a:lnTo>
                  <a:pt x="285390" y="255623"/>
                </a:lnTo>
                <a:cubicBezTo>
                  <a:pt x="285390" y="257805"/>
                  <a:pt x="283231" y="259986"/>
                  <a:pt x="281071" y="259986"/>
                </a:cubicBezTo>
                <a:lnTo>
                  <a:pt x="166245" y="259986"/>
                </a:lnTo>
                <a:cubicBezTo>
                  <a:pt x="163725" y="259986"/>
                  <a:pt x="161925" y="257805"/>
                  <a:pt x="161925" y="255623"/>
                </a:cubicBezTo>
                <a:cubicBezTo>
                  <a:pt x="161925" y="253078"/>
                  <a:pt x="163725" y="250896"/>
                  <a:pt x="166245" y="250896"/>
                </a:cubicBezTo>
                <a:lnTo>
                  <a:pt x="276751" y="250896"/>
                </a:lnTo>
                <a:lnTo>
                  <a:pt x="276751" y="203990"/>
                </a:lnTo>
                <a:lnTo>
                  <a:pt x="166245" y="203990"/>
                </a:lnTo>
                <a:cubicBezTo>
                  <a:pt x="163725" y="203990"/>
                  <a:pt x="161925" y="202172"/>
                  <a:pt x="161925" y="199626"/>
                </a:cubicBezTo>
                <a:cubicBezTo>
                  <a:pt x="161925" y="197445"/>
                  <a:pt x="163725" y="195263"/>
                  <a:pt x="166245" y="195263"/>
                </a:cubicBezTo>
                <a:close/>
                <a:moveTo>
                  <a:pt x="4319" y="195263"/>
                </a:moveTo>
                <a:lnTo>
                  <a:pt x="119145" y="195263"/>
                </a:lnTo>
                <a:cubicBezTo>
                  <a:pt x="121666" y="195263"/>
                  <a:pt x="123465" y="197405"/>
                  <a:pt x="123465" y="199547"/>
                </a:cubicBezTo>
                <a:cubicBezTo>
                  <a:pt x="123465" y="202047"/>
                  <a:pt x="121666" y="203832"/>
                  <a:pt x="119145" y="203832"/>
                </a:cubicBezTo>
                <a:lnTo>
                  <a:pt x="8639" y="203832"/>
                </a:lnTo>
                <a:lnTo>
                  <a:pt x="8639" y="271667"/>
                </a:lnTo>
                <a:lnTo>
                  <a:pt x="42115" y="250602"/>
                </a:lnTo>
                <a:cubicBezTo>
                  <a:pt x="42835" y="250245"/>
                  <a:pt x="43914" y="249888"/>
                  <a:pt x="44634" y="249888"/>
                </a:cubicBezTo>
                <a:lnTo>
                  <a:pt x="119145" y="249888"/>
                </a:lnTo>
                <a:cubicBezTo>
                  <a:pt x="121666" y="249888"/>
                  <a:pt x="123465" y="252031"/>
                  <a:pt x="123465" y="254530"/>
                </a:cubicBezTo>
                <a:cubicBezTo>
                  <a:pt x="123465" y="256672"/>
                  <a:pt x="121666" y="258814"/>
                  <a:pt x="119145" y="258814"/>
                </a:cubicBezTo>
                <a:lnTo>
                  <a:pt x="45714" y="258814"/>
                </a:lnTo>
                <a:lnTo>
                  <a:pt x="6479" y="283092"/>
                </a:lnTo>
                <a:cubicBezTo>
                  <a:pt x="5759" y="283449"/>
                  <a:pt x="5039" y="283806"/>
                  <a:pt x="4319" y="283806"/>
                </a:cubicBezTo>
                <a:cubicBezTo>
                  <a:pt x="3599" y="283806"/>
                  <a:pt x="2879" y="283449"/>
                  <a:pt x="2159" y="283092"/>
                </a:cubicBezTo>
                <a:cubicBezTo>
                  <a:pt x="720" y="282378"/>
                  <a:pt x="0" y="280950"/>
                  <a:pt x="0" y="279165"/>
                </a:cubicBezTo>
                <a:lnTo>
                  <a:pt x="0" y="199547"/>
                </a:lnTo>
                <a:cubicBezTo>
                  <a:pt x="0" y="197405"/>
                  <a:pt x="1800" y="195263"/>
                  <a:pt x="4319" y="195263"/>
                </a:cubicBezTo>
                <a:close/>
                <a:moveTo>
                  <a:pt x="141904" y="116385"/>
                </a:moveTo>
                <a:cubicBezTo>
                  <a:pt x="134820" y="116385"/>
                  <a:pt x="129152" y="122161"/>
                  <a:pt x="129152" y="129382"/>
                </a:cubicBezTo>
                <a:cubicBezTo>
                  <a:pt x="129152" y="136602"/>
                  <a:pt x="134820" y="142378"/>
                  <a:pt x="141904" y="142378"/>
                </a:cubicBezTo>
                <a:cubicBezTo>
                  <a:pt x="148989" y="142378"/>
                  <a:pt x="154656" y="136602"/>
                  <a:pt x="154656" y="129382"/>
                </a:cubicBezTo>
                <a:cubicBezTo>
                  <a:pt x="154656" y="122161"/>
                  <a:pt x="148989" y="116385"/>
                  <a:pt x="141904" y="116385"/>
                </a:cubicBezTo>
                <a:close/>
                <a:moveTo>
                  <a:pt x="166245" y="96838"/>
                </a:moveTo>
                <a:lnTo>
                  <a:pt x="281071" y="96838"/>
                </a:lnTo>
                <a:cubicBezTo>
                  <a:pt x="283231" y="96838"/>
                  <a:pt x="285390" y="98630"/>
                  <a:pt x="285390" y="101140"/>
                </a:cubicBezTo>
                <a:lnTo>
                  <a:pt x="285390" y="181436"/>
                </a:lnTo>
                <a:cubicBezTo>
                  <a:pt x="285390" y="182870"/>
                  <a:pt x="284670" y="184304"/>
                  <a:pt x="283231" y="185021"/>
                </a:cubicBezTo>
                <a:cubicBezTo>
                  <a:pt x="282511" y="185380"/>
                  <a:pt x="281791" y="185380"/>
                  <a:pt x="281071" y="185380"/>
                </a:cubicBezTo>
                <a:cubicBezTo>
                  <a:pt x="280351" y="185380"/>
                  <a:pt x="279271" y="185380"/>
                  <a:pt x="278911" y="185021"/>
                </a:cubicBezTo>
                <a:lnTo>
                  <a:pt x="239676" y="160287"/>
                </a:lnTo>
                <a:lnTo>
                  <a:pt x="166245" y="160287"/>
                </a:lnTo>
                <a:cubicBezTo>
                  <a:pt x="163725" y="160287"/>
                  <a:pt x="161925" y="158495"/>
                  <a:pt x="161925" y="156344"/>
                </a:cubicBezTo>
                <a:cubicBezTo>
                  <a:pt x="161925" y="153834"/>
                  <a:pt x="163725" y="151684"/>
                  <a:pt x="166245" y="151684"/>
                </a:cubicBezTo>
                <a:lnTo>
                  <a:pt x="241116" y="151684"/>
                </a:lnTo>
                <a:cubicBezTo>
                  <a:pt x="241476" y="151684"/>
                  <a:pt x="242555" y="152042"/>
                  <a:pt x="242915" y="152759"/>
                </a:cubicBezTo>
                <a:lnTo>
                  <a:pt x="276751" y="173550"/>
                </a:lnTo>
                <a:lnTo>
                  <a:pt x="276751" y="105441"/>
                </a:lnTo>
                <a:lnTo>
                  <a:pt x="166245" y="105441"/>
                </a:lnTo>
                <a:cubicBezTo>
                  <a:pt x="163725" y="105441"/>
                  <a:pt x="161925" y="103649"/>
                  <a:pt x="161925" y="101140"/>
                </a:cubicBezTo>
                <a:cubicBezTo>
                  <a:pt x="161925" y="98630"/>
                  <a:pt x="163725" y="96838"/>
                  <a:pt x="166245" y="96838"/>
                </a:cubicBezTo>
                <a:close/>
                <a:moveTo>
                  <a:pt x="4319" y="96838"/>
                </a:moveTo>
                <a:lnTo>
                  <a:pt x="119145" y="96838"/>
                </a:lnTo>
                <a:cubicBezTo>
                  <a:pt x="121666" y="96838"/>
                  <a:pt x="123465" y="98622"/>
                  <a:pt x="123465" y="101119"/>
                </a:cubicBezTo>
                <a:cubicBezTo>
                  <a:pt x="123465" y="103616"/>
                  <a:pt x="121666" y="105400"/>
                  <a:pt x="119145" y="105400"/>
                </a:cubicBezTo>
                <a:lnTo>
                  <a:pt x="8639" y="105400"/>
                </a:lnTo>
                <a:lnTo>
                  <a:pt x="8639" y="151420"/>
                </a:lnTo>
                <a:lnTo>
                  <a:pt x="119145" y="151420"/>
                </a:lnTo>
                <a:cubicBezTo>
                  <a:pt x="121666" y="151420"/>
                  <a:pt x="123465" y="153560"/>
                  <a:pt x="123465" y="156057"/>
                </a:cubicBezTo>
                <a:cubicBezTo>
                  <a:pt x="123465" y="158198"/>
                  <a:pt x="121666" y="159981"/>
                  <a:pt x="119145" y="159981"/>
                </a:cubicBezTo>
                <a:lnTo>
                  <a:pt x="4319" y="159981"/>
                </a:lnTo>
                <a:cubicBezTo>
                  <a:pt x="1800" y="159981"/>
                  <a:pt x="0" y="158198"/>
                  <a:pt x="0" y="156057"/>
                </a:cubicBezTo>
                <a:lnTo>
                  <a:pt x="0" y="101119"/>
                </a:lnTo>
                <a:cubicBezTo>
                  <a:pt x="0" y="98622"/>
                  <a:pt x="1800" y="96838"/>
                  <a:pt x="4319" y="96838"/>
                </a:cubicBezTo>
                <a:close/>
                <a:moveTo>
                  <a:pt x="141904" y="18550"/>
                </a:moveTo>
                <a:cubicBezTo>
                  <a:pt x="134820" y="18550"/>
                  <a:pt x="129152" y="23966"/>
                  <a:pt x="129152" y="31186"/>
                </a:cubicBezTo>
                <a:cubicBezTo>
                  <a:pt x="129152" y="38406"/>
                  <a:pt x="134820" y="44182"/>
                  <a:pt x="141904" y="44182"/>
                </a:cubicBezTo>
                <a:cubicBezTo>
                  <a:pt x="148989" y="44182"/>
                  <a:pt x="154656" y="38406"/>
                  <a:pt x="154656" y="31186"/>
                </a:cubicBezTo>
                <a:cubicBezTo>
                  <a:pt x="154656" y="23966"/>
                  <a:pt x="148989" y="18550"/>
                  <a:pt x="141904" y="18550"/>
                </a:cubicBezTo>
                <a:close/>
                <a:moveTo>
                  <a:pt x="141904" y="9525"/>
                </a:moveTo>
                <a:cubicBezTo>
                  <a:pt x="153594" y="9525"/>
                  <a:pt x="163158" y="19272"/>
                  <a:pt x="163158" y="31186"/>
                </a:cubicBezTo>
                <a:cubicBezTo>
                  <a:pt x="163158" y="41655"/>
                  <a:pt x="156073" y="50681"/>
                  <a:pt x="146155" y="52486"/>
                </a:cubicBezTo>
                <a:lnTo>
                  <a:pt x="146155" y="108082"/>
                </a:lnTo>
                <a:cubicBezTo>
                  <a:pt x="156073" y="110248"/>
                  <a:pt x="163158" y="118912"/>
                  <a:pt x="163158" y="129382"/>
                </a:cubicBezTo>
                <a:cubicBezTo>
                  <a:pt x="163158" y="139490"/>
                  <a:pt x="156073" y="148154"/>
                  <a:pt x="146155" y="150320"/>
                </a:cubicBezTo>
                <a:lnTo>
                  <a:pt x="146155" y="205916"/>
                </a:lnTo>
                <a:cubicBezTo>
                  <a:pt x="156073" y="208083"/>
                  <a:pt x="163158" y="216747"/>
                  <a:pt x="163158" y="227216"/>
                </a:cubicBezTo>
                <a:cubicBezTo>
                  <a:pt x="163158" y="239130"/>
                  <a:pt x="153594" y="248877"/>
                  <a:pt x="141904" y="248877"/>
                </a:cubicBezTo>
                <a:cubicBezTo>
                  <a:pt x="130214" y="248877"/>
                  <a:pt x="120650" y="239130"/>
                  <a:pt x="120650" y="227216"/>
                </a:cubicBezTo>
                <a:cubicBezTo>
                  <a:pt x="120650" y="216747"/>
                  <a:pt x="128089" y="208083"/>
                  <a:pt x="137653" y="205916"/>
                </a:cubicBezTo>
                <a:lnTo>
                  <a:pt x="137653" y="150320"/>
                </a:lnTo>
                <a:cubicBezTo>
                  <a:pt x="128089" y="148154"/>
                  <a:pt x="120650" y="139490"/>
                  <a:pt x="120650" y="129382"/>
                </a:cubicBezTo>
                <a:cubicBezTo>
                  <a:pt x="120650" y="118912"/>
                  <a:pt x="128089" y="110248"/>
                  <a:pt x="137653" y="108082"/>
                </a:cubicBezTo>
                <a:lnTo>
                  <a:pt x="137653" y="52486"/>
                </a:lnTo>
                <a:cubicBezTo>
                  <a:pt x="128089" y="50681"/>
                  <a:pt x="120650" y="41655"/>
                  <a:pt x="120650" y="31186"/>
                </a:cubicBezTo>
                <a:cubicBezTo>
                  <a:pt x="120650" y="19272"/>
                  <a:pt x="130214" y="9525"/>
                  <a:pt x="141904" y="9525"/>
                </a:cubicBezTo>
                <a:close/>
                <a:moveTo>
                  <a:pt x="166245" y="0"/>
                </a:moveTo>
                <a:lnTo>
                  <a:pt x="281071" y="0"/>
                </a:lnTo>
                <a:cubicBezTo>
                  <a:pt x="283231" y="0"/>
                  <a:pt x="285390" y="1784"/>
                  <a:pt x="285390" y="3924"/>
                </a:cubicBezTo>
                <a:lnTo>
                  <a:pt x="285390" y="58862"/>
                </a:lnTo>
                <a:cubicBezTo>
                  <a:pt x="285390" y="61360"/>
                  <a:pt x="283231" y="63143"/>
                  <a:pt x="281071" y="63143"/>
                </a:cubicBezTo>
                <a:lnTo>
                  <a:pt x="166245" y="63143"/>
                </a:lnTo>
                <a:cubicBezTo>
                  <a:pt x="163725" y="63143"/>
                  <a:pt x="161925" y="61360"/>
                  <a:pt x="161925" y="58862"/>
                </a:cubicBezTo>
                <a:cubicBezTo>
                  <a:pt x="161925" y="56722"/>
                  <a:pt x="163725" y="54938"/>
                  <a:pt x="166245" y="54938"/>
                </a:cubicBezTo>
                <a:lnTo>
                  <a:pt x="276751" y="54938"/>
                </a:lnTo>
                <a:lnTo>
                  <a:pt x="276751" y="8562"/>
                </a:lnTo>
                <a:lnTo>
                  <a:pt x="166245" y="8562"/>
                </a:lnTo>
                <a:cubicBezTo>
                  <a:pt x="163725" y="8562"/>
                  <a:pt x="161925" y="6421"/>
                  <a:pt x="161925" y="3924"/>
                </a:cubicBezTo>
                <a:cubicBezTo>
                  <a:pt x="161925" y="1784"/>
                  <a:pt x="163725" y="0"/>
                  <a:pt x="166245" y="0"/>
                </a:cubicBezTo>
                <a:close/>
                <a:moveTo>
                  <a:pt x="4319" y="0"/>
                </a:moveTo>
                <a:lnTo>
                  <a:pt x="119145" y="0"/>
                </a:lnTo>
                <a:cubicBezTo>
                  <a:pt x="121666" y="0"/>
                  <a:pt x="123465" y="1792"/>
                  <a:pt x="123465" y="3943"/>
                </a:cubicBezTo>
                <a:cubicBezTo>
                  <a:pt x="123465" y="6452"/>
                  <a:pt x="121666" y="8603"/>
                  <a:pt x="119145" y="8603"/>
                </a:cubicBezTo>
                <a:lnTo>
                  <a:pt x="8639" y="8603"/>
                </a:lnTo>
                <a:lnTo>
                  <a:pt x="8639" y="76712"/>
                </a:lnTo>
                <a:lnTo>
                  <a:pt x="42115" y="55563"/>
                </a:lnTo>
                <a:cubicBezTo>
                  <a:pt x="42835" y="55204"/>
                  <a:pt x="43914" y="55204"/>
                  <a:pt x="44634" y="55204"/>
                </a:cubicBezTo>
                <a:lnTo>
                  <a:pt x="119145" y="55204"/>
                </a:lnTo>
                <a:cubicBezTo>
                  <a:pt x="121666" y="55204"/>
                  <a:pt x="123465" y="56996"/>
                  <a:pt x="123465" y="59147"/>
                </a:cubicBezTo>
                <a:cubicBezTo>
                  <a:pt x="123465" y="61657"/>
                  <a:pt x="121666" y="63449"/>
                  <a:pt x="119145" y="63449"/>
                </a:cubicBezTo>
                <a:lnTo>
                  <a:pt x="45714" y="63449"/>
                </a:lnTo>
                <a:lnTo>
                  <a:pt x="6479" y="87825"/>
                </a:lnTo>
                <a:cubicBezTo>
                  <a:pt x="5759" y="88183"/>
                  <a:pt x="5039" y="88542"/>
                  <a:pt x="4319" y="88542"/>
                </a:cubicBezTo>
                <a:cubicBezTo>
                  <a:pt x="3599" y="88542"/>
                  <a:pt x="2879" y="88183"/>
                  <a:pt x="2159" y="88183"/>
                </a:cubicBezTo>
                <a:cubicBezTo>
                  <a:pt x="720" y="87108"/>
                  <a:pt x="0" y="85674"/>
                  <a:pt x="0" y="84240"/>
                </a:cubicBezTo>
                <a:lnTo>
                  <a:pt x="0" y="3943"/>
                </a:lnTo>
                <a:cubicBezTo>
                  <a:pt x="0" y="1792"/>
                  <a:pt x="1800" y="0"/>
                  <a:pt x="4319" y="0"/>
                </a:cubicBezTo>
                <a:close/>
              </a:path>
            </a:pathLst>
          </a:custGeom>
          <a:solidFill>
            <a:schemeClr val="bg1"/>
          </a:solidFill>
          <a:ln>
            <a:noFill/>
          </a:ln>
        </p:spPr>
        <p:txBody>
          <a:bodyPr anchor="ctr"/>
          <a:lstStyle/>
          <a:p>
            <a:endParaRPr lang="en-GB" sz="1400" dirty="0">
              <a:latin typeface="+mj-lt"/>
            </a:endParaRPr>
          </a:p>
        </p:txBody>
      </p:sp>
      <p:sp>
        <p:nvSpPr>
          <p:cNvPr id="47" name="Freeform 953">
            <a:extLst>
              <a:ext uri="{FF2B5EF4-FFF2-40B4-BE49-F238E27FC236}">
                <a16:creationId xmlns:a16="http://schemas.microsoft.com/office/drawing/2014/main" xmlns="" id="{CECAF3B5-6980-4F2E-8574-BAC8D581ED50}"/>
              </a:ext>
            </a:extLst>
          </p:cNvPr>
          <p:cNvSpPr>
            <a:spLocks noChangeAspect="1"/>
          </p:cNvSpPr>
          <p:nvPr/>
        </p:nvSpPr>
        <p:spPr bwMode="auto">
          <a:xfrm>
            <a:off x="8267270" y="4950891"/>
            <a:ext cx="375864" cy="408548"/>
          </a:xfrm>
          <a:custGeom>
            <a:avLst/>
            <a:gdLst>
              <a:gd name="T0" fmla="*/ 3568639 w 262269"/>
              <a:gd name="T1" fmla="*/ 4175549 h 283804"/>
              <a:gd name="T2" fmla="*/ 4565286 w 262269"/>
              <a:gd name="T3" fmla="*/ 4175549 h 283804"/>
              <a:gd name="T4" fmla="*/ 4066997 w 262269"/>
              <a:gd name="T5" fmla="*/ 3345592 h 283804"/>
              <a:gd name="T6" fmla="*/ 4066997 w 262269"/>
              <a:gd name="T7" fmla="*/ 5005413 h 283804"/>
              <a:gd name="T8" fmla="*/ 4066997 w 262269"/>
              <a:gd name="T9" fmla="*/ 3345592 h 283804"/>
              <a:gd name="T10" fmla="*/ 2728046 w 262269"/>
              <a:gd name="T11" fmla="*/ 4195985 h 283804"/>
              <a:gd name="T12" fmla="*/ 3546752 w 262269"/>
              <a:gd name="T13" fmla="*/ 5584225 h 283804"/>
              <a:gd name="T14" fmla="*/ 4063182 w 262269"/>
              <a:gd name="T15" fmla="*/ 9932289 h 283804"/>
              <a:gd name="T16" fmla="*/ 4277250 w 262269"/>
              <a:gd name="T17" fmla="*/ 9303631 h 283804"/>
              <a:gd name="T18" fmla="*/ 4478803 w 262269"/>
              <a:gd name="T19" fmla="*/ 8635707 h 283804"/>
              <a:gd name="T20" fmla="*/ 4289834 w 262269"/>
              <a:gd name="T21" fmla="*/ 7980891 h 283804"/>
              <a:gd name="T22" fmla="*/ 4289834 w 262269"/>
              <a:gd name="T23" fmla="*/ 7587963 h 283804"/>
              <a:gd name="T24" fmla="*/ 4289834 w 262269"/>
              <a:gd name="T25" fmla="*/ 7129618 h 283804"/>
              <a:gd name="T26" fmla="*/ 4629951 w 262269"/>
              <a:gd name="T27" fmla="*/ 5584225 h 283804"/>
              <a:gd name="T28" fmla="*/ 5448575 w 262269"/>
              <a:gd name="T29" fmla="*/ 4195985 h 283804"/>
              <a:gd name="T30" fmla="*/ 4088316 w 262269"/>
              <a:gd name="T31" fmla="*/ 2480391 h 283804"/>
              <a:gd name="T32" fmla="*/ 4932213 w 262269"/>
              <a:gd name="T33" fmla="*/ 5689021 h 283804"/>
              <a:gd name="T34" fmla="*/ 4881852 w 262269"/>
              <a:gd name="T35" fmla="*/ 6959374 h 283804"/>
              <a:gd name="T36" fmla="*/ 4617366 w 262269"/>
              <a:gd name="T37" fmla="*/ 7483233 h 283804"/>
              <a:gd name="T38" fmla="*/ 4806274 w 262269"/>
              <a:gd name="T39" fmla="*/ 7902291 h 283804"/>
              <a:gd name="T40" fmla="*/ 4617366 w 262269"/>
              <a:gd name="T41" fmla="*/ 8334494 h 283804"/>
              <a:gd name="T42" fmla="*/ 4844020 w 262269"/>
              <a:gd name="T43" fmla="*/ 8635707 h 283804"/>
              <a:gd name="T44" fmla="*/ 4491387 w 262269"/>
              <a:gd name="T45" fmla="*/ 9067859 h 283804"/>
              <a:gd name="T46" fmla="*/ 4831432 w 262269"/>
              <a:gd name="T47" fmla="*/ 9500086 h 283804"/>
              <a:gd name="T48" fmla="*/ 4163909 w 262269"/>
              <a:gd name="T49" fmla="*/ 10259675 h 283804"/>
              <a:gd name="T50" fmla="*/ 3949794 w 262269"/>
              <a:gd name="T51" fmla="*/ 10259675 h 283804"/>
              <a:gd name="T52" fmla="*/ 3244467 w 262269"/>
              <a:gd name="T53" fmla="*/ 9460788 h 283804"/>
              <a:gd name="T54" fmla="*/ 2438411 w 262269"/>
              <a:gd name="T55" fmla="*/ 4195985 h 283804"/>
              <a:gd name="T56" fmla="*/ 4088380 w 262269"/>
              <a:gd name="T57" fmla="*/ 1442000 h 283804"/>
              <a:gd name="T58" fmla="*/ 6748486 w 262269"/>
              <a:gd name="T59" fmla="*/ 4194607 h 283804"/>
              <a:gd name="T60" fmla="*/ 5857598 w 262269"/>
              <a:gd name="T61" fmla="*/ 6203613 h 283804"/>
              <a:gd name="T62" fmla="*/ 5744646 w 262269"/>
              <a:gd name="T63" fmla="*/ 5929663 h 283804"/>
              <a:gd name="T64" fmla="*/ 5744646 w 262269"/>
              <a:gd name="T65" fmla="*/ 2459661 h 283804"/>
              <a:gd name="T66" fmla="*/ 2419562 w 262269"/>
              <a:gd name="T67" fmla="*/ 2459661 h 283804"/>
              <a:gd name="T68" fmla="*/ 2419562 w 262269"/>
              <a:gd name="T69" fmla="*/ 5929663 h 283804"/>
              <a:gd name="T70" fmla="*/ 2206223 w 262269"/>
              <a:gd name="T71" fmla="*/ 6151428 h 283804"/>
              <a:gd name="T72" fmla="*/ 2206223 w 262269"/>
              <a:gd name="T73" fmla="*/ 2250892 h 283804"/>
              <a:gd name="T74" fmla="*/ 4066300 w 262269"/>
              <a:gd name="T75" fmla="*/ 0 h 283804"/>
              <a:gd name="T76" fmla="*/ 8960908 w 262269"/>
              <a:gd name="T77" fmla="*/ 5625981 h 283804"/>
              <a:gd name="T78" fmla="*/ 8873084 w 262269"/>
              <a:gd name="T79" fmla="*/ 6552747 h 283804"/>
              <a:gd name="T80" fmla="*/ 8132602 w 262269"/>
              <a:gd name="T81" fmla="*/ 8393271 h 283804"/>
              <a:gd name="T82" fmla="*/ 6212453 w 262269"/>
              <a:gd name="T83" fmla="*/ 9398358 h 283804"/>
              <a:gd name="T84" fmla="*/ 6061790 w 262269"/>
              <a:gd name="T85" fmla="*/ 10312070 h 283804"/>
              <a:gd name="T86" fmla="*/ 5911210 w 262269"/>
              <a:gd name="T87" fmla="*/ 9398358 h 283804"/>
              <a:gd name="T88" fmla="*/ 7831383 w 262269"/>
              <a:gd name="T89" fmla="*/ 8341017 h 283804"/>
              <a:gd name="T90" fmla="*/ 7906695 w 262269"/>
              <a:gd name="T91" fmla="*/ 6683297 h 283804"/>
              <a:gd name="T92" fmla="*/ 8847984 w 262269"/>
              <a:gd name="T93" fmla="*/ 6122004 h 283804"/>
              <a:gd name="T94" fmla="*/ 7843990 w 262269"/>
              <a:gd name="T95" fmla="*/ 4255366 h 283804"/>
              <a:gd name="T96" fmla="*/ 4066300 w 262269"/>
              <a:gd name="T97" fmla="*/ 313303 h 283804"/>
              <a:gd name="T98" fmla="*/ 803229 w 262269"/>
              <a:gd name="T99" fmla="*/ 6161132 h 283804"/>
              <a:gd name="T100" fmla="*/ 1192297 w 262269"/>
              <a:gd name="T101" fmla="*/ 6839936 h 283804"/>
              <a:gd name="T102" fmla="*/ 2120958 w 262269"/>
              <a:gd name="T103" fmla="*/ 10142404 h 283804"/>
              <a:gd name="T104" fmla="*/ 1819759 w 262269"/>
              <a:gd name="T105" fmla="*/ 10155464 h 283804"/>
              <a:gd name="T106" fmla="*/ 941245 w 262269"/>
              <a:gd name="T107" fmla="*/ 7009651 h 283804"/>
              <a:gd name="T108" fmla="*/ 539667 w 262269"/>
              <a:gd name="T109" fmla="*/ 6330841 h 283804"/>
              <a:gd name="T110" fmla="*/ 4066300 w 262269"/>
              <a:gd name="T111" fmla="*/ 0 h 28380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62269" h="283804">
                <a:moveTo>
                  <a:pt x="116503" y="100640"/>
                </a:moveTo>
                <a:cubicBezTo>
                  <a:pt x="108651" y="100640"/>
                  <a:pt x="102227" y="107064"/>
                  <a:pt x="102227" y="114916"/>
                </a:cubicBezTo>
                <a:cubicBezTo>
                  <a:pt x="102227" y="123124"/>
                  <a:pt x="108651" y="129191"/>
                  <a:pt x="116503" y="129191"/>
                </a:cubicBezTo>
                <a:cubicBezTo>
                  <a:pt x="124354" y="129191"/>
                  <a:pt x="130778" y="123124"/>
                  <a:pt x="130778" y="114916"/>
                </a:cubicBezTo>
                <a:cubicBezTo>
                  <a:pt x="130778" y="107064"/>
                  <a:pt x="124354" y="100640"/>
                  <a:pt x="116503" y="100640"/>
                </a:cubicBezTo>
                <a:close/>
                <a:moveTo>
                  <a:pt x="116503" y="92075"/>
                </a:moveTo>
                <a:cubicBezTo>
                  <a:pt x="129351" y="92075"/>
                  <a:pt x="139343" y="102425"/>
                  <a:pt x="139343" y="114916"/>
                </a:cubicBezTo>
                <a:cubicBezTo>
                  <a:pt x="139343" y="127407"/>
                  <a:pt x="129351" y="137756"/>
                  <a:pt x="116503" y="137756"/>
                </a:cubicBezTo>
                <a:cubicBezTo>
                  <a:pt x="104012" y="137756"/>
                  <a:pt x="93662" y="127407"/>
                  <a:pt x="93662" y="114916"/>
                </a:cubicBezTo>
                <a:cubicBezTo>
                  <a:pt x="93662" y="102425"/>
                  <a:pt x="104012" y="92075"/>
                  <a:pt x="116503" y="92075"/>
                </a:cubicBezTo>
                <a:close/>
                <a:moveTo>
                  <a:pt x="117114" y="76913"/>
                </a:moveTo>
                <a:cubicBezTo>
                  <a:pt x="95828" y="76913"/>
                  <a:pt x="78148" y="94214"/>
                  <a:pt x="78148" y="115480"/>
                </a:cubicBezTo>
                <a:cubicBezTo>
                  <a:pt x="78148" y="130258"/>
                  <a:pt x="86446" y="143233"/>
                  <a:pt x="99435" y="150082"/>
                </a:cubicBezTo>
                <a:cubicBezTo>
                  <a:pt x="100879" y="150802"/>
                  <a:pt x="101600" y="152605"/>
                  <a:pt x="101600" y="153686"/>
                </a:cubicBezTo>
                <a:lnTo>
                  <a:pt x="101600" y="258572"/>
                </a:lnTo>
                <a:lnTo>
                  <a:pt x="116393" y="273350"/>
                </a:lnTo>
                <a:lnTo>
                  <a:pt x="127938" y="261456"/>
                </a:lnTo>
                <a:lnTo>
                  <a:pt x="122526" y="256049"/>
                </a:lnTo>
                <a:cubicBezTo>
                  <a:pt x="119279" y="252445"/>
                  <a:pt x="119279" y="247038"/>
                  <a:pt x="122526" y="243794"/>
                </a:cubicBezTo>
                <a:lnTo>
                  <a:pt x="128299" y="237667"/>
                </a:lnTo>
                <a:lnTo>
                  <a:pt x="122887" y="232261"/>
                </a:lnTo>
                <a:cubicBezTo>
                  <a:pt x="119640" y="228656"/>
                  <a:pt x="119640" y="223250"/>
                  <a:pt x="122887" y="219645"/>
                </a:cubicBezTo>
                <a:lnTo>
                  <a:pt x="128299" y="214239"/>
                </a:lnTo>
                <a:lnTo>
                  <a:pt x="122887" y="208832"/>
                </a:lnTo>
                <a:cubicBezTo>
                  <a:pt x="121083" y="207391"/>
                  <a:pt x="120362" y="204868"/>
                  <a:pt x="120362" y="202705"/>
                </a:cubicBezTo>
                <a:cubicBezTo>
                  <a:pt x="120362" y="200182"/>
                  <a:pt x="121083" y="198019"/>
                  <a:pt x="122887" y="196217"/>
                </a:cubicBezTo>
                <a:lnTo>
                  <a:pt x="132629" y="186846"/>
                </a:lnTo>
                <a:lnTo>
                  <a:pt x="132629" y="153686"/>
                </a:lnTo>
                <a:cubicBezTo>
                  <a:pt x="132629" y="152605"/>
                  <a:pt x="133711" y="150802"/>
                  <a:pt x="134793" y="150082"/>
                </a:cubicBezTo>
                <a:cubicBezTo>
                  <a:pt x="148143" y="143233"/>
                  <a:pt x="156080" y="130258"/>
                  <a:pt x="156080" y="115480"/>
                </a:cubicBezTo>
                <a:cubicBezTo>
                  <a:pt x="156080" y="94214"/>
                  <a:pt x="138762" y="76913"/>
                  <a:pt x="117114" y="76913"/>
                </a:cubicBezTo>
                <a:close/>
                <a:moveTo>
                  <a:pt x="117114" y="68263"/>
                </a:moveTo>
                <a:cubicBezTo>
                  <a:pt x="143092" y="68263"/>
                  <a:pt x="164739" y="89168"/>
                  <a:pt x="164739" y="115480"/>
                </a:cubicBezTo>
                <a:cubicBezTo>
                  <a:pt x="164739" y="132420"/>
                  <a:pt x="155720" y="147919"/>
                  <a:pt x="141288" y="156569"/>
                </a:cubicBezTo>
                <a:lnTo>
                  <a:pt x="141288" y="188648"/>
                </a:lnTo>
                <a:cubicBezTo>
                  <a:pt x="141288" y="189729"/>
                  <a:pt x="140927" y="190811"/>
                  <a:pt x="139845" y="191532"/>
                </a:cubicBezTo>
                <a:lnTo>
                  <a:pt x="129021" y="202345"/>
                </a:lnTo>
                <a:lnTo>
                  <a:pt x="132268" y="205949"/>
                </a:lnTo>
                <a:lnTo>
                  <a:pt x="137680" y="211355"/>
                </a:lnTo>
                <a:cubicBezTo>
                  <a:pt x="139123" y="212797"/>
                  <a:pt x="139123" y="215681"/>
                  <a:pt x="137680" y="217483"/>
                </a:cubicBezTo>
                <a:lnTo>
                  <a:pt x="129021" y="225773"/>
                </a:lnTo>
                <a:lnTo>
                  <a:pt x="132268" y="229377"/>
                </a:lnTo>
                <a:lnTo>
                  <a:pt x="137680" y="234423"/>
                </a:lnTo>
                <a:cubicBezTo>
                  <a:pt x="138401" y="235504"/>
                  <a:pt x="138762" y="236586"/>
                  <a:pt x="138762" y="237667"/>
                </a:cubicBezTo>
                <a:cubicBezTo>
                  <a:pt x="138762" y="238748"/>
                  <a:pt x="138401" y="239830"/>
                  <a:pt x="137680" y="240551"/>
                </a:cubicBezTo>
                <a:lnTo>
                  <a:pt x="128660" y="249561"/>
                </a:lnTo>
                <a:lnTo>
                  <a:pt x="137319" y="258572"/>
                </a:lnTo>
                <a:cubicBezTo>
                  <a:pt x="138041" y="259293"/>
                  <a:pt x="138401" y="260374"/>
                  <a:pt x="138401" y="261456"/>
                </a:cubicBezTo>
                <a:cubicBezTo>
                  <a:pt x="138401" y="262537"/>
                  <a:pt x="138041" y="263618"/>
                  <a:pt x="137319" y="264700"/>
                </a:cubicBezTo>
                <a:lnTo>
                  <a:pt x="119279" y="282361"/>
                </a:lnTo>
                <a:cubicBezTo>
                  <a:pt x="118558" y="283082"/>
                  <a:pt x="117475" y="283803"/>
                  <a:pt x="116393" y="283803"/>
                </a:cubicBezTo>
                <a:cubicBezTo>
                  <a:pt x="115310" y="283803"/>
                  <a:pt x="113867" y="283082"/>
                  <a:pt x="113146" y="282361"/>
                </a:cubicBezTo>
                <a:lnTo>
                  <a:pt x="94384" y="263618"/>
                </a:lnTo>
                <a:cubicBezTo>
                  <a:pt x="93663" y="262537"/>
                  <a:pt x="92941" y="261816"/>
                  <a:pt x="92941" y="260374"/>
                </a:cubicBezTo>
                <a:lnTo>
                  <a:pt x="92941" y="156569"/>
                </a:lnTo>
                <a:cubicBezTo>
                  <a:pt x="78870" y="147919"/>
                  <a:pt x="69850" y="132420"/>
                  <a:pt x="69850" y="115480"/>
                </a:cubicBezTo>
                <a:cubicBezTo>
                  <a:pt x="69850" y="89168"/>
                  <a:pt x="90776" y="68263"/>
                  <a:pt x="117114" y="68263"/>
                </a:cubicBezTo>
                <a:close/>
                <a:moveTo>
                  <a:pt x="117116" y="39688"/>
                </a:moveTo>
                <a:cubicBezTo>
                  <a:pt x="137604" y="39688"/>
                  <a:pt x="156294" y="47586"/>
                  <a:pt x="170671" y="61947"/>
                </a:cubicBezTo>
                <a:cubicBezTo>
                  <a:pt x="185049" y="76308"/>
                  <a:pt x="193316" y="95337"/>
                  <a:pt x="193316" y="115442"/>
                </a:cubicBezTo>
                <a:cubicBezTo>
                  <a:pt x="193316" y="135907"/>
                  <a:pt x="185049" y="154935"/>
                  <a:pt x="170671" y="169296"/>
                </a:cubicBezTo>
                <a:cubicBezTo>
                  <a:pt x="169953" y="170014"/>
                  <a:pt x="168874" y="170732"/>
                  <a:pt x="167796" y="170732"/>
                </a:cubicBezTo>
                <a:cubicBezTo>
                  <a:pt x="166718" y="170732"/>
                  <a:pt x="165639" y="170014"/>
                  <a:pt x="164561" y="169296"/>
                </a:cubicBezTo>
                <a:cubicBezTo>
                  <a:pt x="163123" y="167501"/>
                  <a:pt x="163123" y="164988"/>
                  <a:pt x="164561" y="163193"/>
                </a:cubicBezTo>
                <a:cubicBezTo>
                  <a:pt x="177501" y="150268"/>
                  <a:pt x="184689" y="133393"/>
                  <a:pt x="184689" y="115442"/>
                </a:cubicBezTo>
                <a:cubicBezTo>
                  <a:pt x="184689" y="97491"/>
                  <a:pt x="177501" y="80617"/>
                  <a:pt x="164561" y="67692"/>
                </a:cubicBezTo>
                <a:cubicBezTo>
                  <a:pt x="151981" y="55126"/>
                  <a:pt x="135088" y="48305"/>
                  <a:pt x="117116" y="48305"/>
                </a:cubicBezTo>
                <a:cubicBezTo>
                  <a:pt x="99144" y="48305"/>
                  <a:pt x="82250" y="55126"/>
                  <a:pt x="69311" y="67692"/>
                </a:cubicBezTo>
                <a:cubicBezTo>
                  <a:pt x="56730" y="80617"/>
                  <a:pt x="49542" y="97491"/>
                  <a:pt x="49542" y="115442"/>
                </a:cubicBezTo>
                <a:cubicBezTo>
                  <a:pt x="49542" y="133393"/>
                  <a:pt x="56730" y="150268"/>
                  <a:pt x="69311" y="163193"/>
                </a:cubicBezTo>
                <a:cubicBezTo>
                  <a:pt x="71108" y="164988"/>
                  <a:pt x="71108" y="167501"/>
                  <a:pt x="69311" y="169296"/>
                </a:cubicBezTo>
                <a:cubicBezTo>
                  <a:pt x="67873" y="171091"/>
                  <a:pt x="64997" y="171091"/>
                  <a:pt x="63200" y="169296"/>
                </a:cubicBezTo>
                <a:cubicBezTo>
                  <a:pt x="49182" y="154935"/>
                  <a:pt x="41275" y="135907"/>
                  <a:pt x="41275" y="115442"/>
                </a:cubicBezTo>
                <a:cubicBezTo>
                  <a:pt x="41275" y="95337"/>
                  <a:pt x="49182" y="76308"/>
                  <a:pt x="63200" y="61947"/>
                </a:cubicBezTo>
                <a:cubicBezTo>
                  <a:pt x="77578" y="47586"/>
                  <a:pt x="96628" y="39688"/>
                  <a:pt x="117116" y="39688"/>
                </a:cubicBezTo>
                <a:close/>
                <a:moveTo>
                  <a:pt x="116483" y="0"/>
                </a:moveTo>
                <a:cubicBezTo>
                  <a:pt x="180837" y="0"/>
                  <a:pt x="232966" y="51731"/>
                  <a:pt x="233326" y="116036"/>
                </a:cubicBezTo>
                <a:cubicBezTo>
                  <a:pt x="233685" y="118192"/>
                  <a:pt x="238359" y="132921"/>
                  <a:pt x="256694" y="154835"/>
                </a:cubicBezTo>
                <a:cubicBezTo>
                  <a:pt x="259211" y="157709"/>
                  <a:pt x="263166" y="163457"/>
                  <a:pt x="262087" y="170282"/>
                </a:cubicBezTo>
                <a:cubicBezTo>
                  <a:pt x="261368" y="173156"/>
                  <a:pt x="259930" y="177108"/>
                  <a:pt x="254178" y="180341"/>
                </a:cubicBezTo>
                <a:cubicBezTo>
                  <a:pt x="246268" y="185011"/>
                  <a:pt x="237281" y="188604"/>
                  <a:pt x="232966" y="190759"/>
                </a:cubicBezTo>
                <a:cubicBezTo>
                  <a:pt x="233685" y="198303"/>
                  <a:pt x="235483" y="217703"/>
                  <a:pt x="232966" y="230995"/>
                </a:cubicBezTo>
                <a:cubicBezTo>
                  <a:pt x="229731" y="246442"/>
                  <a:pt x="203486" y="248957"/>
                  <a:pt x="188386" y="248957"/>
                </a:cubicBezTo>
                <a:cubicBezTo>
                  <a:pt x="184432" y="248957"/>
                  <a:pt x="177961" y="250035"/>
                  <a:pt x="177961" y="258657"/>
                </a:cubicBezTo>
                <a:lnTo>
                  <a:pt x="177961" y="279134"/>
                </a:lnTo>
                <a:cubicBezTo>
                  <a:pt x="177961" y="281648"/>
                  <a:pt x="175803" y="283804"/>
                  <a:pt x="173646" y="283804"/>
                </a:cubicBezTo>
                <a:cubicBezTo>
                  <a:pt x="171130" y="283804"/>
                  <a:pt x="169332" y="281648"/>
                  <a:pt x="169332" y="279134"/>
                </a:cubicBezTo>
                <a:lnTo>
                  <a:pt x="169332" y="258657"/>
                </a:lnTo>
                <a:cubicBezTo>
                  <a:pt x="169332" y="247520"/>
                  <a:pt x="176522" y="240335"/>
                  <a:pt x="188386" y="240335"/>
                </a:cubicBezTo>
                <a:cubicBezTo>
                  <a:pt x="208879" y="240335"/>
                  <a:pt x="223259" y="235665"/>
                  <a:pt x="224338" y="229558"/>
                </a:cubicBezTo>
                <a:cubicBezTo>
                  <a:pt x="227214" y="214110"/>
                  <a:pt x="223979" y="188604"/>
                  <a:pt x="223979" y="188604"/>
                </a:cubicBezTo>
                <a:cubicBezTo>
                  <a:pt x="223619" y="186448"/>
                  <a:pt x="224698" y="184652"/>
                  <a:pt x="226495" y="183934"/>
                </a:cubicBezTo>
                <a:cubicBezTo>
                  <a:pt x="226855" y="183934"/>
                  <a:pt x="239438" y="178904"/>
                  <a:pt x="249864" y="172797"/>
                </a:cubicBezTo>
                <a:cubicBezTo>
                  <a:pt x="253099" y="171001"/>
                  <a:pt x="253459" y="169205"/>
                  <a:pt x="253459" y="168486"/>
                </a:cubicBezTo>
                <a:cubicBezTo>
                  <a:pt x="254178" y="165971"/>
                  <a:pt x="252021" y="162379"/>
                  <a:pt x="250223" y="160223"/>
                </a:cubicBezTo>
                <a:cubicBezTo>
                  <a:pt x="228652" y="134717"/>
                  <a:pt x="224698" y="117833"/>
                  <a:pt x="224698" y="117114"/>
                </a:cubicBezTo>
                <a:lnTo>
                  <a:pt x="224698" y="116396"/>
                </a:lnTo>
                <a:cubicBezTo>
                  <a:pt x="224698" y="56761"/>
                  <a:pt x="176163" y="8622"/>
                  <a:pt x="116483" y="8622"/>
                </a:cubicBezTo>
                <a:cubicBezTo>
                  <a:pt x="57163" y="8622"/>
                  <a:pt x="8628" y="56761"/>
                  <a:pt x="8628" y="116396"/>
                </a:cubicBezTo>
                <a:cubicBezTo>
                  <a:pt x="8628" y="135076"/>
                  <a:pt x="13661" y="153757"/>
                  <a:pt x="23009" y="169564"/>
                </a:cubicBezTo>
                <a:cubicBezTo>
                  <a:pt x="23009" y="169923"/>
                  <a:pt x="23009" y="169923"/>
                  <a:pt x="23009" y="169923"/>
                </a:cubicBezTo>
                <a:cubicBezTo>
                  <a:pt x="26604" y="176030"/>
                  <a:pt x="30199" y="182137"/>
                  <a:pt x="34154" y="188245"/>
                </a:cubicBezTo>
                <a:cubicBezTo>
                  <a:pt x="40985" y="199022"/>
                  <a:pt x="47096" y="209081"/>
                  <a:pt x="51051" y="217703"/>
                </a:cubicBezTo>
                <a:cubicBezTo>
                  <a:pt x="60039" y="237461"/>
                  <a:pt x="60398" y="277697"/>
                  <a:pt x="60758" y="279134"/>
                </a:cubicBezTo>
                <a:cubicBezTo>
                  <a:pt x="60758" y="281648"/>
                  <a:pt x="58601" y="283804"/>
                  <a:pt x="56444" y="283804"/>
                </a:cubicBezTo>
                <a:cubicBezTo>
                  <a:pt x="53927" y="283804"/>
                  <a:pt x="52130" y="281648"/>
                  <a:pt x="52130" y="279493"/>
                </a:cubicBezTo>
                <a:cubicBezTo>
                  <a:pt x="52130" y="279134"/>
                  <a:pt x="51410" y="239257"/>
                  <a:pt x="43142" y="221295"/>
                </a:cubicBezTo>
                <a:cubicBezTo>
                  <a:pt x="39546" y="213033"/>
                  <a:pt x="33435" y="203333"/>
                  <a:pt x="26963" y="192915"/>
                </a:cubicBezTo>
                <a:cubicBezTo>
                  <a:pt x="23009" y="186808"/>
                  <a:pt x="19054" y="180341"/>
                  <a:pt x="15818" y="174593"/>
                </a:cubicBezTo>
                <a:cubicBezTo>
                  <a:pt x="15818" y="174234"/>
                  <a:pt x="15818" y="174234"/>
                  <a:pt x="15459" y="174234"/>
                </a:cubicBezTo>
                <a:cubicBezTo>
                  <a:pt x="5752" y="156990"/>
                  <a:pt x="0" y="136873"/>
                  <a:pt x="0" y="116396"/>
                </a:cubicBezTo>
                <a:cubicBezTo>
                  <a:pt x="0" y="52090"/>
                  <a:pt x="52489" y="0"/>
                  <a:pt x="116483" y="0"/>
                </a:cubicBezTo>
                <a:close/>
              </a:path>
            </a:pathLst>
          </a:custGeom>
          <a:solidFill>
            <a:schemeClr val="bg1"/>
          </a:solidFill>
          <a:ln>
            <a:noFill/>
          </a:ln>
        </p:spPr>
        <p:txBody>
          <a:bodyPr anchor="ctr"/>
          <a:lstStyle/>
          <a:p>
            <a:endParaRPr lang="en-GB" sz="1400" dirty="0">
              <a:latin typeface="+mj-lt"/>
            </a:endParaRPr>
          </a:p>
        </p:txBody>
      </p:sp>
      <p:sp>
        <p:nvSpPr>
          <p:cNvPr id="48" name="Freeform 955">
            <a:extLst>
              <a:ext uri="{FF2B5EF4-FFF2-40B4-BE49-F238E27FC236}">
                <a16:creationId xmlns:a16="http://schemas.microsoft.com/office/drawing/2014/main" xmlns="" id="{4406F26E-A5C8-4005-9BB8-F88A327F95EB}"/>
              </a:ext>
            </a:extLst>
          </p:cNvPr>
          <p:cNvSpPr>
            <a:spLocks noChangeAspect="1"/>
          </p:cNvSpPr>
          <p:nvPr/>
        </p:nvSpPr>
        <p:spPr bwMode="auto">
          <a:xfrm>
            <a:off x="6774834" y="2467677"/>
            <a:ext cx="411061" cy="403520"/>
          </a:xfrm>
          <a:custGeom>
            <a:avLst/>
            <a:gdLst>
              <a:gd name="T0" fmla="*/ 1447509 w 285054"/>
              <a:gd name="T1" fmla="*/ 7932390 h 280629"/>
              <a:gd name="T2" fmla="*/ 1447509 w 285054"/>
              <a:gd name="T3" fmla="*/ 6883477 h 280629"/>
              <a:gd name="T4" fmla="*/ 750221 w 285054"/>
              <a:gd name="T5" fmla="*/ 7565276 h 280629"/>
              <a:gd name="T6" fmla="*/ 6385815 w 285054"/>
              <a:gd name="T7" fmla="*/ 6137767 h 280629"/>
              <a:gd name="T8" fmla="*/ 4077442 w 285054"/>
              <a:gd name="T9" fmla="*/ 6468680 h 280629"/>
              <a:gd name="T10" fmla="*/ 1486045 w 285054"/>
              <a:gd name="T11" fmla="*/ 6137767 h 280629"/>
              <a:gd name="T12" fmla="*/ 2997952 w 285054"/>
              <a:gd name="T13" fmla="*/ 6461576 h 280629"/>
              <a:gd name="T14" fmla="*/ 637331 w 285054"/>
              <a:gd name="T15" fmla="*/ 8300830 h 280629"/>
              <a:gd name="T16" fmla="*/ 5371704 w 285054"/>
              <a:gd name="T17" fmla="*/ 9414762 h 280629"/>
              <a:gd name="T18" fmla="*/ 5053439 w 285054"/>
              <a:gd name="T19" fmla="*/ 9984734 h 280629"/>
              <a:gd name="T20" fmla="*/ 1433042 w 285054"/>
              <a:gd name="T21" fmla="*/ 8948517 h 280629"/>
              <a:gd name="T22" fmla="*/ 1486045 w 285054"/>
              <a:gd name="T23" fmla="*/ 6137767 h 280629"/>
              <a:gd name="T24" fmla="*/ 7130893 w 285054"/>
              <a:gd name="T25" fmla="*/ 6829341 h 280629"/>
              <a:gd name="T26" fmla="*/ 6792964 w 285054"/>
              <a:gd name="T27" fmla="*/ 5777364 h 280629"/>
              <a:gd name="T28" fmla="*/ 3728190 w 285054"/>
              <a:gd name="T29" fmla="*/ 5777364 h 280629"/>
              <a:gd name="T30" fmla="*/ 3390290 w 285054"/>
              <a:gd name="T31" fmla="*/ 6829341 h 280629"/>
              <a:gd name="T32" fmla="*/ 8619325 w 285054"/>
              <a:gd name="T33" fmla="*/ 4527378 h 280629"/>
              <a:gd name="T34" fmla="*/ 9362500 w 285054"/>
              <a:gd name="T35" fmla="*/ 4527378 h 280629"/>
              <a:gd name="T36" fmla="*/ 9335883 w 285054"/>
              <a:gd name="T37" fmla="*/ 5019219 h 280629"/>
              <a:gd name="T38" fmla="*/ 9481877 w 285054"/>
              <a:gd name="T39" fmla="*/ 5550848 h 280629"/>
              <a:gd name="T40" fmla="*/ 8844962 w 285054"/>
              <a:gd name="T41" fmla="*/ 5510959 h 280629"/>
              <a:gd name="T42" fmla="*/ 8619325 w 285054"/>
              <a:gd name="T43" fmla="*/ 5285024 h 280629"/>
              <a:gd name="T44" fmla="*/ 8619325 w 285054"/>
              <a:gd name="T45" fmla="*/ 4527378 h 280629"/>
              <a:gd name="T46" fmla="*/ 5231738 w 285054"/>
              <a:gd name="T47" fmla="*/ 4793268 h 280629"/>
              <a:gd name="T48" fmla="*/ 5716915 w 285054"/>
              <a:gd name="T49" fmla="*/ 4753329 h 280629"/>
              <a:gd name="T50" fmla="*/ 5716915 w 285054"/>
              <a:gd name="T51" fmla="*/ 5510959 h 280629"/>
              <a:gd name="T52" fmla="*/ 5231738 w 285054"/>
              <a:gd name="T53" fmla="*/ 5258419 h 280629"/>
              <a:gd name="T54" fmla="*/ 4746506 w 285054"/>
              <a:gd name="T55" fmla="*/ 5510959 h 280629"/>
              <a:gd name="T56" fmla="*/ 4746506 w 285054"/>
              <a:gd name="T57" fmla="*/ 4753329 h 280629"/>
              <a:gd name="T58" fmla="*/ 10534428 w 285054"/>
              <a:gd name="T59" fmla="*/ 4967648 h 280629"/>
              <a:gd name="T60" fmla="*/ 7480296 w 285054"/>
              <a:gd name="T61" fmla="*/ 6411658 h 280629"/>
              <a:gd name="T62" fmla="*/ 9100318 w 285054"/>
              <a:gd name="T63" fmla="*/ 6089394 h 280629"/>
              <a:gd name="T64" fmla="*/ 9047218 w 285054"/>
              <a:gd name="T65" fmla="*/ 3923315 h 280629"/>
              <a:gd name="T66" fmla="*/ 8487263 w 285054"/>
              <a:gd name="T67" fmla="*/ 3613869 h 280629"/>
              <a:gd name="T68" fmla="*/ 8318323 w 285054"/>
              <a:gd name="T69" fmla="*/ 3779029 h 280629"/>
              <a:gd name="T70" fmla="*/ 8069555 w 285054"/>
              <a:gd name="T71" fmla="*/ 3779029 h 280629"/>
              <a:gd name="T72" fmla="*/ 7900604 w 285054"/>
              <a:gd name="T73" fmla="*/ 3613869 h 280629"/>
              <a:gd name="T74" fmla="*/ 7279418 w 285054"/>
              <a:gd name="T75" fmla="*/ 3944223 h 280629"/>
              <a:gd name="T76" fmla="*/ 6668612 w 285054"/>
              <a:gd name="T77" fmla="*/ 3613869 h 280629"/>
              <a:gd name="T78" fmla="*/ 6499644 w 285054"/>
              <a:gd name="T79" fmla="*/ 3779029 h 280629"/>
              <a:gd name="T80" fmla="*/ 3298376 w 285054"/>
              <a:gd name="T81" fmla="*/ 2517433 h 280629"/>
              <a:gd name="T82" fmla="*/ 3683556 w 285054"/>
              <a:gd name="T83" fmla="*/ 2150308 h 280629"/>
              <a:gd name="T84" fmla="*/ 3683556 w 285054"/>
              <a:gd name="T85" fmla="*/ 3199163 h 280629"/>
              <a:gd name="T86" fmla="*/ 5264942 w 285054"/>
              <a:gd name="T87" fmla="*/ 0 h 280629"/>
              <a:gd name="T88" fmla="*/ 4624925 w 285054"/>
              <a:gd name="T89" fmla="*/ 1461640 h 280629"/>
              <a:gd name="T90" fmla="*/ 2478248 w 285054"/>
              <a:gd name="T91" fmla="*/ 2586905 h 280629"/>
              <a:gd name="T92" fmla="*/ 6251583 w 285054"/>
              <a:gd name="T93" fmla="*/ 3789806 h 280629"/>
              <a:gd name="T94" fmla="*/ 2158239 w 285054"/>
              <a:gd name="T95" fmla="*/ 2586905 h 280629"/>
              <a:gd name="T96" fmla="*/ 4624925 w 285054"/>
              <a:gd name="T97" fmla="*/ 1151225 h 280629"/>
              <a:gd name="T98" fmla="*/ 5264942 w 285054"/>
              <a:gd name="T99" fmla="*/ 0 h 28062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5054" h="280629">
                <a:moveTo>
                  <a:pt x="39168" y="199209"/>
                </a:moveTo>
                <a:cubicBezTo>
                  <a:pt x="33725" y="199209"/>
                  <a:pt x="29371" y="203563"/>
                  <a:pt x="29371" y="209369"/>
                </a:cubicBezTo>
                <a:cubicBezTo>
                  <a:pt x="29371" y="214811"/>
                  <a:pt x="33725" y="219529"/>
                  <a:pt x="39168" y="219529"/>
                </a:cubicBezTo>
                <a:cubicBezTo>
                  <a:pt x="44974" y="219529"/>
                  <a:pt x="49328" y="214811"/>
                  <a:pt x="49328" y="209369"/>
                </a:cubicBezTo>
                <a:cubicBezTo>
                  <a:pt x="49328" y="203563"/>
                  <a:pt x="44974" y="199209"/>
                  <a:pt x="39168" y="199209"/>
                </a:cubicBezTo>
                <a:close/>
                <a:moveTo>
                  <a:pt x="39168" y="190500"/>
                </a:moveTo>
                <a:cubicBezTo>
                  <a:pt x="49691" y="190500"/>
                  <a:pt x="58037" y="198846"/>
                  <a:pt x="58037" y="209369"/>
                </a:cubicBezTo>
                <a:cubicBezTo>
                  <a:pt x="58037" y="219529"/>
                  <a:pt x="49691" y="228237"/>
                  <a:pt x="39168" y="228237"/>
                </a:cubicBezTo>
                <a:cubicBezTo>
                  <a:pt x="28645" y="228237"/>
                  <a:pt x="20300" y="219529"/>
                  <a:pt x="20300" y="209369"/>
                </a:cubicBezTo>
                <a:cubicBezTo>
                  <a:pt x="20300" y="198846"/>
                  <a:pt x="28645" y="190500"/>
                  <a:pt x="39168" y="190500"/>
                </a:cubicBezTo>
                <a:close/>
                <a:moveTo>
                  <a:pt x="110333" y="169862"/>
                </a:moveTo>
                <a:lnTo>
                  <a:pt x="172796" y="169862"/>
                </a:lnTo>
                <a:cubicBezTo>
                  <a:pt x="175309" y="169862"/>
                  <a:pt x="177104" y="172060"/>
                  <a:pt x="177104" y="174625"/>
                </a:cubicBezTo>
                <a:cubicBezTo>
                  <a:pt x="177104" y="176823"/>
                  <a:pt x="175309" y="179021"/>
                  <a:pt x="172796" y="179021"/>
                </a:cubicBezTo>
                <a:lnTo>
                  <a:pt x="110333" y="179021"/>
                </a:lnTo>
                <a:cubicBezTo>
                  <a:pt x="107820" y="179021"/>
                  <a:pt x="106025" y="176823"/>
                  <a:pt x="106025" y="174625"/>
                </a:cubicBezTo>
                <a:cubicBezTo>
                  <a:pt x="106025" y="172060"/>
                  <a:pt x="107820" y="169862"/>
                  <a:pt x="110333" y="169862"/>
                </a:cubicBezTo>
                <a:close/>
                <a:moveTo>
                  <a:pt x="40212" y="169862"/>
                </a:moveTo>
                <a:lnTo>
                  <a:pt x="81121" y="169862"/>
                </a:lnTo>
                <a:cubicBezTo>
                  <a:pt x="83633" y="169862"/>
                  <a:pt x="85427" y="172013"/>
                  <a:pt x="85427" y="174164"/>
                </a:cubicBezTo>
                <a:cubicBezTo>
                  <a:pt x="85427" y="176673"/>
                  <a:pt x="83633" y="178824"/>
                  <a:pt x="81121" y="178824"/>
                </a:cubicBezTo>
                <a:lnTo>
                  <a:pt x="40212" y="178824"/>
                </a:lnTo>
                <a:cubicBezTo>
                  <a:pt x="23347" y="178824"/>
                  <a:pt x="8993" y="191729"/>
                  <a:pt x="8634" y="207860"/>
                </a:cubicBezTo>
                <a:cubicBezTo>
                  <a:pt x="8275" y="216104"/>
                  <a:pt x="11505" y="223991"/>
                  <a:pt x="17246" y="229726"/>
                </a:cubicBezTo>
                <a:cubicBezTo>
                  <a:pt x="22988" y="235820"/>
                  <a:pt x="30523" y="239046"/>
                  <a:pt x="38777" y="239046"/>
                </a:cubicBezTo>
                <a:lnTo>
                  <a:pt x="123823" y="239046"/>
                </a:lnTo>
                <a:cubicBezTo>
                  <a:pt x="135666" y="239046"/>
                  <a:pt x="145354" y="248725"/>
                  <a:pt x="145354" y="260554"/>
                </a:cubicBezTo>
                <a:lnTo>
                  <a:pt x="145354" y="276327"/>
                </a:lnTo>
                <a:cubicBezTo>
                  <a:pt x="145354" y="278478"/>
                  <a:pt x="143560" y="280629"/>
                  <a:pt x="141048" y="280629"/>
                </a:cubicBezTo>
                <a:cubicBezTo>
                  <a:pt x="138536" y="280629"/>
                  <a:pt x="136742" y="278478"/>
                  <a:pt x="136742" y="276327"/>
                </a:cubicBezTo>
                <a:lnTo>
                  <a:pt x="136742" y="260554"/>
                </a:lnTo>
                <a:cubicBezTo>
                  <a:pt x="136742" y="253385"/>
                  <a:pt x="131001" y="247650"/>
                  <a:pt x="123823" y="247650"/>
                </a:cubicBezTo>
                <a:lnTo>
                  <a:pt x="38777" y="247650"/>
                </a:lnTo>
                <a:cubicBezTo>
                  <a:pt x="28370" y="247650"/>
                  <a:pt x="18323" y="243706"/>
                  <a:pt x="11146" y="235820"/>
                </a:cubicBezTo>
                <a:cubicBezTo>
                  <a:pt x="3610" y="228292"/>
                  <a:pt x="-337" y="218255"/>
                  <a:pt x="22" y="207860"/>
                </a:cubicBezTo>
                <a:cubicBezTo>
                  <a:pt x="739" y="186710"/>
                  <a:pt x="18682" y="169862"/>
                  <a:pt x="40212" y="169862"/>
                </a:cubicBezTo>
                <a:close/>
                <a:moveTo>
                  <a:pt x="188385" y="155575"/>
                </a:moveTo>
                <a:cubicBezTo>
                  <a:pt x="191052" y="155575"/>
                  <a:pt x="192957" y="157732"/>
                  <a:pt x="192957" y="159888"/>
                </a:cubicBezTo>
                <a:lnTo>
                  <a:pt x="192957" y="189002"/>
                </a:lnTo>
                <a:cubicBezTo>
                  <a:pt x="192957" y="191159"/>
                  <a:pt x="191052" y="193316"/>
                  <a:pt x="188385" y="193316"/>
                </a:cubicBezTo>
                <a:cubicBezTo>
                  <a:pt x="185718" y="193316"/>
                  <a:pt x="183813" y="191159"/>
                  <a:pt x="183813" y="189002"/>
                </a:cubicBezTo>
                <a:lnTo>
                  <a:pt x="183813" y="159888"/>
                </a:lnTo>
                <a:cubicBezTo>
                  <a:pt x="183813" y="157732"/>
                  <a:pt x="185718" y="155575"/>
                  <a:pt x="188385" y="155575"/>
                </a:cubicBezTo>
                <a:close/>
                <a:moveTo>
                  <a:pt x="96310" y="155575"/>
                </a:moveTo>
                <a:cubicBezTo>
                  <a:pt x="98977" y="155575"/>
                  <a:pt x="100882" y="157732"/>
                  <a:pt x="100882" y="159888"/>
                </a:cubicBezTo>
                <a:lnTo>
                  <a:pt x="100882" y="189002"/>
                </a:lnTo>
                <a:cubicBezTo>
                  <a:pt x="100882" y="191159"/>
                  <a:pt x="98977" y="193316"/>
                  <a:pt x="96310" y="193316"/>
                </a:cubicBezTo>
                <a:cubicBezTo>
                  <a:pt x="93643" y="193316"/>
                  <a:pt x="91738" y="191159"/>
                  <a:pt x="91738" y="189002"/>
                </a:cubicBezTo>
                <a:lnTo>
                  <a:pt x="91738" y="159888"/>
                </a:lnTo>
                <a:cubicBezTo>
                  <a:pt x="91738" y="157732"/>
                  <a:pt x="93643" y="155575"/>
                  <a:pt x="96310" y="155575"/>
                </a:cubicBezTo>
                <a:close/>
                <a:moveTo>
                  <a:pt x="233234" y="125296"/>
                </a:moveTo>
                <a:cubicBezTo>
                  <a:pt x="235029" y="123825"/>
                  <a:pt x="237542" y="123825"/>
                  <a:pt x="239338" y="125296"/>
                </a:cubicBezTo>
                <a:lnTo>
                  <a:pt x="246519" y="132653"/>
                </a:lnTo>
                <a:lnTo>
                  <a:pt x="253342" y="125296"/>
                </a:lnTo>
                <a:cubicBezTo>
                  <a:pt x="255137" y="123825"/>
                  <a:pt x="257650" y="123825"/>
                  <a:pt x="259446" y="125296"/>
                </a:cubicBezTo>
                <a:cubicBezTo>
                  <a:pt x="261241" y="127136"/>
                  <a:pt x="261241" y="130078"/>
                  <a:pt x="259446" y="131549"/>
                </a:cubicBezTo>
                <a:lnTo>
                  <a:pt x="252623" y="138906"/>
                </a:lnTo>
                <a:lnTo>
                  <a:pt x="259446" y="146263"/>
                </a:lnTo>
                <a:cubicBezTo>
                  <a:pt x="261241" y="148102"/>
                  <a:pt x="261241" y="150677"/>
                  <a:pt x="259446" y="152516"/>
                </a:cubicBezTo>
                <a:cubicBezTo>
                  <a:pt x="258728" y="153251"/>
                  <a:pt x="257650" y="153619"/>
                  <a:pt x="256573" y="153619"/>
                </a:cubicBezTo>
                <a:cubicBezTo>
                  <a:pt x="255496" y="153619"/>
                  <a:pt x="254060" y="153251"/>
                  <a:pt x="253342" y="152516"/>
                </a:cubicBezTo>
                <a:lnTo>
                  <a:pt x="246519" y="145527"/>
                </a:lnTo>
                <a:lnTo>
                  <a:pt x="239338" y="152516"/>
                </a:lnTo>
                <a:cubicBezTo>
                  <a:pt x="238261" y="153251"/>
                  <a:pt x="237542" y="153619"/>
                  <a:pt x="236106" y="153619"/>
                </a:cubicBezTo>
                <a:cubicBezTo>
                  <a:pt x="235029" y="153619"/>
                  <a:pt x="233952" y="153251"/>
                  <a:pt x="233234" y="152516"/>
                </a:cubicBezTo>
                <a:cubicBezTo>
                  <a:pt x="231438" y="150677"/>
                  <a:pt x="231438" y="148102"/>
                  <a:pt x="233234" y="146263"/>
                </a:cubicBezTo>
                <a:lnTo>
                  <a:pt x="240415" y="138906"/>
                </a:lnTo>
                <a:lnTo>
                  <a:pt x="233234" y="131549"/>
                </a:lnTo>
                <a:cubicBezTo>
                  <a:pt x="231438" y="130078"/>
                  <a:pt x="231438" y="127136"/>
                  <a:pt x="233234" y="125296"/>
                </a:cubicBezTo>
                <a:close/>
                <a:moveTo>
                  <a:pt x="128437" y="125296"/>
                </a:moveTo>
                <a:cubicBezTo>
                  <a:pt x="129857" y="123825"/>
                  <a:pt x="132696" y="123825"/>
                  <a:pt x="134470" y="125296"/>
                </a:cubicBezTo>
                <a:lnTo>
                  <a:pt x="141567" y="132653"/>
                </a:lnTo>
                <a:lnTo>
                  <a:pt x="148664" y="125296"/>
                </a:lnTo>
                <a:cubicBezTo>
                  <a:pt x="150083" y="123825"/>
                  <a:pt x="152922" y="123825"/>
                  <a:pt x="154696" y="125296"/>
                </a:cubicBezTo>
                <a:cubicBezTo>
                  <a:pt x="156470" y="127136"/>
                  <a:pt x="156470" y="130078"/>
                  <a:pt x="154696" y="131549"/>
                </a:cubicBezTo>
                <a:lnTo>
                  <a:pt x="147599" y="138906"/>
                </a:lnTo>
                <a:lnTo>
                  <a:pt x="154696" y="146263"/>
                </a:lnTo>
                <a:cubicBezTo>
                  <a:pt x="156470" y="148102"/>
                  <a:pt x="156470" y="150677"/>
                  <a:pt x="154696" y="152516"/>
                </a:cubicBezTo>
                <a:cubicBezTo>
                  <a:pt x="153632" y="153251"/>
                  <a:pt x="152922" y="153619"/>
                  <a:pt x="151503" y="153619"/>
                </a:cubicBezTo>
                <a:cubicBezTo>
                  <a:pt x="150438" y="153619"/>
                  <a:pt x="149373" y="153251"/>
                  <a:pt x="148664" y="152516"/>
                </a:cubicBezTo>
                <a:lnTo>
                  <a:pt x="141567" y="145527"/>
                </a:lnTo>
                <a:lnTo>
                  <a:pt x="134470" y="152516"/>
                </a:lnTo>
                <a:cubicBezTo>
                  <a:pt x="133405" y="153251"/>
                  <a:pt x="132696" y="153619"/>
                  <a:pt x="131631" y="153619"/>
                </a:cubicBezTo>
                <a:cubicBezTo>
                  <a:pt x="130567" y="153619"/>
                  <a:pt x="129147" y="153251"/>
                  <a:pt x="128437" y="152516"/>
                </a:cubicBezTo>
                <a:cubicBezTo>
                  <a:pt x="126663" y="150677"/>
                  <a:pt x="126663" y="148102"/>
                  <a:pt x="128437" y="146263"/>
                </a:cubicBezTo>
                <a:lnTo>
                  <a:pt x="135534" y="138906"/>
                </a:lnTo>
                <a:lnTo>
                  <a:pt x="128437" y="131549"/>
                </a:lnTo>
                <a:cubicBezTo>
                  <a:pt x="126663" y="130078"/>
                  <a:pt x="126663" y="127136"/>
                  <a:pt x="128437" y="125296"/>
                </a:cubicBezTo>
                <a:close/>
                <a:moveTo>
                  <a:pt x="244811" y="100012"/>
                </a:moveTo>
                <a:cubicBezTo>
                  <a:pt x="266370" y="100012"/>
                  <a:pt x="284335" y="116783"/>
                  <a:pt x="285054" y="137479"/>
                </a:cubicBezTo>
                <a:cubicBezTo>
                  <a:pt x="285054" y="147827"/>
                  <a:pt x="281461" y="157818"/>
                  <a:pt x="273915" y="165668"/>
                </a:cubicBezTo>
                <a:cubicBezTo>
                  <a:pt x="266729" y="173161"/>
                  <a:pt x="256668" y="177443"/>
                  <a:pt x="246248" y="177443"/>
                </a:cubicBezTo>
                <a:lnTo>
                  <a:pt x="202412" y="177443"/>
                </a:lnTo>
                <a:cubicBezTo>
                  <a:pt x="199897" y="177443"/>
                  <a:pt x="198100" y="175302"/>
                  <a:pt x="198100" y="172805"/>
                </a:cubicBezTo>
                <a:cubicBezTo>
                  <a:pt x="198100" y="170664"/>
                  <a:pt x="199897" y="168523"/>
                  <a:pt x="202412" y="168523"/>
                </a:cubicBezTo>
                <a:lnTo>
                  <a:pt x="246248" y="168523"/>
                </a:lnTo>
                <a:cubicBezTo>
                  <a:pt x="254512" y="168523"/>
                  <a:pt x="262058" y="165668"/>
                  <a:pt x="267807" y="159602"/>
                </a:cubicBezTo>
                <a:cubicBezTo>
                  <a:pt x="273556" y="153536"/>
                  <a:pt x="276430" y="145686"/>
                  <a:pt x="276430" y="137836"/>
                </a:cubicBezTo>
                <a:cubicBezTo>
                  <a:pt x="275712" y="121778"/>
                  <a:pt x="261699" y="108576"/>
                  <a:pt x="244811" y="108576"/>
                </a:cubicBezTo>
                <a:cubicBezTo>
                  <a:pt x="242296" y="108576"/>
                  <a:pt x="240140" y="106792"/>
                  <a:pt x="240140" y="104294"/>
                </a:cubicBezTo>
                <a:cubicBezTo>
                  <a:pt x="240140" y="102153"/>
                  <a:pt x="242296" y="100012"/>
                  <a:pt x="244811" y="100012"/>
                </a:cubicBezTo>
                <a:close/>
                <a:moveTo>
                  <a:pt x="229660" y="100012"/>
                </a:moveTo>
                <a:cubicBezTo>
                  <a:pt x="232327" y="100012"/>
                  <a:pt x="234232" y="102298"/>
                  <a:pt x="234232" y="104584"/>
                </a:cubicBezTo>
                <a:cubicBezTo>
                  <a:pt x="234232" y="107251"/>
                  <a:pt x="232327" y="109156"/>
                  <a:pt x="229660" y="109156"/>
                </a:cubicBezTo>
                <a:cubicBezTo>
                  <a:pt x="227374" y="109156"/>
                  <a:pt x="225088" y="107251"/>
                  <a:pt x="225088" y="104584"/>
                </a:cubicBezTo>
                <a:cubicBezTo>
                  <a:pt x="225088" y="102298"/>
                  <a:pt x="227374" y="100012"/>
                  <a:pt x="229660" y="100012"/>
                </a:cubicBezTo>
                <a:close/>
                <a:moveTo>
                  <a:pt x="213785" y="100012"/>
                </a:moveTo>
                <a:cubicBezTo>
                  <a:pt x="216452" y="100012"/>
                  <a:pt x="218357" y="102298"/>
                  <a:pt x="218357" y="104584"/>
                </a:cubicBezTo>
                <a:cubicBezTo>
                  <a:pt x="218357" y="107251"/>
                  <a:pt x="216452" y="109156"/>
                  <a:pt x="213785" y="109156"/>
                </a:cubicBezTo>
                <a:cubicBezTo>
                  <a:pt x="211118" y="109156"/>
                  <a:pt x="209213" y="107251"/>
                  <a:pt x="209213" y="104584"/>
                </a:cubicBezTo>
                <a:cubicBezTo>
                  <a:pt x="209213" y="102298"/>
                  <a:pt x="211118" y="100012"/>
                  <a:pt x="213785" y="100012"/>
                </a:cubicBezTo>
                <a:close/>
                <a:moveTo>
                  <a:pt x="196976" y="100012"/>
                </a:moveTo>
                <a:cubicBezTo>
                  <a:pt x="199291" y="100012"/>
                  <a:pt x="200945" y="102298"/>
                  <a:pt x="200945" y="104584"/>
                </a:cubicBezTo>
                <a:cubicBezTo>
                  <a:pt x="200945" y="107251"/>
                  <a:pt x="199291" y="109156"/>
                  <a:pt x="196976" y="109156"/>
                </a:cubicBezTo>
                <a:cubicBezTo>
                  <a:pt x="194992" y="109156"/>
                  <a:pt x="193338" y="107251"/>
                  <a:pt x="193338" y="104584"/>
                </a:cubicBezTo>
                <a:cubicBezTo>
                  <a:pt x="193338" y="102298"/>
                  <a:pt x="194992" y="100012"/>
                  <a:pt x="196976" y="100012"/>
                </a:cubicBezTo>
                <a:close/>
                <a:moveTo>
                  <a:pt x="180447" y="100012"/>
                </a:moveTo>
                <a:cubicBezTo>
                  <a:pt x="183114" y="100012"/>
                  <a:pt x="185019" y="102298"/>
                  <a:pt x="185019" y="104584"/>
                </a:cubicBezTo>
                <a:cubicBezTo>
                  <a:pt x="185019" y="107251"/>
                  <a:pt x="183114" y="109156"/>
                  <a:pt x="180447" y="109156"/>
                </a:cubicBezTo>
                <a:cubicBezTo>
                  <a:pt x="177780" y="109156"/>
                  <a:pt x="175875" y="107251"/>
                  <a:pt x="175875" y="104584"/>
                </a:cubicBezTo>
                <a:cubicBezTo>
                  <a:pt x="175875" y="102298"/>
                  <a:pt x="177780" y="100012"/>
                  <a:pt x="180447" y="100012"/>
                </a:cubicBezTo>
                <a:close/>
                <a:moveTo>
                  <a:pt x="99675" y="59509"/>
                </a:moveTo>
                <a:cubicBezTo>
                  <a:pt x="93924" y="59509"/>
                  <a:pt x="89251" y="64226"/>
                  <a:pt x="89251" y="69669"/>
                </a:cubicBezTo>
                <a:cubicBezTo>
                  <a:pt x="89251" y="75111"/>
                  <a:pt x="93924" y="79829"/>
                  <a:pt x="99675" y="79829"/>
                </a:cubicBezTo>
                <a:cubicBezTo>
                  <a:pt x="105066" y="79829"/>
                  <a:pt x="109739" y="75111"/>
                  <a:pt x="109739" y="69669"/>
                </a:cubicBezTo>
                <a:cubicBezTo>
                  <a:pt x="109739" y="64226"/>
                  <a:pt x="105066" y="59509"/>
                  <a:pt x="99675" y="59509"/>
                </a:cubicBezTo>
                <a:close/>
                <a:moveTo>
                  <a:pt x="99675" y="50800"/>
                </a:moveTo>
                <a:cubicBezTo>
                  <a:pt x="109739" y="50800"/>
                  <a:pt x="118365" y="59146"/>
                  <a:pt x="118365" y="69669"/>
                </a:cubicBezTo>
                <a:cubicBezTo>
                  <a:pt x="118365" y="80191"/>
                  <a:pt x="109739" y="88537"/>
                  <a:pt x="99675" y="88537"/>
                </a:cubicBezTo>
                <a:cubicBezTo>
                  <a:pt x="89251" y="88537"/>
                  <a:pt x="80625" y="80191"/>
                  <a:pt x="80625" y="69669"/>
                </a:cubicBezTo>
                <a:cubicBezTo>
                  <a:pt x="80625" y="59146"/>
                  <a:pt x="89251" y="50800"/>
                  <a:pt x="99675" y="50800"/>
                </a:cubicBezTo>
                <a:close/>
                <a:moveTo>
                  <a:pt x="142466" y="0"/>
                </a:moveTo>
                <a:lnTo>
                  <a:pt x="154011" y="20046"/>
                </a:lnTo>
                <a:lnTo>
                  <a:pt x="146795" y="20046"/>
                </a:lnTo>
                <a:cubicBezTo>
                  <a:pt x="146074" y="31143"/>
                  <a:pt x="136693" y="40450"/>
                  <a:pt x="125147" y="40450"/>
                </a:cubicBezTo>
                <a:lnTo>
                  <a:pt x="97366" y="40450"/>
                </a:lnTo>
                <a:cubicBezTo>
                  <a:pt x="89067" y="40450"/>
                  <a:pt x="81491" y="43672"/>
                  <a:pt x="75718" y="49399"/>
                </a:cubicBezTo>
                <a:cubicBezTo>
                  <a:pt x="69945" y="55484"/>
                  <a:pt x="67059" y="63002"/>
                  <a:pt x="67059" y="71593"/>
                </a:cubicBezTo>
                <a:cubicBezTo>
                  <a:pt x="67420" y="87701"/>
                  <a:pt x="81851" y="100588"/>
                  <a:pt x="99170" y="100588"/>
                </a:cubicBezTo>
                <a:lnTo>
                  <a:pt x="165196" y="100588"/>
                </a:lnTo>
                <a:cubicBezTo>
                  <a:pt x="167360" y="100588"/>
                  <a:pt x="169164" y="102736"/>
                  <a:pt x="169164" y="104883"/>
                </a:cubicBezTo>
                <a:cubicBezTo>
                  <a:pt x="169164" y="107389"/>
                  <a:pt x="167360" y="109179"/>
                  <a:pt x="165196" y="109179"/>
                </a:cubicBezTo>
                <a:lnTo>
                  <a:pt x="99170" y="109179"/>
                </a:lnTo>
                <a:cubicBezTo>
                  <a:pt x="77522" y="109179"/>
                  <a:pt x="59121" y="92355"/>
                  <a:pt x="58400" y="71593"/>
                </a:cubicBezTo>
                <a:cubicBezTo>
                  <a:pt x="58400" y="60854"/>
                  <a:pt x="62008" y="51189"/>
                  <a:pt x="69584" y="43672"/>
                </a:cubicBezTo>
                <a:cubicBezTo>
                  <a:pt x="76800" y="36154"/>
                  <a:pt x="86903" y="31859"/>
                  <a:pt x="97366" y="31859"/>
                </a:cubicBezTo>
                <a:lnTo>
                  <a:pt x="125147" y="31859"/>
                </a:lnTo>
                <a:cubicBezTo>
                  <a:pt x="132003" y="31859"/>
                  <a:pt x="137414" y="26489"/>
                  <a:pt x="137775" y="20046"/>
                </a:cubicBezTo>
                <a:lnTo>
                  <a:pt x="130559" y="20046"/>
                </a:lnTo>
                <a:lnTo>
                  <a:pt x="142466" y="0"/>
                </a:lnTo>
                <a:close/>
              </a:path>
            </a:pathLst>
          </a:custGeom>
          <a:solidFill>
            <a:schemeClr val="bg1"/>
          </a:solidFill>
          <a:ln>
            <a:noFill/>
          </a:ln>
        </p:spPr>
        <p:txBody>
          <a:bodyPr anchor="ctr"/>
          <a:lstStyle/>
          <a:p>
            <a:endParaRPr lang="en-GB" sz="1400" dirty="0">
              <a:latin typeface="+mj-lt"/>
            </a:endParaRPr>
          </a:p>
        </p:txBody>
      </p:sp>
      <p:sp>
        <p:nvSpPr>
          <p:cNvPr id="49" name="Freeform 282">
            <a:extLst>
              <a:ext uri="{FF2B5EF4-FFF2-40B4-BE49-F238E27FC236}">
                <a16:creationId xmlns:a16="http://schemas.microsoft.com/office/drawing/2014/main" xmlns="" id="{10B20AE7-37A8-44AC-8083-5FD7263FA1D4}"/>
              </a:ext>
            </a:extLst>
          </p:cNvPr>
          <p:cNvSpPr>
            <a:spLocks noChangeAspect="1"/>
          </p:cNvSpPr>
          <p:nvPr/>
        </p:nvSpPr>
        <p:spPr bwMode="auto">
          <a:xfrm>
            <a:off x="8252185" y="2445672"/>
            <a:ext cx="407291" cy="411064"/>
          </a:xfrm>
          <a:custGeom>
            <a:avLst/>
            <a:gdLst>
              <a:gd name="T0" fmla="*/ 2147483646 w 791"/>
              <a:gd name="T1" fmla="*/ 2147483646 h 792"/>
              <a:gd name="T2" fmla="*/ 2147483646 w 791"/>
              <a:gd name="T3" fmla="*/ 2147483646 h 792"/>
              <a:gd name="T4" fmla="*/ 2147483646 w 791"/>
              <a:gd name="T5" fmla="*/ 2147483646 h 792"/>
              <a:gd name="T6" fmla="*/ 2147483646 w 791"/>
              <a:gd name="T7" fmla="*/ 2147483646 h 792"/>
              <a:gd name="T8" fmla="*/ 2147483646 w 791"/>
              <a:gd name="T9" fmla="*/ 2147483646 h 792"/>
              <a:gd name="T10" fmla="*/ 2147483646 w 791"/>
              <a:gd name="T11" fmla="*/ 2147483646 h 792"/>
              <a:gd name="T12" fmla="*/ 2147483646 w 791"/>
              <a:gd name="T13" fmla="*/ 2147483646 h 792"/>
              <a:gd name="T14" fmla="*/ 2147483646 w 791"/>
              <a:gd name="T15" fmla="*/ 2147483646 h 792"/>
              <a:gd name="T16" fmla="*/ 2147483646 w 791"/>
              <a:gd name="T17" fmla="*/ 2147483646 h 792"/>
              <a:gd name="T18" fmla="*/ 2147483646 w 791"/>
              <a:gd name="T19" fmla="*/ 2147483646 h 792"/>
              <a:gd name="T20" fmla="*/ 2147483646 w 791"/>
              <a:gd name="T21" fmla="*/ 2147483646 h 792"/>
              <a:gd name="T22" fmla="*/ 2147483646 w 791"/>
              <a:gd name="T23" fmla="*/ 2147483646 h 792"/>
              <a:gd name="T24" fmla="*/ 2147483646 w 791"/>
              <a:gd name="T25" fmla="*/ 2147483646 h 792"/>
              <a:gd name="T26" fmla="*/ 2147483646 w 791"/>
              <a:gd name="T27" fmla="*/ 2147483646 h 792"/>
              <a:gd name="T28" fmla="*/ 2147483646 w 791"/>
              <a:gd name="T29" fmla="*/ 2147483646 h 792"/>
              <a:gd name="T30" fmla="*/ 2147483646 w 791"/>
              <a:gd name="T31" fmla="*/ 2147483646 h 792"/>
              <a:gd name="T32" fmla="*/ 2147483646 w 791"/>
              <a:gd name="T33" fmla="*/ 2147483646 h 792"/>
              <a:gd name="T34" fmla="*/ 2147483646 w 791"/>
              <a:gd name="T35" fmla="*/ 2147483646 h 792"/>
              <a:gd name="T36" fmla="*/ 2147483646 w 791"/>
              <a:gd name="T37" fmla="*/ 2147483646 h 792"/>
              <a:gd name="T38" fmla="*/ 2147483646 w 791"/>
              <a:gd name="T39" fmla="*/ 2147483646 h 792"/>
              <a:gd name="T40" fmla="*/ 2147483646 w 791"/>
              <a:gd name="T41" fmla="*/ 2147483646 h 792"/>
              <a:gd name="T42" fmla="*/ 2147483646 w 791"/>
              <a:gd name="T43" fmla="*/ 2147483646 h 792"/>
              <a:gd name="T44" fmla="*/ 2147483646 w 791"/>
              <a:gd name="T45" fmla="*/ 2147483646 h 792"/>
              <a:gd name="T46" fmla="*/ 2147483646 w 791"/>
              <a:gd name="T47" fmla="*/ 2147483646 h 792"/>
              <a:gd name="T48" fmla="*/ 2147483646 w 791"/>
              <a:gd name="T49" fmla="*/ 2147483646 h 792"/>
              <a:gd name="T50" fmla="*/ 2147483646 w 791"/>
              <a:gd name="T51" fmla="*/ 2147483646 h 792"/>
              <a:gd name="T52" fmla="*/ 2147483646 w 791"/>
              <a:gd name="T53" fmla="*/ 2147483646 h 792"/>
              <a:gd name="T54" fmla="*/ 2147483646 w 791"/>
              <a:gd name="T55" fmla="*/ 2147483646 h 792"/>
              <a:gd name="T56" fmla="*/ 2147483646 w 791"/>
              <a:gd name="T57" fmla="*/ 2147483646 h 792"/>
              <a:gd name="T58" fmla="*/ 2147483646 w 791"/>
              <a:gd name="T59" fmla="*/ 2147483646 h 792"/>
              <a:gd name="T60" fmla="*/ 2147483646 w 791"/>
              <a:gd name="T61" fmla="*/ 2147483646 h 792"/>
              <a:gd name="T62" fmla="*/ 2147483646 w 791"/>
              <a:gd name="T63" fmla="*/ 2147483646 h 792"/>
              <a:gd name="T64" fmla="*/ 2147483646 w 791"/>
              <a:gd name="T65" fmla="*/ 2147483646 h 792"/>
              <a:gd name="T66" fmla="*/ 2147483646 w 791"/>
              <a:gd name="T67" fmla="*/ 2147483646 h 792"/>
              <a:gd name="T68" fmla="*/ 2147483646 w 791"/>
              <a:gd name="T69" fmla="*/ 2147483646 h 792"/>
              <a:gd name="T70" fmla="*/ 2147483646 w 791"/>
              <a:gd name="T71" fmla="*/ 2147483646 h 792"/>
              <a:gd name="T72" fmla="*/ 2147483646 w 791"/>
              <a:gd name="T73" fmla="*/ 2147483646 h 792"/>
              <a:gd name="T74" fmla="*/ 2147483646 w 791"/>
              <a:gd name="T75" fmla="*/ 2147483646 h 792"/>
              <a:gd name="T76" fmla="*/ 0 w 791"/>
              <a:gd name="T77" fmla="*/ 2147483646 h 792"/>
              <a:gd name="T78" fmla="*/ 2147483646 w 791"/>
              <a:gd name="T79" fmla="*/ 2147483646 h 792"/>
              <a:gd name="T80" fmla="*/ 2147483646 w 791"/>
              <a:gd name="T81" fmla="*/ 2147483646 h 792"/>
              <a:gd name="T82" fmla="*/ 2147483646 w 791"/>
              <a:gd name="T83" fmla="*/ 2147483646 h 792"/>
              <a:gd name="T84" fmla="*/ 2147483646 w 791"/>
              <a:gd name="T85" fmla="*/ 2147483646 h 7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791" h="792">
                <a:moveTo>
                  <a:pt x="766" y="767"/>
                </a:moveTo>
                <a:lnTo>
                  <a:pt x="24" y="767"/>
                </a:lnTo>
                <a:lnTo>
                  <a:pt x="24" y="535"/>
                </a:lnTo>
                <a:lnTo>
                  <a:pt x="97" y="657"/>
                </a:lnTo>
                <a:cubicBezTo>
                  <a:pt x="100" y="660"/>
                  <a:pt x="104" y="663"/>
                  <a:pt x="108" y="663"/>
                </a:cubicBezTo>
                <a:lnTo>
                  <a:pt x="682" y="663"/>
                </a:lnTo>
                <a:cubicBezTo>
                  <a:pt x="687" y="663"/>
                  <a:pt x="690" y="660"/>
                  <a:pt x="692" y="657"/>
                </a:cubicBezTo>
                <a:lnTo>
                  <a:pt x="766" y="535"/>
                </a:lnTo>
                <a:lnTo>
                  <a:pt x="766" y="767"/>
                </a:lnTo>
                <a:close/>
                <a:moveTo>
                  <a:pt x="757" y="503"/>
                </a:moveTo>
                <a:lnTo>
                  <a:pt x="675" y="639"/>
                </a:lnTo>
                <a:lnTo>
                  <a:pt x="114" y="639"/>
                </a:lnTo>
                <a:lnTo>
                  <a:pt x="33" y="503"/>
                </a:lnTo>
                <a:lnTo>
                  <a:pt x="757" y="503"/>
                </a:lnTo>
                <a:close/>
                <a:moveTo>
                  <a:pt x="144" y="390"/>
                </a:moveTo>
                <a:lnTo>
                  <a:pt x="144" y="480"/>
                </a:lnTo>
                <a:lnTo>
                  <a:pt x="43" y="480"/>
                </a:lnTo>
                <a:lnTo>
                  <a:pt x="144" y="390"/>
                </a:lnTo>
                <a:close/>
                <a:moveTo>
                  <a:pt x="168" y="376"/>
                </a:moveTo>
                <a:lnTo>
                  <a:pt x="264" y="376"/>
                </a:lnTo>
                <a:lnTo>
                  <a:pt x="264" y="427"/>
                </a:lnTo>
                <a:cubicBezTo>
                  <a:pt x="264" y="434"/>
                  <a:pt x="269" y="440"/>
                  <a:pt x="275" y="440"/>
                </a:cubicBezTo>
                <a:cubicBezTo>
                  <a:pt x="282" y="440"/>
                  <a:pt x="287" y="434"/>
                  <a:pt x="287" y="427"/>
                </a:cubicBezTo>
                <a:lnTo>
                  <a:pt x="287" y="252"/>
                </a:lnTo>
                <a:cubicBezTo>
                  <a:pt x="287" y="245"/>
                  <a:pt x="282" y="240"/>
                  <a:pt x="275" y="240"/>
                </a:cubicBezTo>
                <a:lnTo>
                  <a:pt x="184" y="240"/>
                </a:lnTo>
                <a:lnTo>
                  <a:pt x="395" y="30"/>
                </a:lnTo>
                <a:lnTo>
                  <a:pt x="605" y="240"/>
                </a:lnTo>
                <a:lnTo>
                  <a:pt x="514" y="240"/>
                </a:lnTo>
                <a:cubicBezTo>
                  <a:pt x="508" y="240"/>
                  <a:pt x="503" y="245"/>
                  <a:pt x="503" y="252"/>
                </a:cubicBezTo>
                <a:lnTo>
                  <a:pt x="503" y="427"/>
                </a:lnTo>
                <a:cubicBezTo>
                  <a:pt x="503" y="434"/>
                  <a:pt x="508" y="440"/>
                  <a:pt x="514" y="440"/>
                </a:cubicBezTo>
                <a:cubicBezTo>
                  <a:pt x="521" y="440"/>
                  <a:pt x="527" y="434"/>
                  <a:pt x="527" y="427"/>
                </a:cubicBezTo>
                <a:lnTo>
                  <a:pt x="527" y="376"/>
                </a:lnTo>
                <a:lnTo>
                  <a:pt x="622" y="376"/>
                </a:lnTo>
                <a:lnTo>
                  <a:pt x="622" y="480"/>
                </a:lnTo>
                <a:lnTo>
                  <a:pt x="168" y="480"/>
                </a:lnTo>
                <a:lnTo>
                  <a:pt x="168" y="376"/>
                </a:lnTo>
                <a:close/>
                <a:moveTo>
                  <a:pt x="647" y="390"/>
                </a:moveTo>
                <a:lnTo>
                  <a:pt x="746" y="480"/>
                </a:lnTo>
                <a:lnTo>
                  <a:pt x="647" y="480"/>
                </a:lnTo>
                <a:lnTo>
                  <a:pt x="647" y="390"/>
                </a:lnTo>
                <a:close/>
                <a:moveTo>
                  <a:pt x="786" y="483"/>
                </a:moveTo>
                <a:lnTo>
                  <a:pt x="642" y="355"/>
                </a:lnTo>
                <a:cubicBezTo>
                  <a:pt x="640" y="353"/>
                  <a:pt x="637" y="352"/>
                  <a:pt x="634" y="352"/>
                </a:cubicBezTo>
                <a:lnTo>
                  <a:pt x="527" y="352"/>
                </a:lnTo>
                <a:lnTo>
                  <a:pt x="527" y="264"/>
                </a:lnTo>
                <a:lnTo>
                  <a:pt x="634" y="264"/>
                </a:lnTo>
                <a:cubicBezTo>
                  <a:pt x="639" y="264"/>
                  <a:pt x="644" y="261"/>
                  <a:pt x="645" y="256"/>
                </a:cubicBezTo>
                <a:cubicBezTo>
                  <a:pt x="647" y="252"/>
                  <a:pt x="646" y="247"/>
                  <a:pt x="643" y="243"/>
                </a:cubicBezTo>
                <a:lnTo>
                  <a:pt x="403" y="5"/>
                </a:lnTo>
                <a:cubicBezTo>
                  <a:pt x="399" y="0"/>
                  <a:pt x="391" y="0"/>
                  <a:pt x="386" y="5"/>
                </a:cubicBezTo>
                <a:lnTo>
                  <a:pt x="147" y="243"/>
                </a:lnTo>
                <a:cubicBezTo>
                  <a:pt x="144" y="247"/>
                  <a:pt x="143" y="252"/>
                  <a:pt x="144" y="256"/>
                </a:cubicBezTo>
                <a:cubicBezTo>
                  <a:pt x="147" y="261"/>
                  <a:pt x="151" y="264"/>
                  <a:pt x="155" y="264"/>
                </a:cubicBezTo>
                <a:lnTo>
                  <a:pt x="264" y="264"/>
                </a:lnTo>
                <a:lnTo>
                  <a:pt x="264" y="352"/>
                </a:lnTo>
                <a:lnTo>
                  <a:pt x="155" y="352"/>
                </a:lnTo>
                <a:cubicBezTo>
                  <a:pt x="153" y="352"/>
                  <a:pt x="150" y="353"/>
                  <a:pt x="148" y="355"/>
                </a:cubicBezTo>
                <a:lnTo>
                  <a:pt x="4" y="483"/>
                </a:lnTo>
                <a:cubicBezTo>
                  <a:pt x="2" y="485"/>
                  <a:pt x="0" y="488"/>
                  <a:pt x="0" y="491"/>
                </a:cubicBezTo>
                <a:lnTo>
                  <a:pt x="0" y="779"/>
                </a:lnTo>
                <a:cubicBezTo>
                  <a:pt x="0" y="785"/>
                  <a:pt x="5" y="791"/>
                  <a:pt x="12" y="791"/>
                </a:cubicBezTo>
                <a:lnTo>
                  <a:pt x="778" y="791"/>
                </a:lnTo>
                <a:cubicBezTo>
                  <a:pt x="784" y="791"/>
                  <a:pt x="790" y="785"/>
                  <a:pt x="790" y="779"/>
                </a:cubicBezTo>
                <a:lnTo>
                  <a:pt x="790" y="491"/>
                </a:lnTo>
                <a:cubicBezTo>
                  <a:pt x="790" y="488"/>
                  <a:pt x="789" y="485"/>
                  <a:pt x="786" y="483"/>
                </a:cubicBezTo>
                <a:close/>
              </a:path>
            </a:pathLst>
          </a:custGeom>
          <a:solidFill>
            <a:schemeClr val="bg1"/>
          </a:solidFill>
          <a:ln>
            <a:noFill/>
          </a:ln>
        </p:spPr>
        <p:txBody>
          <a:bodyPr wrap="none" anchor="ctr"/>
          <a:lstStyle/>
          <a:p>
            <a:endParaRPr lang="en-GB" sz="1400" dirty="0">
              <a:latin typeface="+mj-lt"/>
            </a:endParaRPr>
          </a:p>
        </p:txBody>
      </p:sp>
      <p:sp>
        <p:nvSpPr>
          <p:cNvPr id="50" name="Freeform 954">
            <a:extLst>
              <a:ext uri="{FF2B5EF4-FFF2-40B4-BE49-F238E27FC236}">
                <a16:creationId xmlns:a16="http://schemas.microsoft.com/office/drawing/2014/main" xmlns="" id="{40BBA88E-D103-4023-9DAB-5B95C91E6F46}"/>
              </a:ext>
            </a:extLst>
          </p:cNvPr>
          <p:cNvSpPr>
            <a:spLocks noChangeAspect="1"/>
          </p:cNvSpPr>
          <p:nvPr/>
        </p:nvSpPr>
        <p:spPr bwMode="auto">
          <a:xfrm rot="16200000">
            <a:off x="6762103" y="4976425"/>
            <a:ext cx="408548" cy="408548"/>
          </a:xfrm>
          <a:custGeom>
            <a:avLst/>
            <a:gdLst>
              <a:gd name="T0" fmla="*/ 2453975 w 283805"/>
              <a:gd name="T1" fmla="*/ 8432546 h 283804"/>
              <a:gd name="T2" fmla="*/ 4424983 w 283805"/>
              <a:gd name="T3" fmla="*/ 6448347 h 283804"/>
              <a:gd name="T4" fmla="*/ 4790451 w 283805"/>
              <a:gd name="T5" fmla="*/ 6813900 h 283804"/>
              <a:gd name="T6" fmla="*/ 10155741 w 283805"/>
              <a:gd name="T7" fmla="*/ 4960701 h 283804"/>
              <a:gd name="T8" fmla="*/ 6212717 w 283805"/>
              <a:gd name="T9" fmla="*/ 5237155 h 283804"/>
              <a:gd name="T10" fmla="*/ 5978320 w 283805"/>
              <a:gd name="T11" fmla="*/ 3015310 h 283804"/>
              <a:gd name="T12" fmla="*/ 6356860 w 283805"/>
              <a:gd name="T13" fmla="*/ 3380870 h 283804"/>
              <a:gd name="T14" fmla="*/ 4617686 w 283805"/>
              <a:gd name="T15" fmla="*/ 2711152 h 283804"/>
              <a:gd name="T16" fmla="*/ 1598931 w 283805"/>
              <a:gd name="T17" fmla="*/ 3043324 h 283804"/>
              <a:gd name="T18" fmla="*/ 3259251 w 283805"/>
              <a:gd name="T19" fmla="*/ 1672744 h 283804"/>
              <a:gd name="T20" fmla="*/ 5885836 w 283805"/>
              <a:gd name="T21" fmla="*/ 1949182 h 283804"/>
              <a:gd name="T22" fmla="*/ 3259251 w 283805"/>
              <a:gd name="T23" fmla="*/ 1672744 h 283804"/>
              <a:gd name="T24" fmla="*/ 2582739 w 283805"/>
              <a:gd name="T25" fmla="*/ 1805027 h 283804"/>
              <a:gd name="T26" fmla="*/ 1441996 w 283805"/>
              <a:gd name="T27" fmla="*/ 1805027 h 283804"/>
              <a:gd name="T28" fmla="*/ 7492411 w 283805"/>
              <a:gd name="T29" fmla="*/ 1292257 h 283804"/>
              <a:gd name="T30" fmla="*/ 7857921 w 283805"/>
              <a:gd name="T31" fmla="*/ 926706 h 283804"/>
              <a:gd name="T32" fmla="*/ 6043633 w 283805"/>
              <a:gd name="T33" fmla="*/ 721020 h 283804"/>
              <a:gd name="T34" fmla="*/ 4441470 w 283805"/>
              <a:gd name="T35" fmla="*/ 721020 h 283804"/>
              <a:gd name="T36" fmla="*/ 3750821 w 283805"/>
              <a:gd name="T37" fmla="*/ 576793 h 283804"/>
              <a:gd name="T38" fmla="*/ 1600421 w 283805"/>
              <a:gd name="T39" fmla="*/ 853275 h 283804"/>
              <a:gd name="T40" fmla="*/ 783087 w 283805"/>
              <a:gd name="T41" fmla="*/ 0 h 283804"/>
              <a:gd name="T42" fmla="*/ 1788215 w 283805"/>
              <a:gd name="T43" fmla="*/ 7910345 h 283804"/>
              <a:gd name="T44" fmla="*/ 3798455 w 283805"/>
              <a:gd name="T45" fmla="*/ 7035783 h 283804"/>
              <a:gd name="T46" fmla="*/ 4555514 w 283805"/>
              <a:gd name="T47" fmla="*/ 6161185 h 283804"/>
              <a:gd name="T48" fmla="*/ 1461977 w 283805"/>
              <a:gd name="T49" fmla="*/ 5156126 h 283804"/>
              <a:gd name="T50" fmla="*/ 5573661 w 283805"/>
              <a:gd name="T51" fmla="*/ 3916089 h 283804"/>
              <a:gd name="T52" fmla="*/ 6304617 w 283805"/>
              <a:gd name="T53" fmla="*/ 2780361 h 283804"/>
              <a:gd name="T54" fmla="*/ 7857921 w 283805"/>
              <a:gd name="T55" fmla="*/ 613396 h 283804"/>
              <a:gd name="T56" fmla="*/ 9476480 w 283805"/>
              <a:gd name="T57" fmla="*/ 900592 h 283804"/>
              <a:gd name="T58" fmla="*/ 9476480 w 283805"/>
              <a:gd name="T59" fmla="*/ 1448980 h 283804"/>
              <a:gd name="T60" fmla="*/ 7544668 w 283805"/>
              <a:gd name="T61" fmla="*/ 1879746 h 283804"/>
              <a:gd name="T62" fmla="*/ 5978320 w 283805"/>
              <a:gd name="T63" fmla="*/ 4046520 h 283804"/>
              <a:gd name="T64" fmla="*/ 5103711 w 283805"/>
              <a:gd name="T65" fmla="*/ 6813900 h 283804"/>
              <a:gd name="T66" fmla="*/ 3080486 w 283805"/>
              <a:gd name="T67" fmla="*/ 7845063 h 283804"/>
              <a:gd name="T68" fmla="*/ 1788215 w 283805"/>
              <a:gd name="T69" fmla="*/ 8223643 h 283804"/>
              <a:gd name="T70" fmla="*/ 10155248 w 283805"/>
              <a:gd name="T71" fmla="*/ 9372340 h 283804"/>
              <a:gd name="T72" fmla="*/ 9685340 w 283805"/>
              <a:gd name="T73" fmla="*/ 9685614 h 283804"/>
              <a:gd name="T74" fmla="*/ 9372041 w 283805"/>
              <a:gd name="T75" fmla="*/ 10155567 h 283804"/>
              <a:gd name="T76" fmla="*/ 8223396 w 283805"/>
              <a:gd name="T77" fmla="*/ 10155567 h 283804"/>
              <a:gd name="T78" fmla="*/ 7910137 w 283805"/>
              <a:gd name="T79" fmla="*/ 9685614 h 283804"/>
              <a:gd name="T80" fmla="*/ 6617899 w 283805"/>
              <a:gd name="T81" fmla="*/ 10312174 h 283804"/>
              <a:gd name="T82" fmla="*/ 5312575 w 283805"/>
              <a:gd name="T83" fmla="*/ 9685614 h 283804"/>
              <a:gd name="T84" fmla="*/ 4999317 w 283805"/>
              <a:gd name="T85" fmla="*/ 10155567 h 283804"/>
              <a:gd name="T86" fmla="*/ 3850675 w 283805"/>
              <a:gd name="T87" fmla="*/ 10155567 h 283804"/>
              <a:gd name="T88" fmla="*/ 3537369 w 283805"/>
              <a:gd name="T89" fmla="*/ 9685614 h 283804"/>
              <a:gd name="T90" fmla="*/ 2245078 w 283805"/>
              <a:gd name="T91" fmla="*/ 10312174 h 283804"/>
              <a:gd name="T92" fmla="*/ 939854 w 283805"/>
              <a:gd name="T93" fmla="*/ 9685614 h 283804"/>
              <a:gd name="T94" fmla="*/ 626585 w 283805"/>
              <a:gd name="T95" fmla="*/ 10155567 h 283804"/>
              <a:gd name="T96" fmla="*/ 0 w 283805"/>
              <a:gd name="T97" fmla="*/ 9528982 h 283804"/>
              <a:gd name="T98" fmla="*/ 626585 w 283805"/>
              <a:gd name="T99" fmla="*/ 8223643 h 283804"/>
              <a:gd name="T100" fmla="*/ 156546 w 283805"/>
              <a:gd name="T101" fmla="*/ 7910345 h 283804"/>
              <a:gd name="T102" fmla="*/ 156546 w 283805"/>
              <a:gd name="T103" fmla="*/ 6774696 h 283804"/>
              <a:gd name="T104" fmla="*/ 626585 w 283805"/>
              <a:gd name="T105" fmla="*/ 6448347 h 283804"/>
              <a:gd name="T106" fmla="*/ 0 w 283805"/>
              <a:gd name="T107" fmla="*/ 5156126 h 283804"/>
              <a:gd name="T108" fmla="*/ 626585 w 283805"/>
              <a:gd name="T109" fmla="*/ 3850741 h 283804"/>
              <a:gd name="T110" fmla="*/ 156546 w 283805"/>
              <a:gd name="T111" fmla="*/ 3537476 h 283804"/>
              <a:gd name="T112" fmla="*/ 156546 w 283805"/>
              <a:gd name="T113" fmla="*/ 2388694 h 283804"/>
              <a:gd name="T114" fmla="*/ 626585 w 283805"/>
              <a:gd name="T115" fmla="*/ 2075485 h 283804"/>
              <a:gd name="T116" fmla="*/ 0 w 283805"/>
              <a:gd name="T117" fmla="*/ 783146 h 283804"/>
              <a:gd name="T118" fmla="*/ 626585 w 283805"/>
              <a:gd name="T119" fmla="*/ 156554 h 28380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83805" h="283804">
                <a:moveTo>
                  <a:pt x="67538" y="211955"/>
                </a:moveTo>
                <a:cubicBezTo>
                  <a:pt x="61790" y="211955"/>
                  <a:pt x="57479" y="216625"/>
                  <a:pt x="57479" y="222014"/>
                </a:cubicBezTo>
                <a:cubicBezTo>
                  <a:pt x="57479" y="227762"/>
                  <a:pt x="61790" y="232073"/>
                  <a:pt x="67538" y="232073"/>
                </a:cubicBezTo>
                <a:cubicBezTo>
                  <a:pt x="72927" y="232073"/>
                  <a:pt x="77238" y="227762"/>
                  <a:pt x="77238" y="222014"/>
                </a:cubicBezTo>
                <a:cubicBezTo>
                  <a:pt x="77238" y="216625"/>
                  <a:pt x="72927" y="211955"/>
                  <a:pt x="67538" y="211955"/>
                </a:cubicBezTo>
                <a:close/>
                <a:moveTo>
                  <a:pt x="121784" y="177467"/>
                </a:moveTo>
                <a:cubicBezTo>
                  <a:pt x="116396" y="177467"/>
                  <a:pt x="111726" y="182137"/>
                  <a:pt x="111726" y="187526"/>
                </a:cubicBezTo>
                <a:cubicBezTo>
                  <a:pt x="111726" y="193274"/>
                  <a:pt x="116396" y="197585"/>
                  <a:pt x="121784" y="197585"/>
                </a:cubicBezTo>
                <a:cubicBezTo>
                  <a:pt x="127173" y="197585"/>
                  <a:pt x="131843" y="193274"/>
                  <a:pt x="131843" y="187526"/>
                </a:cubicBezTo>
                <a:cubicBezTo>
                  <a:pt x="131843" y="182137"/>
                  <a:pt x="127173" y="177467"/>
                  <a:pt x="121784" y="177467"/>
                </a:cubicBezTo>
                <a:close/>
                <a:moveTo>
                  <a:pt x="170986" y="136525"/>
                </a:moveTo>
                <a:lnTo>
                  <a:pt x="279507" y="136525"/>
                </a:lnTo>
                <a:cubicBezTo>
                  <a:pt x="281656" y="136525"/>
                  <a:pt x="283805" y="138179"/>
                  <a:pt x="283805" y="140494"/>
                </a:cubicBezTo>
                <a:cubicBezTo>
                  <a:pt x="283805" y="142479"/>
                  <a:pt x="281656" y="144132"/>
                  <a:pt x="279507" y="144132"/>
                </a:cubicBezTo>
                <a:lnTo>
                  <a:pt x="170986" y="144132"/>
                </a:lnTo>
                <a:cubicBezTo>
                  <a:pt x="168479" y="144132"/>
                  <a:pt x="166688" y="142479"/>
                  <a:pt x="166688" y="140494"/>
                </a:cubicBezTo>
                <a:cubicBezTo>
                  <a:pt x="166688" y="138179"/>
                  <a:pt x="168479" y="136525"/>
                  <a:pt x="170986" y="136525"/>
                </a:cubicBezTo>
                <a:close/>
                <a:moveTo>
                  <a:pt x="164535" y="82986"/>
                </a:moveTo>
                <a:cubicBezTo>
                  <a:pt x="159146" y="82986"/>
                  <a:pt x="154835" y="87297"/>
                  <a:pt x="154835" y="93045"/>
                </a:cubicBezTo>
                <a:cubicBezTo>
                  <a:pt x="154835" y="98433"/>
                  <a:pt x="159146" y="103103"/>
                  <a:pt x="164535" y="103103"/>
                </a:cubicBezTo>
                <a:cubicBezTo>
                  <a:pt x="170282" y="103103"/>
                  <a:pt x="174953" y="98433"/>
                  <a:pt x="174953" y="93045"/>
                </a:cubicBezTo>
                <a:cubicBezTo>
                  <a:pt x="174953" y="87297"/>
                  <a:pt x="170282" y="82986"/>
                  <a:pt x="164535" y="82986"/>
                </a:cubicBezTo>
                <a:close/>
                <a:moveTo>
                  <a:pt x="44004" y="74613"/>
                </a:moveTo>
                <a:lnTo>
                  <a:pt x="127088" y="74613"/>
                </a:lnTo>
                <a:cubicBezTo>
                  <a:pt x="129605" y="74613"/>
                  <a:pt x="131404" y="76518"/>
                  <a:pt x="131404" y="79185"/>
                </a:cubicBezTo>
                <a:cubicBezTo>
                  <a:pt x="131404" y="81852"/>
                  <a:pt x="129605" y="83757"/>
                  <a:pt x="127088" y="83757"/>
                </a:cubicBezTo>
                <a:lnTo>
                  <a:pt x="44004" y="83757"/>
                </a:lnTo>
                <a:cubicBezTo>
                  <a:pt x="41487" y="83757"/>
                  <a:pt x="39688" y="81852"/>
                  <a:pt x="39688" y="79185"/>
                </a:cubicBezTo>
                <a:cubicBezTo>
                  <a:pt x="39688" y="76518"/>
                  <a:pt x="41487" y="74613"/>
                  <a:pt x="44004" y="74613"/>
                </a:cubicBezTo>
                <a:close/>
                <a:moveTo>
                  <a:pt x="89701" y="46038"/>
                </a:moveTo>
                <a:lnTo>
                  <a:pt x="161990" y="46038"/>
                </a:lnTo>
                <a:cubicBezTo>
                  <a:pt x="164158" y="46038"/>
                  <a:pt x="166327" y="47691"/>
                  <a:pt x="166327" y="50006"/>
                </a:cubicBezTo>
                <a:cubicBezTo>
                  <a:pt x="166327" y="51991"/>
                  <a:pt x="164158" y="53644"/>
                  <a:pt x="161990" y="53644"/>
                </a:cubicBezTo>
                <a:lnTo>
                  <a:pt x="89701" y="53644"/>
                </a:lnTo>
                <a:cubicBezTo>
                  <a:pt x="87532" y="53644"/>
                  <a:pt x="85725" y="51991"/>
                  <a:pt x="85725" y="50006"/>
                </a:cubicBezTo>
                <a:cubicBezTo>
                  <a:pt x="85725" y="47691"/>
                  <a:pt x="87532" y="46038"/>
                  <a:pt x="89701" y="46038"/>
                </a:cubicBezTo>
                <a:close/>
                <a:moveTo>
                  <a:pt x="43969" y="46038"/>
                </a:moveTo>
                <a:lnTo>
                  <a:pt x="66801" y="46038"/>
                </a:lnTo>
                <a:cubicBezTo>
                  <a:pt x="68941" y="46038"/>
                  <a:pt x="71082" y="47691"/>
                  <a:pt x="71082" y="49676"/>
                </a:cubicBezTo>
                <a:cubicBezTo>
                  <a:pt x="71082" y="51991"/>
                  <a:pt x="68941" y="53644"/>
                  <a:pt x="66801" y="53644"/>
                </a:cubicBezTo>
                <a:lnTo>
                  <a:pt x="43969" y="53644"/>
                </a:lnTo>
                <a:cubicBezTo>
                  <a:pt x="41472" y="53644"/>
                  <a:pt x="39688" y="51991"/>
                  <a:pt x="39688" y="49676"/>
                </a:cubicBezTo>
                <a:cubicBezTo>
                  <a:pt x="39688" y="47691"/>
                  <a:pt x="41472" y="46038"/>
                  <a:pt x="43969" y="46038"/>
                </a:cubicBezTo>
                <a:close/>
                <a:moveTo>
                  <a:pt x="216266" y="25506"/>
                </a:moveTo>
                <a:cubicBezTo>
                  <a:pt x="210877" y="25506"/>
                  <a:pt x="206207" y="29817"/>
                  <a:pt x="206207" y="35565"/>
                </a:cubicBezTo>
                <a:cubicBezTo>
                  <a:pt x="206207" y="41313"/>
                  <a:pt x="210877" y="45624"/>
                  <a:pt x="216266" y="45624"/>
                </a:cubicBezTo>
                <a:cubicBezTo>
                  <a:pt x="222014" y="45624"/>
                  <a:pt x="226325" y="41313"/>
                  <a:pt x="226325" y="35565"/>
                </a:cubicBezTo>
                <a:cubicBezTo>
                  <a:pt x="226325" y="29817"/>
                  <a:pt x="222014" y="25506"/>
                  <a:pt x="216266" y="25506"/>
                </a:cubicBezTo>
                <a:close/>
                <a:moveTo>
                  <a:pt x="126505" y="15875"/>
                </a:moveTo>
                <a:lnTo>
                  <a:pt x="162065" y="15875"/>
                </a:lnTo>
                <a:cubicBezTo>
                  <a:pt x="164199" y="15875"/>
                  <a:pt x="166333" y="17529"/>
                  <a:pt x="166333" y="19844"/>
                </a:cubicBezTo>
                <a:cubicBezTo>
                  <a:pt x="166333" y="21828"/>
                  <a:pt x="164199" y="23482"/>
                  <a:pt x="162065" y="23482"/>
                </a:cubicBezTo>
                <a:lnTo>
                  <a:pt x="126505" y="23482"/>
                </a:lnTo>
                <a:cubicBezTo>
                  <a:pt x="124016" y="23482"/>
                  <a:pt x="122238" y="21828"/>
                  <a:pt x="122238" y="19844"/>
                </a:cubicBezTo>
                <a:cubicBezTo>
                  <a:pt x="122238" y="17529"/>
                  <a:pt x="124016" y="15875"/>
                  <a:pt x="126505" y="15875"/>
                </a:cubicBezTo>
                <a:close/>
                <a:moveTo>
                  <a:pt x="44045" y="15875"/>
                </a:moveTo>
                <a:lnTo>
                  <a:pt x="103230" y="15875"/>
                </a:lnTo>
                <a:cubicBezTo>
                  <a:pt x="105772" y="15875"/>
                  <a:pt x="107587" y="17529"/>
                  <a:pt x="107587" y="19844"/>
                </a:cubicBezTo>
                <a:cubicBezTo>
                  <a:pt x="107587" y="21828"/>
                  <a:pt x="105772" y="23482"/>
                  <a:pt x="103230" y="23482"/>
                </a:cubicBezTo>
                <a:lnTo>
                  <a:pt x="44045" y="23482"/>
                </a:lnTo>
                <a:cubicBezTo>
                  <a:pt x="41504" y="23482"/>
                  <a:pt x="39688" y="21828"/>
                  <a:pt x="39688" y="19844"/>
                </a:cubicBezTo>
                <a:cubicBezTo>
                  <a:pt x="39688" y="17529"/>
                  <a:pt x="41504" y="15875"/>
                  <a:pt x="44045" y="15875"/>
                </a:cubicBezTo>
                <a:close/>
                <a:moveTo>
                  <a:pt x="21554" y="0"/>
                </a:moveTo>
                <a:cubicBezTo>
                  <a:pt x="24069" y="0"/>
                  <a:pt x="25865" y="1796"/>
                  <a:pt x="25865" y="4311"/>
                </a:cubicBezTo>
                <a:lnTo>
                  <a:pt x="25865" y="217703"/>
                </a:lnTo>
                <a:lnTo>
                  <a:pt x="49217" y="217703"/>
                </a:lnTo>
                <a:cubicBezTo>
                  <a:pt x="51013" y="209440"/>
                  <a:pt x="58557" y="203333"/>
                  <a:pt x="67538" y="203333"/>
                </a:cubicBezTo>
                <a:cubicBezTo>
                  <a:pt x="72568" y="203333"/>
                  <a:pt x="76879" y="205488"/>
                  <a:pt x="80112" y="208722"/>
                </a:cubicBezTo>
                <a:lnTo>
                  <a:pt x="104541" y="193633"/>
                </a:lnTo>
                <a:cubicBezTo>
                  <a:pt x="103822" y="191837"/>
                  <a:pt x="103104" y="189682"/>
                  <a:pt x="103104" y="187526"/>
                </a:cubicBezTo>
                <a:cubicBezTo>
                  <a:pt x="103104" y="177467"/>
                  <a:pt x="111726" y="169205"/>
                  <a:pt x="121784" y="169205"/>
                </a:cubicBezTo>
                <a:cubicBezTo>
                  <a:pt x="123221" y="169205"/>
                  <a:pt x="124299" y="169205"/>
                  <a:pt x="125377" y="169564"/>
                </a:cubicBezTo>
                <a:lnTo>
                  <a:pt x="136154" y="145854"/>
                </a:lnTo>
                <a:lnTo>
                  <a:pt x="44547" y="145854"/>
                </a:lnTo>
                <a:cubicBezTo>
                  <a:pt x="42032" y="145854"/>
                  <a:pt x="40236" y="144057"/>
                  <a:pt x="40236" y="141902"/>
                </a:cubicBezTo>
                <a:cubicBezTo>
                  <a:pt x="40236" y="139387"/>
                  <a:pt x="42032" y="137591"/>
                  <a:pt x="44547" y="137591"/>
                </a:cubicBezTo>
                <a:lnTo>
                  <a:pt x="139747" y="137591"/>
                </a:lnTo>
                <a:lnTo>
                  <a:pt x="153398" y="107774"/>
                </a:lnTo>
                <a:cubicBezTo>
                  <a:pt x="149087" y="104181"/>
                  <a:pt x="146213" y="98793"/>
                  <a:pt x="146213" y="93045"/>
                </a:cubicBezTo>
                <a:cubicBezTo>
                  <a:pt x="146213" y="82626"/>
                  <a:pt x="154476" y="74364"/>
                  <a:pt x="164535" y="74364"/>
                </a:cubicBezTo>
                <a:cubicBezTo>
                  <a:pt x="168127" y="74364"/>
                  <a:pt x="171001" y="75082"/>
                  <a:pt x="173516" y="76519"/>
                </a:cubicBezTo>
                <a:lnTo>
                  <a:pt x="200818" y="45983"/>
                </a:lnTo>
                <a:cubicBezTo>
                  <a:pt x="199022" y="43109"/>
                  <a:pt x="197944" y="39517"/>
                  <a:pt x="197944" y="35565"/>
                </a:cubicBezTo>
                <a:cubicBezTo>
                  <a:pt x="197944" y="25147"/>
                  <a:pt x="206207" y="16884"/>
                  <a:pt x="216266" y="16884"/>
                </a:cubicBezTo>
                <a:cubicBezTo>
                  <a:pt x="225247" y="16884"/>
                  <a:pt x="232432" y="22992"/>
                  <a:pt x="234587" y="31254"/>
                </a:cubicBezTo>
                <a:lnTo>
                  <a:pt x="260812" y="31254"/>
                </a:lnTo>
                <a:lnTo>
                  <a:pt x="260812" y="24788"/>
                </a:lnTo>
                <a:lnTo>
                  <a:pt x="279493" y="35565"/>
                </a:lnTo>
                <a:lnTo>
                  <a:pt x="260812" y="46343"/>
                </a:lnTo>
                <a:lnTo>
                  <a:pt x="260812" y="39876"/>
                </a:lnTo>
                <a:lnTo>
                  <a:pt x="234587" y="39876"/>
                </a:lnTo>
                <a:cubicBezTo>
                  <a:pt x="232432" y="48139"/>
                  <a:pt x="225247" y="54246"/>
                  <a:pt x="216266" y="54246"/>
                </a:cubicBezTo>
                <a:cubicBezTo>
                  <a:pt x="213392" y="54246"/>
                  <a:pt x="210159" y="53168"/>
                  <a:pt x="207644" y="51731"/>
                </a:cubicBezTo>
                <a:lnTo>
                  <a:pt x="179982" y="82267"/>
                </a:lnTo>
                <a:cubicBezTo>
                  <a:pt x="182138" y="85141"/>
                  <a:pt x="183575" y="88734"/>
                  <a:pt x="183575" y="93045"/>
                </a:cubicBezTo>
                <a:cubicBezTo>
                  <a:pt x="183575" y="103103"/>
                  <a:pt x="174953" y="111366"/>
                  <a:pt x="164535" y="111366"/>
                </a:cubicBezTo>
                <a:cubicBezTo>
                  <a:pt x="163457" y="111366"/>
                  <a:pt x="162379" y="111366"/>
                  <a:pt x="161301" y="111366"/>
                </a:cubicBezTo>
                <a:lnTo>
                  <a:pt x="133280" y="173156"/>
                </a:lnTo>
                <a:cubicBezTo>
                  <a:pt x="137591" y="176389"/>
                  <a:pt x="140465" y="181778"/>
                  <a:pt x="140465" y="187526"/>
                </a:cubicBezTo>
                <a:cubicBezTo>
                  <a:pt x="140465" y="197944"/>
                  <a:pt x="131843" y="206207"/>
                  <a:pt x="121784" y="206207"/>
                </a:cubicBezTo>
                <a:cubicBezTo>
                  <a:pt x="116755" y="206207"/>
                  <a:pt x="112085" y="204051"/>
                  <a:pt x="108852" y="200818"/>
                </a:cubicBezTo>
                <a:lnTo>
                  <a:pt x="84782" y="215906"/>
                </a:lnTo>
                <a:cubicBezTo>
                  <a:pt x="85501" y="218062"/>
                  <a:pt x="86219" y="219858"/>
                  <a:pt x="86219" y="222014"/>
                </a:cubicBezTo>
                <a:cubicBezTo>
                  <a:pt x="86219" y="232432"/>
                  <a:pt x="77597" y="240694"/>
                  <a:pt x="67538" y="240694"/>
                </a:cubicBezTo>
                <a:cubicBezTo>
                  <a:pt x="58557" y="240694"/>
                  <a:pt x="51013" y="234587"/>
                  <a:pt x="49217" y="226325"/>
                </a:cubicBezTo>
                <a:lnTo>
                  <a:pt x="25865" y="226325"/>
                </a:lnTo>
                <a:lnTo>
                  <a:pt x="25865" y="257938"/>
                </a:lnTo>
                <a:lnTo>
                  <a:pt x="279493" y="257938"/>
                </a:lnTo>
                <a:cubicBezTo>
                  <a:pt x="281649" y="257938"/>
                  <a:pt x="283804" y="259734"/>
                  <a:pt x="283804" y="262249"/>
                </a:cubicBezTo>
                <a:cubicBezTo>
                  <a:pt x="283804" y="264764"/>
                  <a:pt x="281649" y="266560"/>
                  <a:pt x="279493" y="266560"/>
                </a:cubicBezTo>
                <a:lnTo>
                  <a:pt x="266560" y="266560"/>
                </a:lnTo>
                <a:lnTo>
                  <a:pt x="266560" y="279493"/>
                </a:lnTo>
                <a:cubicBezTo>
                  <a:pt x="266560" y="281648"/>
                  <a:pt x="264764" y="283804"/>
                  <a:pt x="262249" y="283804"/>
                </a:cubicBezTo>
                <a:cubicBezTo>
                  <a:pt x="259735" y="283804"/>
                  <a:pt x="257938" y="281648"/>
                  <a:pt x="257938" y="279493"/>
                </a:cubicBezTo>
                <a:lnTo>
                  <a:pt x="257938" y="266560"/>
                </a:lnTo>
                <a:lnTo>
                  <a:pt x="226325" y="266560"/>
                </a:lnTo>
                <a:lnTo>
                  <a:pt x="226325" y="279493"/>
                </a:lnTo>
                <a:cubicBezTo>
                  <a:pt x="226325" y="281648"/>
                  <a:pt x="224529" y="283804"/>
                  <a:pt x="222014" y="283804"/>
                </a:cubicBezTo>
                <a:cubicBezTo>
                  <a:pt x="219858" y="283804"/>
                  <a:pt x="217703" y="281648"/>
                  <a:pt x="217703" y="279493"/>
                </a:cubicBezTo>
                <a:lnTo>
                  <a:pt x="217703" y="266560"/>
                </a:lnTo>
                <a:lnTo>
                  <a:pt x="186089" y="266560"/>
                </a:lnTo>
                <a:lnTo>
                  <a:pt x="186089" y="279493"/>
                </a:lnTo>
                <a:cubicBezTo>
                  <a:pt x="186089" y="281648"/>
                  <a:pt x="184293" y="283804"/>
                  <a:pt x="182138" y="283804"/>
                </a:cubicBezTo>
                <a:cubicBezTo>
                  <a:pt x="179623" y="283804"/>
                  <a:pt x="177827" y="281648"/>
                  <a:pt x="177827" y="279493"/>
                </a:cubicBezTo>
                <a:lnTo>
                  <a:pt x="177827" y="266560"/>
                </a:lnTo>
                <a:lnTo>
                  <a:pt x="146213" y="266560"/>
                </a:lnTo>
                <a:lnTo>
                  <a:pt x="146213" y="279493"/>
                </a:lnTo>
                <a:cubicBezTo>
                  <a:pt x="146213" y="281648"/>
                  <a:pt x="144417" y="283804"/>
                  <a:pt x="141902" y="283804"/>
                </a:cubicBezTo>
                <a:cubicBezTo>
                  <a:pt x="139747" y="283804"/>
                  <a:pt x="137591" y="281648"/>
                  <a:pt x="137591" y="279493"/>
                </a:cubicBezTo>
                <a:lnTo>
                  <a:pt x="137591" y="266560"/>
                </a:lnTo>
                <a:lnTo>
                  <a:pt x="105978" y="266560"/>
                </a:lnTo>
                <a:lnTo>
                  <a:pt x="105978" y="279493"/>
                </a:lnTo>
                <a:cubicBezTo>
                  <a:pt x="105978" y="281648"/>
                  <a:pt x="104181" y="283804"/>
                  <a:pt x="101667" y="283804"/>
                </a:cubicBezTo>
                <a:cubicBezTo>
                  <a:pt x="99152" y="283804"/>
                  <a:pt x="97356" y="281648"/>
                  <a:pt x="97356" y="279493"/>
                </a:cubicBezTo>
                <a:lnTo>
                  <a:pt x="97356" y="266560"/>
                </a:lnTo>
                <a:lnTo>
                  <a:pt x="65742" y="266560"/>
                </a:lnTo>
                <a:lnTo>
                  <a:pt x="65742" y="279493"/>
                </a:lnTo>
                <a:cubicBezTo>
                  <a:pt x="65742" y="281648"/>
                  <a:pt x="63946" y="283804"/>
                  <a:pt x="61790" y="283804"/>
                </a:cubicBezTo>
                <a:cubicBezTo>
                  <a:pt x="59276" y="283804"/>
                  <a:pt x="57479" y="281648"/>
                  <a:pt x="57479" y="279493"/>
                </a:cubicBezTo>
                <a:lnTo>
                  <a:pt x="57479" y="266560"/>
                </a:lnTo>
                <a:lnTo>
                  <a:pt x="25865" y="266560"/>
                </a:lnTo>
                <a:lnTo>
                  <a:pt x="25865" y="279493"/>
                </a:lnTo>
                <a:cubicBezTo>
                  <a:pt x="25865" y="281648"/>
                  <a:pt x="24069" y="283804"/>
                  <a:pt x="21554" y="283804"/>
                </a:cubicBezTo>
                <a:cubicBezTo>
                  <a:pt x="19040" y="283804"/>
                  <a:pt x="17244" y="281648"/>
                  <a:pt x="17244" y="279493"/>
                </a:cubicBezTo>
                <a:lnTo>
                  <a:pt x="17244" y="266560"/>
                </a:lnTo>
                <a:lnTo>
                  <a:pt x="4311" y="266560"/>
                </a:lnTo>
                <a:cubicBezTo>
                  <a:pt x="2155" y="266560"/>
                  <a:pt x="0" y="264764"/>
                  <a:pt x="0" y="262249"/>
                </a:cubicBezTo>
                <a:cubicBezTo>
                  <a:pt x="0" y="259734"/>
                  <a:pt x="2155" y="257938"/>
                  <a:pt x="4311" y="257938"/>
                </a:cubicBezTo>
                <a:lnTo>
                  <a:pt x="17244" y="257938"/>
                </a:lnTo>
                <a:lnTo>
                  <a:pt x="17244" y="226325"/>
                </a:lnTo>
                <a:lnTo>
                  <a:pt x="4311" y="226325"/>
                </a:lnTo>
                <a:cubicBezTo>
                  <a:pt x="2155" y="226325"/>
                  <a:pt x="0" y="224528"/>
                  <a:pt x="0" y="222014"/>
                </a:cubicBezTo>
                <a:cubicBezTo>
                  <a:pt x="0" y="219499"/>
                  <a:pt x="2155" y="217703"/>
                  <a:pt x="4311" y="217703"/>
                </a:cubicBezTo>
                <a:lnTo>
                  <a:pt x="17244" y="217703"/>
                </a:lnTo>
                <a:lnTo>
                  <a:pt x="17244" y="186448"/>
                </a:lnTo>
                <a:lnTo>
                  <a:pt x="4311" y="186448"/>
                </a:lnTo>
                <a:cubicBezTo>
                  <a:pt x="2155" y="186448"/>
                  <a:pt x="0" y="184293"/>
                  <a:pt x="0" y="181778"/>
                </a:cubicBezTo>
                <a:cubicBezTo>
                  <a:pt x="0" y="179623"/>
                  <a:pt x="2155" y="177467"/>
                  <a:pt x="4311" y="177467"/>
                </a:cubicBezTo>
                <a:lnTo>
                  <a:pt x="17244" y="177467"/>
                </a:lnTo>
                <a:lnTo>
                  <a:pt x="17244" y="145854"/>
                </a:lnTo>
                <a:lnTo>
                  <a:pt x="4311" y="145854"/>
                </a:lnTo>
                <a:cubicBezTo>
                  <a:pt x="2155" y="145854"/>
                  <a:pt x="0" y="144057"/>
                  <a:pt x="0" y="141902"/>
                </a:cubicBezTo>
                <a:cubicBezTo>
                  <a:pt x="0" y="139387"/>
                  <a:pt x="2155" y="137591"/>
                  <a:pt x="4311" y="137591"/>
                </a:cubicBezTo>
                <a:lnTo>
                  <a:pt x="17244" y="137591"/>
                </a:lnTo>
                <a:lnTo>
                  <a:pt x="17244" y="105977"/>
                </a:lnTo>
                <a:lnTo>
                  <a:pt x="4311" y="105977"/>
                </a:lnTo>
                <a:cubicBezTo>
                  <a:pt x="2155" y="105977"/>
                  <a:pt x="0" y="104181"/>
                  <a:pt x="0" y="101666"/>
                </a:cubicBezTo>
                <a:cubicBezTo>
                  <a:pt x="0" y="99511"/>
                  <a:pt x="2155" y="97356"/>
                  <a:pt x="4311" y="97356"/>
                </a:cubicBezTo>
                <a:lnTo>
                  <a:pt x="17244" y="97356"/>
                </a:lnTo>
                <a:lnTo>
                  <a:pt x="17244" y="65742"/>
                </a:lnTo>
                <a:lnTo>
                  <a:pt x="4311" y="65742"/>
                </a:lnTo>
                <a:cubicBezTo>
                  <a:pt x="2155" y="65742"/>
                  <a:pt x="0" y="63946"/>
                  <a:pt x="0" y="61431"/>
                </a:cubicBezTo>
                <a:cubicBezTo>
                  <a:pt x="0" y="59275"/>
                  <a:pt x="2155" y="57120"/>
                  <a:pt x="4311" y="57120"/>
                </a:cubicBezTo>
                <a:lnTo>
                  <a:pt x="17244" y="57120"/>
                </a:lnTo>
                <a:lnTo>
                  <a:pt x="17244" y="25506"/>
                </a:lnTo>
                <a:lnTo>
                  <a:pt x="4311" y="25506"/>
                </a:lnTo>
                <a:cubicBezTo>
                  <a:pt x="2155" y="25506"/>
                  <a:pt x="0" y="23710"/>
                  <a:pt x="0" y="21555"/>
                </a:cubicBezTo>
                <a:cubicBezTo>
                  <a:pt x="0" y="19040"/>
                  <a:pt x="2155" y="17244"/>
                  <a:pt x="4311" y="17244"/>
                </a:cubicBezTo>
                <a:lnTo>
                  <a:pt x="17244" y="17244"/>
                </a:lnTo>
                <a:lnTo>
                  <a:pt x="17244" y="4311"/>
                </a:lnTo>
                <a:cubicBezTo>
                  <a:pt x="17244" y="1796"/>
                  <a:pt x="19040" y="0"/>
                  <a:pt x="21554" y="0"/>
                </a:cubicBezTo>
                <a:close/>
              </a:path>
            </a:pathLst>
          </a:custGeom>
          <a:solidFill>
            <a:schemeClr val="bg1"/>
          </a:solidFill>
          <a:ln>
            <a:noFill/>
          </a:ln>
        </p:spPr>
        <p:txBody>
          <a:bodyPr anchor="ctr"/>
          <a:lstStyle/>
          <a:p>
            <a:endParaRPr lang="en-GB" sz="1400" dirty="0">
              <a:latin typeface="+mj-lt"/>
            </a:endParaRPr>
          </a:p>
        </p:txBody>
      </p:sp>
      <p:sp>
        <p:nvSpPr>
          <p:cNvPr id="51" name="TextBox 27">
            <a:extLst>
              <a:ext uri="{FF2B5EF4-FFF2-40B4-BE49-F238E27FC236}">
                <a16:creationId xmlns:a16="http://schemas.microsoft.com/office/drawing/2014/main" xmlns="" id="{9189043D-C27C-4531-94D1-21526F232914}"/>
              </a:ext>
            </a:extLst>
          </p:cNvPr>
          <p:cNvSpPr txBox="1"/>
          <p:nvPr/>
        </p:nvSpPr>
        <p:spPr>
          <a:xfrm>
            <a:off x="9304440" y="1944490"/>
            <a:ext cx="2770935" cy="338554"/>
          </a:xfrm>
          <a:prstGeom prst="rect">
            <a:avLst/>
          </a:prstGeom>
          <a:noFill/>
        </p:spPr>
        <p:txBody>
          <a:bodyPr wrap="square" rtlCol="0" anchor="b" anchorCtr="0">
            <a:spAutoFit/>
          </a:bodyPr>
          <a:lstStyle/>
          <a:p>
            <a:r>
              <a:rPr lang="en-GB" sz="1600" b="1" dirty="0">
                <a:solidFill>
                  <a:schemeClr val="accent6">
                    <a:lumMod val="75000"/>
                  </a:schemeClr>
                </a:solidFill>
                <a:latin typeface="+mj-lt"/>
                <a:ea typeface="League Spartan" charset="0"/>
                <a:cs typeface="Poppins" pitchFamily="2" charset="77"/>
              </a:rPr>
              <a:t>Efficient Public Information</a:t>
            </a:r>
          </a:p>
        </p:txBody>
      </p:sp>
      <p:sp>
        <p:nvSpPr>
          <p:cNvPr id="52" name="Subtitle 2">
            <a:extLst>
              <a:ext uri="{FF2B5EF4-FFF2-40B4-BE49-F238E27FC236}">
                <a16:creationId xmlns:a16="http://schemas.microsoft.com/office/drawing/2014/main" xmlns="" id="{B6034747-5CDA-4B9C-A35D-78DA8DD19529}"/>
              </a:ext>
            </a:extLst>
          </p:cNvPr>
          <p:cNvSpPr txBox="1">
            <a:spLocks/>
          </p:cNvSpPr>
          <p:nvPr/>
        </p:nvSpPr>
        <p:spPr>
          <a:xfrm>
            <a:off x="9414406" y="2255672"/>
            <a:ext cx="2701393" cy="126573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If your crisis is relevant to the public, inform the public as efficiently as possible: statements on your website, press conferences, etc.</a:t>
            </a:r>
          </a:p>
        </p:txBody>
      </p:sp>
      <p:sp>
        <p:nvSpPr>
          <p:cNvPr id="53" name="TextBox 31">
            <a:extLst>
              <a:ext uri="{FF2B5EF4-FFF2-40B4-BE49-F238E27FC236}">
                <a16:creationId xmlns:a16="http://schemas.microsoft.com/office/drawing/2014/main" xmlns="" id="{47865BA8-4531-4250-875B-45F640E76136}"/>
              </a:ext>
            </a:extLst>
          </p:cNvPr>
          <p:cNvSpPr txBox="1"/>
          <p:nvPr/>
        </p:nvSpPr>
        <p:spPr>
          <a:xfrm>
            <a:off x="9366162" y="5101846"/>
            <a:ext cx="1680737" cy="338554"/>
          </a:xfrm>
          <a:prstGeom prst="rect">
            <a:avLst/>
          </a:prstGeom>
          <a:noFill/>
        </p:spPr>
        <p:txBody>
          <a:bodyPr wrap="square" rtlCol="0" anchor="b" anchorCtr="0">
            <a:spAutoFit/>
          </a:bodyPr>
          <a:lstStyle/>
          <a:p>
            <a:r>
              <a:rPr lang="en-GB" sz="1600" dirty="0">
                <a:solidFill>
                  <a:schemeClr val="accent4">
                    <a:lumMod val="75000"/>
                  </a:schemeClr>
                </a:solidFill>
                <a:latin typeface="+mj-lt"/>
                <a:ea typeface="League Spartan" charset="0"/>
                <a:cs typeface="Poppins" pitchFamily="2" charset="77"/>
              </a:rPr>
              <a:t>Be fair</a:t>
            </a:r>
          </a:p>
        </p:txBody>
      </p:sp>
      <p:sp>
        <p:nvSpPr>
          <p:cNvPr id="54" name="Subtitle 2">
            <a:extLst>
              <a:ext uri="{FF2B5EF4-FFF2-40B4-BE49-F238E27FC236}">
                <a16:creationId xmlns:a16="http://schemas.microsoft.com/office/drawing/2014/main" xmlns="" id="{A5C65CC5-B22D-4BD9-B840-8B4DF3B269B8}"/>
              </a:ext>
            </a:extLst>
          </p:cNvPr>
          <p:cNvSpPr txBox="1">
            <a:spLocks/>
          </p:cNvSpPr>
          <p:nvPr/>
        </p:nvSpPr>
        <p:spPr>
          <a:xfrm>
            <a:off x="9294442" y="5344504"/>
            <a:ext cx="2423075" cy="10195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Treat all stakeholders fairly and don’t hold information back to some stakeholder groups</a:t>
            </a:r>
          </a:p>
        </p:txBody>
      </p:sp>
      <p:sp>
        <p:nvSpPr>
          <p:cNvPr id="55" name="TextBox 37">
            <a:extLst>
              <a:ext uri="{FF2B5EF4-FFF2-40B4-BE49-F238E27FC236}">
                <a16:creationId xmlns:a16="http://schemas.microsoft.com/office/drawing/2014/main" xmlns="" id="{4D8CF71E-CB69-4299-97F7-D4BDD824147A}"/>
              </a:ext>
            </a:extLst>
          </p:cNvPr>
          <p:cNvSpPr txBox="1"/>
          <p:nvPr/>
        </p:nvSpPr>
        <p:spPr>
          <a:xfrm>
            <a:off x="4396542" y="1823220"/>
            <a:ext cx="1682608" cy="584775"/>
          </a:xfrm>
          <a:prstGeom prst="rect">
            <a:avLst/>
          </a:prstGeom>
          <a:noFill/>
        </p:spPr>
        <p:txBody>
          <a:bodyPr wrap="square" rtlCol="0" anchor="b" anchorCtr="0">
            <a:spAutoFit/>
          </a:bodyPr>
          <a:lstStyle/>
          <a:p>
            <a:pPr algn="r"/>
            <a:r>
              <a:rPr lang="en-GB" sz="1600" b="1" dirty="0">
                <a:solidFill>
                  <a:srgbClr val="0070C0"/>
                </a:solidFill>
                <a:latin typeface="+mj-lt"/>
                <a:ea typeface="League Spartan" charset="0"/>
                <a:cs typeface="Poppins" pitchFamily="2" charset="77"/>
              </a:rPr>
              <a:t>Centralize Communication</a:t>
            </a:r>
          </a:p>
        </p:txBody>
      </p:sp>
      <p:sp>
        <p:nvSpPr>
          <p:cNvPr id="56" name="Subtitle 2">
            <a:extLst>
              <a:ext uri="{FF2B5EF4-FFF2-40B4-BE49-F238E27FC236}">
                <a16:creationId xmlns:a16="http://schemas.microsoft.com/office/drawing/2014/main" xmlns="" id="{346F741A-9F1C-487F-A529-09297232A01F}"/>
              </a:ext>
            </a:extLst>
          </p:cNvPr>
          <p:cNvSpPr txBox="1">
            <a:spLocks/>
          </p:cNvSpPr>
          <p:nvPr/>
        </p:nvSpPr>
        <p:spPr>
          <a:xfrm>
            <a:off x="3836504" y="2286141"/>
            <a:ext cx="2186527" cy="101951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Centralize the two-way flow of information so you have the information in one place</a:t>
            </a:r>
          </a:p>
        </p:txBody>
      </p:sp>
      <p:sp>
        <p:nvSpPr>
          <p:cNvPr id="57" name="TextBox 40">
            <a:extLst>
              <a:ext uri="{FF2B5EF4-FFF2-40B4-BE49-F238E27FC236}">
                <a16:creationId xmlns:a16="http://schemas.microsoft.com/office/drawing/2014/main" xmlns="" id="{0651F5F9-C770-4399-B9E9-F54D0D1A857E}"/>
              </a:ext>
            </a:extLst>
          </p:cNvPr>
          <p:cNvSpPr txBox="1"/>
          <p:nvPr/>
        </p:nvSpPr>
        <p:spPr>
          <a:xfrm>
            <a:off x="4294371" y="5232082"/>
            <a:ext cx="1681672" cy="338554"/>
          </a:xfrm>
          <a:prstGeom prst="rect">
            <a:avLst/>
          </a:prstGeom>
          <a:noFill/>
        </p:spPr>
        <p:txBody>
          <a:bodyPr wrap="square" rtlCol="0" anchor="b" anchorCtr="0">
            <a:spAutoFit/>
          </a:bodyPr>
          <a:lstStyle/>
          <a:p>
            <a:pPr algn="r"/>
            <a:r>
              <a:rPr lang="en-GB" sz="1600" b="1" dirty="0">
                <a:solidFill>
                  <a:schemeClr val="tx2"/>
                </a:solidFill>
                <a:latin typeface="+mj-lt"/>
                <a:ea typeface="League Spartan" charset="0"/>
                <a:cs typeface="Poppins" pitchFamily="2" charset="77"/>
              </a:rPr>
              <a:t>Update</a:t>
            </a:r>
          </a:p>
        </p:txBody>
      </p:sp>
      <p:sp>
        <p:nvSpPr>
          <p:cNvPr id="58" name="Subtitle 2">
            <a:extLst>
              <a:ext uri="{FF2B5EF4-FFF2-40B4-BE49-F238E27FC236}">
                <a16:creationId xmlns:a16="http://schemas.microsoft.com/office/drawing/2014/main" xmlns="" id="{F85A18F5-F650-4B72-8455-E0A7E7316AF2}"/>
              </a:ext>
            </a:extLst>
          </p:cNvPr>
          <p:cNvSpPr txBox="1">
            <a:spLocks/>
          </p:cNvSpPr>
          <p:nvPr/>
        </p:nvSpPr>
        <p:spPr>
          <a:xfrm>
            <a:off x="4353801" y="5490863"/>
            <a:ext cx="1681672" cy="77329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Keep all relevant audiences updated as the crisis evolves</a:t>
            </a:r>
          </a:p>
        </p:txBody>
      </p:sp>
      <p:sp>
        <p:nvSpPr>
          <p:cNvPr id="59" name="TextBox 34">
            <a:extLst>
              <a:ext uri="{FF2B5EF4-FFF2-40B4-BE49-F238E27FC236}">
                <a16:creationId xmlns:a16="http://schemas.microsoft.com/office/drawing/2014/main" xmlns="" id="{1509896E-DC40-4354-880A-3294EC31B6BC}"/>
              </a:ext>
            </a:extLst>
          </p:cNvPr>
          <p:cNvSpPr txBox="1"/>
          <p:nvPr/>
        </p:nvSpPr>
        <p:spPr>
          <a:xfrm>
            <a:off x="9811844" y="3800969"/>
            <a:ext cx="1681672" cy="338554"/>
          </a:xfrm>
          <a:prstGeom prst="rect">
            <a:avLst/>
          </a:prstGeom>
          <a:noFill/>
        </p:spPr>
        <p:txBody>
          <a:bodyPr wrap="square" rtlCol="0" anchor="b" anchorCtr="0">
            <a:spAutoFit/>
          </a:bodyPr>
          <a:lstStyle/>
          <a:p>
            <a:r>
              <a:rPr lang="en-GB" sz="1600" b="1" dirty="0">
                <a:solidFill>
                  <a:srgbClr val="00B0F0"/>
                </a:solidFill>
                <a:latin typeface="+mj-lt"/>
                <a:ea typeface="League Spartan" charset="0"/>
                <a:cs typeface="Poppins" pitchFamily="2" charset="77"/>
              </a:rPr>
              <a:t>Be honest</a:t>
            </a:r>
          </a:p>
        </p:txBody>
      </p:sp>
      <p:sp>
        <p:nvSpPr>
          <p:cNvPr id="60" name="Subtitle 2">
            <a:extLst>
              <a:ext uri="{FF2B5EF4-FFF2-40B4-BE49-F238E27FC236}">
                <a16:creationId xmlns:a16="http://schemas.microsoft.com/office/drawing/2014/main" xmlns="" id="{6152D974-2C7E-4942-ADE0-713CCDEB806D}"/>
              </a:ext>
            </a:extLst>
          </p:cNvPr>
          <p:cNvSpPr txBox="1">
            <a:spLocks/>
          </p:cNvSpPr>
          <p:nvPr/>
        </p:nvSpPr>
        <p:spPr>
          <a:xfrm>
            <a:off x="9779419" y="4084780"/>
            <a:ext cx="2238197" cy="77329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Respond to stakeholders truthfully, openly, quickly, informatively.</a:t>
            </a:r>
          </a:p>
        </p:txBody>
      </p:sp>
      <p:sp>
        <p:nvSpPr>
          <p:cNvPr id="61" name="TextBox 44">
            <a:extLst>
              <a:ext uri="{FF2B5EF4-FFF2-40B4-BE49-F238E27FC236}">
                <a16:creationId xmlns:a16="http://schemas.microsoft.com/office/drawing/2014/main" xmlns="" id="{0587F818-545E-4A5D-A516-26634456234B}"/>
              </a:ext>
            </a:extLst>
          </p:cNvPr>
          <p:cNvSpPr txBox="1"/>
          <p:nvPr/>
        </p:nvSpPr>
        <p:spPr>
          <a:xfrm>
            <a:off x="4202004" y="3333528"/>
            <a:ext cx="1681672" cy="338554"/>
          </a:xfrm>
          <a:prstGeom prst="rect">
            <a:avLst/>
          </a:prstGeom>
          <a:noFill/>
        </p:spPr>
        <p:txBody>
          <a:bodyPr wrap="square" rtlCol="0" anchor="b" anchorCtr="0">
            <a:spAutoFit/>
          </a:bodyPr>
          <a:lstStyle/>
          <a:p>
            <a:pPr algn="r"/>
            <a:r>
              <a:rPr lang="en-GB" sz="1600" b="1" dirty="0">
                <a:solidFill>
                  <a:srgbClr val="F95C2C"/>
                </a:solidFill>
                <a:latin typeface="+mj-lt"/>
                <a:ea typeface="League Spartan" charset="0"/>
                <a:cs typeface="Poppins" pitchFamily="2" charset="77"/>
              </a:rPr>
              <a:t>Monitor</a:t>
            </a:r>
          </a:p>
        </p:txBody>
      </p:sp>
      <p:sp>
        <p:nvSpPr>
          <p:cNvPr id="62" name="Subtitle 2">
            <a:extLst>
              <a:ext uri="{FF2B5EF4-FFF2-40B4-BE49-F238E27FC236}">
                <a16:creationId xmlns:a16="http://schemas.microsoft.com/office/drawing/2014/main" xmlns="" id="{0B6A7626-DAE5-40C9-8734-6BD5FB6C24F5}"/>
              </a:ext>
            </a:extLst>
          </p:cNvPr>
          <p:cNvSpPr txBox="1">
            <a:spLocks/>
          </p:cNvSpPr>
          <p:nvPr/>
        </p:nvSpPr>
        <p:spPr>
          <a:xfrm>
            <a:off x="3451144" y="3668738"/>
            <a:ext cx="2428412" cy="151196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Monitor the reactions of the stakeholders and also monitor print, broadcast media, and social media; keep records on a timeline. 	</a:t>
            </a:r>
          </a:p>
        </p:txBody>
      </p:sp>
    </p:spTree>
    <p:extLst>
      <p:ext uri="{BB962C8B-B14F-4D97-AF65-F5344CB8AC3E}">
        <p14:creationId xmlns:p14="http://schemas.microsoft.com/office/powerpoint/2010/main" val="12685091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558234"/>
            <a:ext cx="8852375" cy="697353"/>
          </a:xfrm>
        </p:spPr>
        <p:txBody>
          <a:bodyPr>
            <a:normAutofit/>
          </a:bodyPr>
          <a:lstStyle/>
          <a:p>
            <a:r>
              <a:rPr lang="en-GB" dirty="0"/>
              <a:t>Basic rules of communication </a:t>
            </a:r>
            <a:r>
              <a:rPr lang="en-GB" u="sng" dirty="0"/>
              <a:t>AFTER</a:t>
            </a:r>
            <a:r>
              <a:rPr lang="en-GB" dirty="0"/>
              <a:t> the crisi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318662" y="2377920"/>
            <a:ext cx="3144441" cy="300625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solidFill>
                  <a:srgbClr val="245473"/>
                </a:solidFill>
                <a:latin typeface="+mj-lt"/>
              </a:rPr>
              <a:t>Once the crisis has been mastered, many companies go "back to normal business" relatively quickly. </a:t>
            </a:r>
          </a:p>
          <a:p>
            <a:pPr algn="l">
              <a:lnSpc>
                <a:spcPct val="100000"/>
              </a:lnSpc>
              <a:spcBef>
                <a:spcPts val="600"/>
              </a:spcBef>
            </a:pPr>
            <a:r>
              <a:rPr lang="en-GB" altLang="de-DE" sz="1800" dirty="0">
                <a:solidFill>
                  <a:srgbClr val="245473"/>
                </a:solidFill>
                <a:latin typeface="+mj-lt"/>
              </a:rPr>
              <a:t>They often forget to inform the relevant stakeholders that the crisis has been successfully mastered. </a:t>
            </a:r>
          </a:p>
          <a:p>
            <a:pPr algn="l">
              <a:lnSpc>
                <a:spcPct val="100000"/>
              </a:lnSpc>
              <a:spcBef>
                <a:spcPts val="600"/>
              </a:spcBef>
            </a:pPr>
            <a:r>
              <a:rPr lang="en-GB" altLang="de-DE" sz="1800" dirty="0">
                <a:solidFill>
                  <a:srgbClr val="245473"/>
                </a:solidFill>
                <a:latin typeface="+mj-lt"/>
              </a:rPr>
              <a:t>Yet this is exactly where the reconstruction of trust begins. </a:t>
            </a:r>
            <a:endParaRPr lang="en-GB" sz="1800" dirty="0">
              <a:solidFill>
                <a:srgbClr val="245473"/>
              </a:solidFill>
              <a:latin typeface="+mj-lt"/>
              <a:sym typeface="Wingdings" panose="05000000000000000000" pitchFamily="2" charset="2"/>
            </a:endParaRPr>
          </a:p>
        </p:txBody>
      </p:sp>
      <p:grpSp>
        <p:nvGrpSpPr>
          <p:cNvPr id="67" name="Group 23">
            <a:extLst>
              <a:ext uri="{FF2B5EF4-FFF2-40B4-BE49-F238E27FC236}">
                <a16:creationId xmlns:a16="http://schemas.microsoft.com/office/drawing/2014/main" xmlns="" id="{CC4E7A31-8123-4DD7-B8D8-94F19569AF2D}"/>
              </a:ext>
            </a:extLst>
          </p:cNvPr>
          <p:cNvGrpSpPr/>
          <p:nvPr/>
        </p:nvGrpSpPr>
        <p:grpSpPr>
          <a:xfrm>
            <a:off x="4111347" y="3804102"/>
            <a:ext cx="1485083" cy="2241575"/>
            <a:chOff x="3055029" y="7890477"/>
            <a:chExt cx="3959190" cy="5975978"/>
          </a:xfrm>
        </p:grpSpPr>
        <p:sp>
          <p:nvSpPr>
            <p:cNvPr id="68" name="TextBox 21">
              <a:extLst>
                <a:ext uri="{FF2B5EF4-FFF2-40B4-BE49-F238E27FC236}">
                  <a16:creationId xmlns:a16="http://schemas.microsoft.com/office/drawing/2014/main" xmlns="" id="{27A8D8C3-8316-4AE1-86F5-E6883C6484B8}"/>
                </a:ext>
              </a:extLst>
            </p:cNvPr>
            <p:cNvSpPr txBox="1"/>
            <p:nvPr/>
          </p:nvSpPr>
          <p:spPr>
            <a:xfrm>
              <a:off x="3055029" y="7890477"/>
              <a:ext cx="3959190" cy="1066682"/>
            </a:xfrm>
            <a:prstGeom prst="rect">
              <a:avLst/>
            </a:prstGeom>
            <a:noFill/>
          </p:spPr>
          <p:txBody>
            <a:bodyPr wrap="square" rtlCol="0" anchor="b" anchorCtr="0">
              <a:spAutoFit/>
            </a:bodyPr>
            <a:lstStyle/>
            <a:p>
              <a:pPr algn="ctr"/>
              <a:r>
                <a:rPr lang="en-GB" sz="2000" b="1" dirty="0">
                  <a:solidFill>
                    <a:srgbClr val="0070C0"/>
                  </a:solidFill>
                  <a:latin typeface="+mj-lt"/>
                  <a:ea typeface="League Spartan" charset="0"/>
                  <a:cs typeface="Poppins" pitchFamily="2" charset="77"/>
                </a:rPr>
                <a:t>Debrief</a:t>
              </a:r>
            </a:p>
          </p:txBody>
        </p:sp>
        <p:sp>
          <p:nvSpPr>
            <p:cNvPr id="69" name="Subtitle 2">
              <a:extLst>
                <a:ext uri="{FF2B5EF4-FFF2-40B4-BE49-F238E27FC236}">
                  <a16:creationId xmlns:a16="http://schemas.microsoft.com/office/drawing/2014/main" xmlns="" id="{369E12B3-41F6-4368-8E3C-690D4976143B}"/>
                </a:ext>
              </a:extLst>
            </p:cNvPr>
            <p:cNvSpPr txBox="1">
              <a:spLocks/>
            </p:cNvSpPr>
            <p:nvPr/>
          </p:nvSpPr>
          <p:spPr>
            <a:xfrm>
              <a:off x="3055029" y="9047906"/>
              <a:ext cx="3959190" cy="481854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Don’t forget to tell the stakeholders that the crisis is over.</a:t>
              </a:r>
            </a:p>
            <a:p>
              <a:pP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Debrief everyone involved or affected</a:t>
              </a:r>
            </a:p>
          </p:txBody>
        </p:sp>
      </p:grpSp>
      <p:grpSp>
        <p:nvGrpSpPr>
          <p:cNvPr id="70" name="Group 24">
            <a:extLst>
              <a:ext uri="{FF2B5EF4-FFF2-40B4-BE49-F238E27FC236}">
                <a16:creationId xmlns:a16="http://schemas.microsoft.com/office/drawing/2014/main" xmlns="" id="{5AE9BD39-30A9-45B2-BEE0-638BD569C714}"/>
              </a:ext>
            </a:extLst>
          </p:cNvPr>
          <p:cNvGrpSpPr/>
          <p:nvPr/>
        </p:nvGrpSpPr>
        <p:grpSpPr>
          <a:xfrm>
            <a:off x="7568755" y="3650214"/>
            <a:ext cx="1485083" cy="1946109"/>
            <a:chOff x="3055029" y="7890477"/>
            <a:chExt cx="3959190" cy="5188273"/>
          </a:xfrm>
        </p:grpSpPr>
        <p:sp>
          <p:nvSpPr>
            <p:cNvPr id="71" name="TextBox 25">
              <a:extLst>
                <a:ext uri="{FF2B5EF4-FFF2-40B4-BE49-F238E27FC236}">
                  <a16:creationId xmlns:a16="http://schemas.microsoft.com/office/drawing/2014/main" xmlns="" id="{8CB40309-EAD5-4116-8FA5-EA2419FF1980}"/>
                </a:ext>
              </a:extLst>
            </p:cNvPr>
            <p:cNvSpPr txBox="1"/>
            <p:nvPr/>
          </p:nvSpPr>
          <p:spPr>
            <a:xfrm>
              <a:off x="3055029" y="7890477"/>
              <a:ext cx="3959190" cy="1066682"/>
            </a:xfrm>
            <a:prstGeom prst="rect">
              <a:avLst/>
            </a:prstGeom>
            <a:noFill/>
          </p:spPr>
          <p:txBody>
            <a:bodyPr wrap="square" rtlCol="0" anchor="b" anchorCtr="0">
              <a:spAutoFit/>
            </a:bodyPr>
            <a:lstStyle/>
            <a:p>
              <a:pPr algn="ctr"/>
              <a:r>
                <a:rPr lang="en-GB" sz="2000" b="1" dirty="0">
                  <a:solidFill>
                    <a:schemeClr val="tx1">
                      <a:lumMod val="50000"/>
                      <a:lumOff val="50000"/>
                    </a:schemeClr>
                  </a:solidFill>
                  <a:latin typeface="+mj-lt"/>
                  <a:ea typeface="League Spartan" charset="0"/>
                  <a:cs typeface="Poppins" pitchFamily="2" charset="77"/>
                </a:rPr>
                <a:t>Reward</a:t>
              </a:r>
            </a:p>
          </p:txBody>
        </p:sp>
        <p:sp>
          <p:nvSpPr>
            <p:cNvPr id="72" name="Subtitle 2">
              <a:extLst>
                <a:ext uri="{FF2B5EF4-FFF2-40B4-BE49-F238E27FC236}">
                  <a16:creationId xmlns:a16="http://schemas.microsoft.com/office/drawing/2014/main" xmlns="" id="{0279972B-9989-4112-BEAC-380D84135BFE}"/>
                </a:ext>
              </a:extLst>
            </p:cNvPr>
            <p:cNvSpPr txBox="1">
              <a:spLocks/>
            </p:cNvSpPr>
            <p:nvPr/>
          </p:nvSpPr>
          <p:spPr>
            <a:xfrm>
              <a:off x="3055029" y="9047906"/>
              <a:ext cx="3959190" cy="403084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Recognize and reward those who contributed to the management of the crisis.</a:t>
              </a:r>
            </a:p>
          </p:txBody>
        </p:sp>
      </p:grpSp>
      <p:grpSp>
        <p:nvGrpSpPr>
          <p:cNvPr id="73" name="Group 30">
            <a:extLst>
              <a:ext uri="{FF2B5EF4-FFF2-40B4-BE49-F238E27FC236}">
                <a16:creationId xmlns:a16="http://schemas.microsoft.com/office/drawing/2014/main" xmlns="" id="{BA159A47-5CC1-48B5-9BE9-3F6D47F996B9}"/>
              </a:ext>
            </a:extLst>
          </p:cNvPr>
          <p:cNvGrpSpPr/>
          <p:nvPr/>
        </p:nvGrpSpPr>
        <p:grpSpPr>
          <a:xfrm>
            <a:off x="9255258" y="4459759"/>
            <a:ext cx="1730784" cy="1886930"/>
            <a:chOff x="2727512" y="7972530"/>
            <a:chExt cx="4614222" cy="5030504"/>
          </a:xfrm>
        </p:grpSpPr>
        <p:sp>
          <p:nvSpPr>
            <p:cNvPr id="74" name="TextBox 31">
              <a:extLst>
                <a:ext uri="{FF2B5EF4-FFF2-40B4-BE49-F238E27FC236}">
                  <a16:creationId xmlns:a16="http://schemas.microsoft.com/office/drawing/2014/main" xmlns="" id="{CC3D7BD2-FAEB-44B5-901D-991B2730DBDA}"/>
                </a:ext>
              </a:extLst>
            </p:cNvPr>
            <p:cNvSpPr txBox="1"/>
            <p:nvPr/>
          </p:nvSpPr>
          <p:spPr>
            <a:xfrm>
              <a:off x="3055029" y="7972530"/>
              <a:ext cx="3959190" cy="984629"/>
            </a:xfrm>
            <a:prstGeom prst="rect">
              <a:avLst/>
            </a:prstGeom>
            <a:noFill/>
          </p:spPr>
          <p:txBody>
            <a:bodyPr wrap="square" rtlCol="0" anchor="b" anchorCtr="0">
              <a:spAutoFit/>
            </a:bodyPr>
            <a:lstStyle/>
            <a:p>
              <a:pPr algn="ctr"/>
              <a:r>
                <a:rPr lang="en-GB" b="1" dirty="0">
                  <a:solidFill>
                    <a:schemeClr val="accent4"/>
                  </a:solidFill>
                  <a:latin typeface="+mj-lt"/>
                  <a:ea typeface="League Spartan" charset="0"/>
                  <a:cs typeface="Poppins" pitchFamily="2" charset="77"/>
                </a:rPr>
                <a:t>Rebuild Trust</a:t>
              </a:r>
            </a:p>
          </p:txBody>
        </p:sp>
        <p:sp>
          <p:nvSpPr>
            <p:cNvPr id="75" name="Subtitle 2">
              <a:extLst>
                <a:ext uri="{FF2B5EF4-FFF2-40B4-BE49-F238E27FC236}">
                  <a16:creationId xmlns:a16="http://schemas.microsoft.com/office/drawing/2014/main" xmlns="" id="{DD17CC80-6080-46CA-92A7-450A5946C621}"/>
                </a:ext>
              </a:extLst>
            </p:cNvPr>
            <p:cNvSpPr txBox="1">
              <a:spLocks/>
            </p:cNvSpPr>
            <p:nvPr/>
          </p:nvSpPr>
          <p:spPr>
            <a:xfrm>
              <a:off x="2727512" y="8972190"/>
              <a:ext cx="4614222" cy="403084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Follow through on recovery plans to rebuild trust, reputation, employee morale, and reduce stress.</a:t>
              </a:r>
            </a:p>
          </p:txBody>
        </p:sp>
      </p:grpSp>
      <p:grpSp>
        <p:nvGrpSpPr>
          <p:cNvPr id="76" name="Group 33">
            <a:extLst>
              <a:ext uri="{FF2B5EF4-FFF2-40B4-BE49-F238E27FC236}">
                <a16:creationId xmlns:a16="http://schemas.microsoft.com/office/drawing/2014/main" xmlns="" id="{417BABB7-3CCF-4DD7-9AEF-E59A2D790844}"/>
              </a:ext>
            </a:extLst>
          </p:cNvPr>
          <p:cNvGrpSpPr/>
          <p:nvPr/>
        </p:nvGrpSpPr>
        <p:grpSpPr>
          <a:xfrm>
            <a:off x="5730180" y="4306639"/>
            <a:ext cx="1730784" cy="2476196"/>
            <a:chOff x="2767661" y="7069954"/>
            <a:chExt cx="4614222" cy="6601470"/>
          </a:xfrm>
        </p:grpSpPr>
        <p:sp>
          <p:nvSpPr>
            <p:cNvPr id="77" name="TextBox 34">
              <a:extLst>
                <a:ext uri="{FF2B5EF4-FFF2-40B4-BE49-F238E27FC236}">
                  <a16:creationId xmlns:a16="http://schemas.microsoft.com/office/drawing/2014/main" xmlns="" id="{94862138-9079-484F-A2B2-C10047E12348}"/>
                </a:ext>
              </a:extLst>
            </p:cNvPr>
            <p:cNvSpPr txBox="1"/>
            <p:nvPr/>
          </p:nvSpPr>
          <p:spPr>
            <a:xfrm>
              <a:off x="3055029" y="7069954"/>
              <a:ext cx="3959190" cy="1887204"/>
            </a:xfrm>
            <a:prstGeom prst="rect">
              <a:avLst/>
            </a:prstGeom>
            <a:noFill/>
          </p:spPr>
          <p:txBody>
            <a:bodyPr wrap="square" rtlCol="0" anchor="b" anchorCtr="0">
              <a:spAutoFit/>
            </a:bodyPr>
            <a:lstStyle/>
            <a:p>
              <a:pPr algn="ctr"/>
              <a:r>
                <a:rPr lang="en-GB" sz="2000" b="1" dirty="0" err="1">
                  <a:solidFill>
                    <a:srgbClr val="F95C2C"/>
                  </a:solidFill>
                  <a:latin typeface="+mj-lt"/>
                  <a:ea typeface="League Spartan" charset="0"/>
                  <a:cs typeface="Poppins" pitchFamily="2" charset="77"/>
                </a:rPr>
                <a:t>Analyze</a:t>
              </a:r>
              <a:r>
                <a:rPr lang="en-GB" sz="2000" b="1" dirty="0">
                  <a:solidFill>
                    <a:srgbClr val="F95C2C"/>
                  </a:solidFill>
                  <a:latin typeface="+mj-lt"/>
                  <a:ea typeface="League Spartan" charset="0"/>
                  <a:cs typeface="Poppins" pitchFamily="2" charset="77"/>
                </a:rPr>
                <a:t> and Report</a:t>
              </a:r>
            </a:p>
          </p:txBody>
        </p:sp>
        <p:sp>
          <p:nvSpPr>
            <p:cNvPr id="78" name="Subtitle 2">
              <a:extLst>
                <a:ext uri="{FF2B5EF4-FFF2-40B4-BE49-F238E27FC236}">
                  <a16:creationId xmlns:a16="http://schemas.microsoft.com/office/drawing/2014/main" xmlns="" id="{581896A1-C2C2-4BC1-AA5C-2B09669C8CA1}"/>
                </a:ext>
              </a:extLst>
            </p:cNvPr>
            <p:cNvSpPr txBox="1">
              <a:spLocks/>
            </p:cNvSpPr>
            <p:nvPr/>
          </p:nvSpPr>
          <p:spPr>
            <a:xfrm>
              <a:off x="2767661" y="8984160"/>
              <a:ext cx="4614222" cy="468726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latin typeface="+mj-lt"/>
                  <a:ea typeface="Lato Light" panose="020F0502020204030203" pitchFamily="34" charset="0"/>
                  <a:cs typeface="Mukta ExtraLight" panose="020B0000000000000000" pitchFamily="34" charset="77"/>
                </a:rPr>
                <a:t>Write a brief report of causes, responsibilities, successes, failures, and recommendations for improvement.</a:t>
              </a:r>
            </a:p>
          </p:txBody>
        </p:sp>
      </p:grpSp>
      <p:grpSp>
        <p:nvGrpSpPr>
          <p:cNvPr id="4" name="Gruppieren 3">
            <a:extLst>
              <a:ext uri="{FF2B5EF4-FFF2-40B4-BE49-F238E27FC236}">
                <a16:creationId xmlns:a16="http://schemas.microsoft.com/office/drawing/2014/main" xmlns="" id="{E59C9934-08F6-4229-944C-C94E2C9EA948}"/>
              </a:ext>
            </a:extLst>
          </p:cNvPr>
          <p:cNvGrpSpPr/>
          <p:nvPr/>
        </p:nvGrpSpPr>
        <p:grpSpPr>
          <a:xfrm>
            <a:off x="3896139" y="2082082"/>
            <a:ext cx="7225747" cy="2220869"/>
            <a:chOff x="5021554" y="2082082"/>
            <a:chExt cx="5287334" cy="2220869"/>
          </a:xfrm>
        </p:grpSpPr>
        <p:sp>
          <p:nvSpPr>
            <p:cNvPr id="39" name="Freeform 14">
              <a:extLst>
                <a:ext uri="{FF2B5EF4-FFF2-40B4-BE49-F238E27FC236}">
                  <a16:creationId xmlns:a16="http://schemas.microsoft.com/office/drawing/2014/main" xmlns="" id="{843FD047-4897-4955-A686-348D7974F776}"/>
                </a:ext>
              </a:extLst>
            </p:cNvPr>
            <p:cNvSpPr>
              <a:spLocks noChangeArrowheads="1"/>
            </p:cNvSpPr>
            <p:nvPr/>
          </p:nvSpPr>
          <p:spPr bwMode="auto">
            <a:xfrm>
              <a:off x="5021554" y="2082082"/>
              <a:ext cx="1491738" cy="1497616"/>
            </a:xfrm>
            <a:custGeom>
              <a:avLst/>
              <a:gdLst>
                <a:gd name="connsiteX0" fmla="*/ 1461426 w 2922853"/>
                <a:gd name="connsiteY0" fmla="*/ 0 h 2934371"/>
                <a:gd name="connsiteX1" fmla="*/ 2922853 w 2922853"/>
                <a:gd name="connsiteY1" fmla="*/ 1460640 h 2934371"/>
                <a:gd name="connsiteX2" fmla="*/ 2728170 w 2922853"/>
                <a:gd name="connsiteY2" fmla="*/ 2188675 h 2934371"/>
                <a:gd name="connsiteX3" fmla="*/ 2549943 w 2922853"/>
                <a:gd name="connsiteY3" fmla="*/ 2715908 h 2934371"/>
                <a:gd name="connsiteX4" fmla="*/ 2543922 w 2922853"/>
                <a:gd name="connsiteY4" fmla="*/ 2815359 h 2934371"/>
                <a:gd name="connsiteX5" fmla="*/ 2656380 w 2922853"/>
                <a:gd name="connsiteY5" fmla="*/ 2701723 h 2934371"/>
                <a:gd name="connsiteX6" fmla="*/ 2698189 w 2922853"/>
                <a:gd name="connsiteY6" fmla="*/ 2743784 h 2934371"/>
                <a:gd name="connsiteX7" fmla="*/ 2508742 w 2922853"/>
                <a:gd name="connsiteY7" fmla="*/ 2934371 h 2934371"/>
                <a:gd name="connsiteX8" fmla="*/ 2318642 w 2922853"/>
                <a:gd name="connsiteY8" fmla="*/ 2743784 h 2934371"/>
                <a:gd name="connsiteX9" fmla="*/ 2360451 w 2922853"/>
                <a:gd name="connsiteY9" fmla="*/ 2701723 h 2934371"/>
                <a:gd name="connsiteX10" fmla="*/ 2483955 w 2922853"/>
                <a:gd name="connsiteY10" fmla="*/ 2825971 h 2934371"/>
                <a:gd name="connsiteX11" fmla="*/ 2491238 w 2922853"/>
                <a:gd name="connsiteY11" fmla="*/ 2709430 h 2934371"/>
                <a:gd name="connsiteX12" fmla="*/ 2675253 w 2922853"/>
                <a:gd name="connsiteY12" fmla="*/ 2161904 h 2934371"/>
                <a:gd name="connsiteX13" fmla="*/ 2864056 w 2922853"/>
                <a:gd name="connsiteY13" fmla="*/ 1460640 h 2934371"/>
                <a:gd name="connsiteX14" fmla="*/ 1461426 w 2922853"/>
                <a:gd name="connsiteY14" fmla="*/ 58765 h 2934371"/>
                <a:gd name="connsiteX15" fmla="*/ 59450 w 2922853"/>
                <a:gd name="connsiteY15" fmla="*/ 1460640 h 2934371"/>
                <a:gd name="connsiteX16" fmla="*/ 1461426 w 2922853"/>
                <a:gd name="connsiteY16" fmla="*/ 2861862 h 2934371"/>
                <a:gd name="connsiteX17" fmla="*/ 2162414 w 2922853"/>
                <a:gd name="connsiteY17" fmla="*/ 2673813 h 2934371"/>
                <a:gd name="connsiteX18" fmla="*/ 2192466 w 2922853"/>
                <a:gd name="connsiteY18" fmla="*/ 2724743 h 2934371"/>
                <a:gd name="connsiteX19" fmla="*/ 1461426 w 2922853"/>
                <a:gd name="connsiteY19" fmla="*/ 2919974 h 2934371"/>
                <a:gd name="connsiteX20" fmla="*/ 0 w 2922853"/>
                <a:gd name="connsiteY20" fmla="*/ 1460640 h 2934371"/>
                <a:gd name="connsiteX21" fmla="*/ 1461426 w 2922853"/>
                <a:gd name="connsiteY21" fmla="*/ 0 h 293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22853" h="2934371">
                  <a:moveTo>
                    <a:pt x="1461426" y="0"/>
                  </a:moveTo>
                  <a:cubicBezTo>
                    <a:pt x="2266942" y="0"/>
                    <a:pt x="2922853" y="654905"/>
                    <a:pt x="2922853" y="1460640"/>
                  </a:cubicBezTo>
                  <a:cubicBezTo>
                    <a:pt x="2922853" y="1708759"/>
                    <a:pt x="2864709" y="1926190"/>
                    <a:pt x="2728170" y="2188675"/>
                  </a:cubicBezTo>
                  <a:cubicBezTo>
                    <a:pt x="2627236" y="2382599"/>
                    <a:pt x="2571501" y="2545305"/>
                    <a:pt x="2549943" y="2715908"/>
                  </a:cubicBezTo>
                  <a:lnTo>
                    <a:pt x="2543922" y="2815359"/>
                  </a:lnTo>
                  <a:lnTo>
                    <a:pt x="2656380" y="2701723"/>
                  </a:lnTo>
                  <a:lnTo>
                    <a:pt x="2698189" y="2743784"/>
                  </a:lnTo>
                  <a:lnTo>
                    <a:pt x="2508742" y="2934371"/>
                  </a:lnTo>
                  <a:lnTo>
                    <a:pt x="2318642" y="2743784"/>
                  </a:lnTo>
                  <a:lnTo>
                    <a:pt x="2360451" y="2701723"/>
                  </a:lnTo>
                  <a:lnTo>
                    <a:pt x="2483955" y="2825971"/>
                  </a:lnTo>
                  <a:lnTo>
                    <a:pt x="2491238" y="2709430"/>
                  </a:lnTo>
                  <a:cubicBezTo>
                    <a:pt x="2514175" y="2531512"/>
                    <a:pt x="2572849" y="2359746"/>
                    <a:pt x="2675253" y="2161904"/>
                  </a:cubicBezTo>
                  <a:cubicBezTo>
                    <a:pt x="2809179" y="1904643"/>
                    <a:pt x="2864056" y="1701577"/>
                    <a:pt x="2864056" y="1460640"/>
                  </a:cubicBezTo>
                  <a:cubicBezTo>
                    <a:pt x="2864056" y="687552"/>
                    <a:pt x="2234930" y="58765"/>
                    <a:pt x="1461426" y="58765"/>
                  </a:cubicBezTo>
                  <a:cubicBezTo>
                    <a:pt x="687922" y="58765"/>
                    <a:pt x="59450" y="687552"/>
                    <a:pt x="59450" y="1460640"/>
                  </a:cubicBezTo>
                  <a:cubicBezTo>
                    <a:pt x="59450" y="2232422"/>
                    <a:pt x="687922" y="2861862"/>
                    <a:pt x="1461426" y="2861862"/>
                  </a:cubicBezTo>
                  <a:cubicBezTo>
                    <a:pt x="1708373" y="2861862"/>
                    <a:pt x="1950746" y="2796567"/>
                    <a:pt x="2162414" y="2673813"/>
                  </a:cubicBezTo>
                  <a:lnTo>
                    <a:pt x="2192466" y="2724743"/>
                  </a:lnTo>
                  <a:cubicBezTo>
                    <a:pt x="1970998" y="2852721"/>
                    <a:pt x="1718172" y="2919974"/>
                    <a:pt x="1461426" y="2919974"/>
                  </a:cubicBezTo>
                  <a:cubicBezTo>
                    <a:pt x="655910" y="2919974"/>
                    <a:pt x="0" y="2265069"/>
                    <a:pt x="0" y="1460640"/>
                  </a:cubicBezTo>
                  <a:cubicBezTo>
                    <a:pt x="0" y="654905"/>
                    <a:pt x="655910" y="0"/>
                    <a:pt x="1461426" y="0"/>
                  </a:cubicBezTo>
                  <a:close/>
                </a:path>
              </a:pathLst>
            </a:custGeom>
            <a:solidFill>
              <a:schemeClr val="accent1"/>
            </a:solidFill>
            <a:ln>
              <a:noFill/>
            </a:ln>
            <a:effectLst/>
          </p:spPr>
          <p:txBody>
            <a:bodyPr wrap="square" anchor="ctr">
              <a:noAutofit/>
            </a:bodyPr>
            <a:lstStyle/>
            <a:p>
              <a:endParaRPr lang="en-GB" sz="2450" dirty="0"/>
            </a:p>
          </p:txBody>
        </p:sp>
        <p:sp>
          <p:nvSpPr>
            <p:cNvPr id="63" name="Freeform 15">
              <a:extLst>
                <a:ext uri="{FF2B5EF4-FFF2-40B4-BE49-F238E27FC236}">
                  <a16:creationId xmlns:a16="http://schemas.microsoft.com/office/drawing/2014/main" xmlns="" id="{FE84CB3C-5A1D-4418-AC65-5A554D337CA9}"/>
                </a:ext>
              </a:extLst>
            </p:cNvPr>
            <p:cNvSpPr>
              <a:spLocks noChangeArrowheads="1"/>
            </p:cNvSpPr>
            <p:nvPr/>
          </p:nvSpPr>
          <p:spPr bwMode="auto">
            <a:xfrm>
              <a:off x="6313703" y="2805332"/>
              <a:ext cx="1465279" cy="1497619"/>
            </a:xfrm>
            <a:custGeom>
              <a:avLst/>
              <a:gdLst>
                <a:gd name="connsiteX0" fmla="*/ 1410694 w 2871009"/>
                <a:gd name="connsiteY0" fmla="*/ 11522 h 2934376"/>
                <a:gd name="connsiteX1" fmla="*/ 2142291 w 2871009"/>
                <a:gd name="connsiteY1" fmla="*/ 207596 h 2934376"/>
                <a:gd name="connsiteX2" fmla="*/ 2112217 w 2871009"/>
                <a:gd name="connsiteY2" fmla="*/ 258575 h 2934376"/>
                <a:gd name="connsiteX3" fmla="*/ 1410694 w 2871009"/>
                <a:gd name="connsiteY3" fmla="*/ 70344 h 2934376"/>
                <a:gd name="connsiteX4" fmla="*/ 709172 w 2871009"/>
                <a:gd name="connsiteY4" fmla="*/ 258575 h 2934376"/>
                <a:gd name="connsiteX5" fmla="*/ 679751 w 2871009"/>
                <a:gd name="connsiteY5" fmla="*/ 207596 h 2934376"/>
                <a:gd name="connsiteX6" fmla="*/ 1410694 w 2871009"/>
                <a:gd name="connsiteY6" fmla="*/ 11522 h 2934376"/>
                <a:gd name="connsiteX7" fmla="*/ 2456571 w 2871009"/>
                <a:gd name="connsiteY7" fmla="*/ 0 h 2934376"/>
                <a:gd name="connsiteX8" fmla="*/ 2646344 w 2871009"/>
                <a:gd name="connsiteY8" fmla="*/ 190587 h 2934376"/>
                <a:gd name="connsiteX9" fmla="*/ 2605117 w 2871009"/>
                <a:gd name="connsiteY9" fmla="*/ 232648 h 2934376"/>
                <a:gd name="connsiteX10" fmla="*/ 2492154 w 2871009"/>
                <a:gd name="connsiteY10" fmla="*/ 119200 h 2934376"/>
                <a:gd name="connsiteX11" fmla="*/ 2498128 w 2871009"/>
                <a:gd name="connsiteY11" fmla="*/ 217913 h 2934376"/>
                <a:gd name="connsiteX12" fmla="*/ 2676342 w 2871009"/>
                <a:gd name="connsiteY12" fmla="*/ 744610 h 2934376"/>
                <a:gd name="connsiteX13" fmla="*/ 2871009 w 2871009"/>
                <a:gd name="connsiteY13" fmla="*/ 1473443 h 2934376"/>
                <a:gd name="connsiteX14" fmla="*/ 1409701 w 2871009"/>
                <a:gd name="connsiteY14" fmla="*/ 2934376 h 2934376"/>
                <a:gd name="connsiteX15" fmla="*/ 0 w 2871009"/>
                <a:gd name="connsiteY15" fmla="*/ 1858105 h 2934376"/>
                <a:gd name="connsiteX16" fmla="*/ 56832 w 2871009"/>
                <a:gd name="connsiteY16" fmla="*/ 1842432 h 2934376"/>
                <a:gd name="connsiteX17" fmla="*/ 1409701 w 2871009"/>
                <a:gd name="connsiteY17" fmla="*/ 2875599 h 2934376"/>
                <a:gd name="connsiteX18" fmla="*/ 2811564 w 2871009"/>
                <a:gd name="connsiteY18" fmla="*/ 1473443 h 2934376"/>
                <a:gd name="connsiteX19" fmla="*/ 2624082 w 2871009"/>
                <a:gd name="connsiteY19" fmla="*/ 771386 h 2934376"/>
                <a:gd name="connsiteX20" fmla="*/ 2439439 w 2871009"/>
                <a:gd name="connsiteY20" fmla="*/ 224393 h 2934376"/>
                <a:gd name="connsiteX21" fmla="*/ 2432166 w 2871009"/>
                <a:gd name="connsiteY21" fmla="*/ 108083 h 2934376"/>
                <a:gd name="connsiteX22" fmla="*/ 2308679 w 2871009"/>
                <a:gd name="connsiteY22" fmla="*/ 232648 h 2934376"/>
                <a:gd name="connsiteX23" fmla="*/ 2266798 w 2871009"/>
                <a:gd name="connsiteY23" fmla="*/ 190587 h 2934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71009" h="2934376">
                  <a:moveTo>
                    <a:pt x="1410694" y="11522"/>
                  </a:moveTo>
                  <a:cubicBezTo>
                    <a:pt x="1667636" y="11522"/>
                    <a:pt x="1920655" y="79494"/>
                    <a:pt x="2142291" y="207596"/>
                  </a:cubicBezTo>
                  <a:lnTo>
                    <a:pt x="2112217" y="258575"/>
                  </a:lnTo>
                  <a:cubicBezTo>
                    <a:pt x="1900387" y="135702"/>
                    <a:pt x="1657175" y="70344"/>
                    <a:pt x="1410694" y="70344"/>
                  </a:cubicBezTo>
                  <a:cubicBezTo>
                    <a:pt x="1164213" y="70344"/>
                    <a:pt x="921001" y="135702"/>
                    <a:pt x="709172" y="258575"/>
                  </a:cubicBezTo>
                  <a:lnTo>
                    <a:pt x="679751" y="207596"/>
                  </a:lnTo>
                  <a:cubicBezTo>
                    <a:pt x="900734" y="79494"/>
                    <a:pt x="1153753" y="11522"/>
                    <a:pt x="1410694" y="11522"/>
                  </a:cubicBezTo>
                  <a:close/>
                  <a:moveTo>
                    <a:pt x="2456571" y="0"/>
                  </a:moveTo>
                  <a:lnTo>
                    <a:pt x="2646344" y="190587"/>
                  </a:lnTo>
                  <a:lnTo>
                    <a:pt x="2605117" y="232648"/>
                  </a:lnTo>
                  <a:lnTo>
                    <a:pt x="2492154" y="119200"/>
                  </a:lnTo>
                  <a:lnTo>
                    <a:pt x="2498128" y="217913"/>
                  </a:lnTo>
                  <a:cubicBezTo>
                    <a:pt x="2519686" y="388519"/>
                    <a:pt x="2575416" y="551136"/>
                    <a:pt x="2676342" y="744610"/>
                  </a:cubicBezTo>
                  <a:cubicBezTo>
                    <a:pt x="2812870" y="1007800"/>
                    <a:pt x="2871009" y="1225274"/>
                    <a:pt x="2871009" y="1473443"/>
                  </a:cubicBezTo>
                  <a:cubicBezTo>
                    <a:pt x="2871009" y="2279340"/>
                    <a:pt x="2215152" y="2934376"/>
                    <a:pt x="1409701" y="2934376"/>
                  </a:cubicBezTo>
                  <a:cubicBezTo>
                    <a:pt x="751884" y="2934376"/>
                    <a:pt x="172456" y="2491590"/>
                    <a:pt x="0" y="1858105"/>
                  </a:cubicBezTo>
                  <a:lnTo>
                    <a:pt x="56832" y="1842432"/>
                  </a:lnTo>
                  <a:cubicBezTo>
                    <a:pt x="222103" y="2451099"/>
                    <a:pt x="778667" y="2875599"/>
                    <a:pt x="1409701" y="2875599"/>
                  </a:cubicBezTo>
                  <a:cubicBezTo>
                    <a:pt x="2183142" y="2875599"/>
                    <a:pt x="2811564" y="2246686"/>
                    <a:pt x="2811564" y="1473443"/>
                  </a:cubicBezTo>
                  <a:cubicBezTo>
                    <a:pt x="2811564" y="1232458"/>
                    <a:pt x="2757344" y="1028698"/>
                    <a:pt x="2624082" y="771386"/>
                  </a:cubicBezTo>
                  <a:cubicBezTo>
                    <a:pt x="2521196" y="573993"/>
                    <a:pt x="2462404" y="402316"/>
                    <a:pt x="2439439" y="224393"/>
                  </a:cubicBezTo>
                  <a:lnTo>
                    <a:pt x="2432166" y="108083"/>
                  </a:lnTo>
                  <a:lnTo>
                    <a:pt x="2308679" y="232648"/>
                  </a:lnTo>
                  <a:lnTo>
                    <a:pt x="2266798" y="190587"/>
                  </a:lnTo>
                  <a:close/>
                </a:path>
              </a:pathLst>
            </a:custGeom>
            <a:solidFill>
              <a:schemeClr val="accent2"/>
            </a:solidFill>
            <a:ln>
              <a:noFill/>
            </a:ln>
            <a:effectLst/>
          </p:spPr>
          <p:txBody>
            <a:bodyPr wrap="square" anchor="ctr">
              <a:noAutofit/>
            </a:bodyPr>
            <a:lstStyle/>
            <a:p>
              <a:endParaRPr lang="en-GB" sz="2450" dirty="0"/>
            </a:p>
          </p:txBody>
        </p:sp>
        <p:sp>
          <p:nvSpPr>
            <p:cNvPr id="64" name="Freeform 16">
              <a:extLst>
                <a:ext uri="{FF2B5EF4-FFF2-40B4-BE49-F238E27FC236}">
                  <a16:creationId xmlns:a16="http://schemas.microsoft.com/office/drawing/2014/main" xmlns="" id="{87FC3B22-B49F-4915-AF3D-D7E844626181}"/>
                </a:ext>
              </a:extLst>
            </p:cNvPr>
            <p:cNvSpPr>
              <a:spLocks noChangeArrowheads="1"/>
            </p:cNvSpPr>
            <p:nvPr/>
          </p:nvSpPr>
          <p:spPr bwMode="auto">
            <a:xfrm>
              <a:off x="7579393" y="2082082"/>
              <a:ext cx="1465277" cy="1497617"/>
            </a:xfrm>
            <a:custGeom>
              <a:avLst/>
              <a:gdLst>
                <a:gd name="connsiteX0" fmla="*/ 709127 w 2871007"/>
                <a:gd name="connsiteY0" fmla="*/ 2672922 h 2934372"/>
                <a:gd name="connsiteX1" fmla="*/ 1409581 w 2871007"/>
                <a:gd name="connsiteY1" fmla="*/ 2861651 h 2934372"/>
                <a:gd name="connsiteX2" fmla="*/ 2109381 w 2871007"/>
                <a:gd name="connsiteY2" fmla="*/ 2672922 h 2934372"/>
                <a:gd name="connsiteX3" fmla="*/ 2139410 w 2871007"/>
                <a:gd name="connsiteY3" fmla="*/ 2724036 h 2934372"/>
                <a:gd name="connsiteX4" fmla="*/ 1409581 w 2871007"/>
                <a:gd name="connsiteY4" fmla="*/ 2919973 h 2934372"/>
                <a:gd name="connsiteX5" fmla="*/ 679751 w 2871007"/>
                <a:gd name="connsiteY5" fmla="*/ 2724036 h 2934372"/>
                <a:gd name="connsiteX6" fmla="*/ 1410021 w 2871007"/>
                <a:gd name="connsiteY6" fmla="*/ 0 h 2934372"/>
                <a:gd name="connsiteX7" fmla="*/ 2871007 w 2871007"/>
                <a:gd name="connsiteY7" fmla="*/ 1460933 h 2934372"/>
                <a:gd name="connsiteX8" fmla="*/ 2675643 w 2871007"/>
                <a:gd name="connsiteY8" fmla="*/ 2189113 h 2934372"/>
                <a:gd name="connsiteX9" fmla="*/ 2497482 w 2871007"/>
                <a:gd name="connsiteY9" fmla="*/ 2716453 h 2934372"/>
                <a:gd name="connsiteX10" fmla="*/ 2491408 w 2871007"/>
                <a:gd name="connsiteY10" fmla="*/ 2815921 h 2934372"/>
                <a:gd name="connsiteX11" fmla="*/ 2605116 w 2871007"/>
                <a:gd name="connsiteY11" fmla="*/ 2701724 h 2934372"/>
                <a:gd name="connsiteX12" fmla="*/ 2646343 w 2871007"/>
                <a:gd name="connsiteY12" fmla="*/ 2743785 h 2934372"/>
                <a:gd name="connsiteX13" fmla="*/ 2456570 w 2871007"/>
                <a:gd name="connsiteY13" fmla="*/ 2934372 h 2934372"/>
                <a:gd name="connsiteX14" fmla="*/ 2266797 w 2871007"/>
                <a:gd name="connsiteY14" fmla="*/ 2743785 h 2934372"/>
                <a:gd name="connsiteX15" fmla="*/ 2308678 w 2871007"/>
                <a:gd name="connsiteY15" fmla="*/ 2701724 h 2934372"/>
                <a:gd name="connsiteX16" fmla="*/ 2432071 w 2871007"/>
                <a:gd name="connsiteY16" fmla="*/ 2826195 h 2934372"/>
                <a:gd name="connsiteX17" fmla="*/ 2439339 w 2871007"/>
                <a:gd name="connsiteY17" fmla="*/ 2709973 h 2934372"/>
                <a:gd name="connsiteX18" fmla="*/ 2624025 w 2871007"/>
                <a:gd name="connsiteY18" fmla="*/ 2162337 h 2934372"/>
                <a:gd name="connsiteX19" fmla="*/ 2812202 w 2871007"/>
                <a:gd name="connsiteY19" fmla="*/ 1460933 h 2934372"/>
                <a:gd name="connsiteX20" fmla="*/ 1410021 w 2871007"/>
                <a:gd name="connsiteY20" fmla="*/ 58777 h 2934372"/>
                <a:gd name="connsiteX21" fmla="*/ 56845 w 2871007"/>
                <a:gd name="connsiteY21" fmla="*/ 1091944 h 2934372"/>
                <a:gd name="connsiteX22" fmla="*/ 0 w 2871007"/>
                <a:gd name="connsiteY22" fmla="*/ 1076270 h 2934372"/>
                <a:gd name="connsiteX23" fmla="*/ 1410021 w 2871007"/>
                <a:gd name="connsiteY23" fmla="*/ 0 h 2934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71007" h="2934372">
                  <a:moveTo>
                    <a:pt x="709127" y="2672922"/>
                  </a:moveTo>
                  <a:cubicBezTo>
                    <a:pt x="920634" y="2796120"/>
                    <a:pt x="1163475" y="2861651"/>
                    <a:pt x="1409581" y="2861651"/>
                  </a:cubicBezTo>
                  <a:cubicBezTo>
                    <a:pt x="1655033" y="2861651"/>
                    <a:pt x="1897222" y="2796120"/>
                    <a:pt x="2109381" y="2672922"/>
                  </a:cubicBezTo>
                  <a:lnTo>
                    <a:pt x="2139410" y="2724036"/>
                  </a:lnTo>
                  <a:cubicBezTo>
                    <a:pt x="1918111" y="2852476"/>
                    <a:pt x="1665478" y="2919973"/>
                    <a:pt x="1409581" y="2919973"/>
                  </a:cubicBezTo>
                  <a:cubicBezTo>
                    <a:pt x="1153030" y="2919973"/>
                    <a:pt x="900397" y="2852476"/>
                    <a:pt x="679751" y="2724036"/>
                  </a:cubicBezTo>
                  <a:close/>
                  <a:moveTo>
                    <a:pt x="1410021" y="0"/>
                  </a:moveTo>
                  <a:cubicBezTo>
                    <a:pt x="2215655" y="0"/>
                    <a:pt x="2871007" y="655036"/>
                    <a:pt x="2871007" y="1460933"/>
                  </a:cubicBezTo>
                  <a:cubicBezTo>
                    <a:pt x="2871007" y="1709102"/>
                    <a:pt x="2812202" y="1926576"/>
                    <a:pt x="2675643" y="2189113"/>
                  </a:cubicBezTo>
                  <a:cubicBezTo>
                    <a:pt x="2575184" y="2383077"/>
                    <a:pt x="2519197" y="2545816"/>
                    <a:pt x="2497482" y="2716453"/>
                  </a:cubicBezTo>
                  <a:lnTo>
                    <a:pt x="2491408" y="2815921"/>
                  </a:lnTo>
                  <a:lnTo>
                    <a:pt x="2605116" y="2701724"/>
                  </a:lnTo>
                  <a:lnTo>
                    <a:pt x="2646343" y="2743785"/>
                  </a:lnTo>
                  <a:lnTo>
                    <a:pt x="2456570" y="2934372"/>
                  </a:lnTo>
                  <a:lnTo>
                    <a:pt x="2266797" y="2743785"/>
                  </a:lnTo>
                  <a:lnTo>
                    <a:pt x="2308678" y="2701724"/>
                  </a:lnTo>
                  <a:lnTo>
                    <a:pt x="2432071" y="2826195"/>
                  </a:lnTo>
                  <a:lnTo>
                    <a:pt x="2439339" y="2709973"/>
                  </a:lnTo>
                  <a:cubicBezTo>
                    <a:pt x="2462310" y="2532019"/>
                    <a:pt x="2521116" y="2360219"/>
                    <a:pt x="2624025" y="2162337"/>
                  </a:cubicBezTo>
                  <a:cubicBezTo>
                    <a:pt x="2757317" y="1905025"/>
                    <a:pt x="2812202" y="1701918"/>
                    <a:pt x="2812202" y="1460933"/>
                  </a:cubicBezTo>
                  <a:cubicBezTo>
                    <a:pt x="2812202" y="687690"/>
                    <a:pt x="2182985" y="58777"/>
                    <a:pt x="1410021" y="58777"/>
                  </a:cubicBezTo>
                  <a:cubicBezTo>
                    <a:pt x="778844" y="58777"/>
                    <a:pt x="222154" y="483277"/>
                    <a:pt x="56845" y="1091944"/>
                  </a:cubicBezTo>
                  <a:lnTo>
                    <a:pt x="0" y="1076270"/>
                  </a:lnTo>
                  <a:cubicBezTo>
                    <a:pt x="172496" y="442133"/>
                    <a:pt x="752055" y="0"/>
                    <a:pt x="1410021" y="0"/>
                  </a:cubicBezTo>
                  <a:close/>
                </a:path>
              </a:pathLst>
            </a:custGeom>
            <a:solidFill>
              <a:schemeClr val="accent3"/>
            </a:solidFill>
            <a:ln>
              <a:noFill/>
            </a:ln>
            <a:effectLst/>
          </p:spPr>
          <p:txBody>
            <a:bodyPr wrap="square" anchor="ctr">
              <a:noAutofit/>
            </a:bodyPr>
            <a:lstStyle/>
            <a:p>
              <a:endParaRPr lang="en-GB" sz="2450" dirty="0"/>
            </a:p>
          </p:txBody>
        </p:sp>
        <p:sp>
          <p:nvSpPr>
            <p:cNvPr id="65" name="Freeform 17">
              <a:extLst>
                <a:ext uri="{FF2B5EF4-FFF2-40B4-BE49-F238E27FC236}">
                  <a16:creationId xmlns:a16="http://schemas.microsoft.com/office/drawing/2014/main" xmlns="" id="{498B312E-7633-42A1-8173-F87037C7EF8A}"/>
                </a:ext>
              </a:extLst>
            </p:cNvPr>
            <p:cNvSpPr>
              <a:spLocks noChangeArrowheads="1"/>
            </p:cNvSpPr>
            <p:nvPr/>
          </p:nvSpPr>
          <p:spPr bwMode="auto">
            <a:xfrm>
              <a:off x="8843610" y="2805332"/>
              <a:ext cx="1465278" cy="1497619"/>
            </a:xfrm>
            <a:custGeom>
              <a:avLst/>
              <a:gdLst>
                <a:gd name="connsiteX0" fmla="*/ 1410694 w 2871008"/>
                <a:gd name="connsiteY0" fmla="*/ 11522 h 2934376"/>
                <a:gd name="connsiteX1" fmla="*/ 2142291 w 2871008"/>
                <a:gd name="connsiteY1" fmla="*/ 207596 h 2934376"/>
                <a:gd name="connsiteX2" fmla="*/ 2112870 w 2871008"/>
                <a:gd name="connsiteY2" fmla="*/ 258575 h 2934376"/>
                <a:gd name="connsiteX3" fmla="*/ 1410694 w 2871008"/>
                <a:gd name="connsiteY3" fmla="*/ 70344 h 2934376"/>
                <a:gd name="connsiteX4" fmla="*/ 709172 w 2871008"/>
                <a:gd name="connsiteY4" fmla="*/ 258575 h 2934376"/>
                <a:gd name="connsiteX5" fmla="*/ 679751 w 2871008"/>
                <a:gd name="connsiteY5" fmla="*/ 207596 h 2934376"/>
                <a:gd name="connsiteX6" fmla="*/ 1410694 w 2871008"/>
                <a:gd name="connsiteY6" fmla="*/ 11522 h 2934376"/>
                <a:gd name="connsiteX7" fmla="*/ 2459778 w 2871008"/>
                <a:gd name="connsiteY7" fmla="*/ 0 h 2934376"/>
                <a:gd name="connsiteX8" fmla="*/ 2649225 w 2871008"/>
                <a:gd name="connsiteY8" fmla="*/ 190587 h 2934376"/>
                <a:gd name="connsiteX9" fmla="*/ 2607416 w 2871008"/>
                <a:gd name="connsiteY9" fmla="*/ 232648 h 2934376"/>
                <a:gd name="connsiteX10" fmla="*/ 2491958 w 2871008"/>
                <a:gd name="connsiteY10" fmla="*/ 115981 h 2934376"/>
                <a:gd name="connsiteX11" fmla="*/ 2498128 w 2871008"/>
                <a:gd name="connsiteY11" fmla="*/ 217913 h 2934376"/>
                <a:gd name="connsiteX12" fmla="*/ 2676341 w 2871008"/>
                <a:gd name="connsiteY12" fmla="*/ 744610 h 2934376"/>
                <a:gd name="connsiteX13" fmla="*/ 2871008 w 2871008"/>
                <a:gd name="connsiteY13" fmla="*/ 1473443 h 2934376"/>
                <a:gd name="connsiteX14" fmla="*/ 1409701 w 2871008"/>
                <a:gd name="connsiteY14" fmla="*/ 2934376 h 2934376"/>
                <a:gd name="connsiteX15" fmla="*/ 0 w 2871008"/>
                <a:gd name="connsiteY15" fmla="*/ 1858105 h 2934376"/>
                <a:gd name="connsiteX16" fmla="*/ 56832 w 2871008"/>
                <a:gd name="connsiteY16" fmla="*/ 1842432 h 2934376"/>
                <a:gd name="connsiteX17" fmla="*/ 1409701 w 2871008"/>
                <a:gd name="connsiteY17" fmla="*/ 2875599 h 2934376"/>
                <a:gd name="connsiteX18" fmla="*/ 2812216 w 2871008"/>
                <a:gd name="connsiteY18" fmla="*/ 1473443 h 2934376"/>
                <a:gd name="connsiteX19" fmla="*/ 2624081 w 2871008"/>
                <a:gd name="connsiteY19" fmla="*/ 771386 h 2934376"/>
                <a:gd name="connsiteX20" fmla="*/ 2439438 w 2871008"/>
                <a:gd name="connsiteY20" fmla="*/ 224393 h 2934376"/>
                <a:gd name="connsiteX21" fmla="*/ 2432351 w 2871008"/>
                <a:gd name="connsiteY21" fmla="*/ 111057 h 2934376"/>
                <a:gd name="connsiteX22" fmla="*/ 2311487 w 2871008"/>
                <a:gd name="connsiteY22" fmla="*/ 232648 h 2934376"/>
                <a:gd name="connsiteX23" fmla="*/ 2269678 w 2871008"/>
                <a:gd name="connsiteY23" fmla="*/ 190587 h 2934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71008" h="2934376">
                  <a:moveTo>
                    <a:pt x="1410694" y="11522"/>
                  </a:moveTo>
                  <a:cubicBezTo>
                    <a:pt x="1668290" y="11522"/>
                    <a:pt x="1920655" y="79494"/>
                    <a:pt x="2142291" y="207596"/>
                  </a:cubicBezTo>
                  <a:lnTo>
                    <a:pt x="2112870" y="258575"/>
                  </a:lnTo>
                  <a:cubicBezTo>
                    <a:pt x="1900387" y="135702"/>
                    <a:pt x="1657829" y="70344"/>
                    <a:pt x="1410694" y="70344"/>
                  </a:cubicBezTo>
                  <a:cubicBezTo>
                    <a:pt x="1164213" y="70344"/>
                    <a:pt x="921655" y="135702"/>
                    <a:pt x="709172" y="258575"/>
                  </a:cubicBezTo>
                  <a:lnTo>
                    <a:pt x="679751" y="207596"/>
                  </a:lnTo>
                  <a:cubicBezTo>
                    <a:pt x="900734" y="79494"/>
                    <a:pt x="1153753" y="11522"/>
                    <a:pt x="1410694" y="11522"/>
                  </a:cubicBezTo>
                  <a:close/>
                  <a:moveTo>
                    <a:pt x="2459778" y="0"/>
                  </a:moveTo>
                  <a:lnTo>
                    <a:pt x="2649225" y="190587"/>
                  </a:lnTo>
                  <a:lnTo>
                    <a:pt x="2607416" y="232648"/>
                  </a:lnTo>
                  <a:lnTo>
                    <a:pt x="2491958" y="115981"/>
                  </a:lnTo>
                  <a:lnTo>
                    <a:pt x="2498128" y="217913"/>
                  </a:lnTo>
                  <a:cubicBezTo>
                    <a:pt x="2519685" y="388519"/>
                    <a:pt x="2575415" y="551136"/>
                    <a:pt x="2676341" y="744610"/>
                  </a:cubicBezTo>
                  <a:cubicBezTo>
                    <a:pt x="2812869" y="1007800"/>
                    <a:pt x="2871008" y="1225274"/>
                    <a:pt x="2871008" y="1473443"/>
                  </a:cubicBezTo>
                  <a:cubicBezTo>
                    <a:pt x="2871008" y="2279340"/>
                    <a:pt x="2215151" y="2934376"/>
                    <a:pt x="1409701" y="2934376"/>
                  </a:cubicBezTo>
                  <a:cubicBezTo>
                    <a:pt x="752537" y="2934376"/>
                    <a:pt x="172456" y="2491590"/>
                    <a:pt x="0" y="1858105"/>
                  </a:cubicBezTo>
                  <a:lnTo>
                    <a:pt x="56832" y="1842432"/>
                  </a:lnTo>
                  <a:cubicBezTo>
                    <a:pt x="222103" y="2451099"/>
                    <a:pt x="778667" y="2875599"/>
                    <a:pt x="1409701" y="2875599"/>
                  </a:cubicBezTo>
                  <a:cubicBezTo>
                    <a:pt x="2183142" y="2875599"/>
                    <a:pt x="2812216" y="2246686"/>
                    <a:pt x="2812216" y="1473443"/>
                  </a:cubicBezTo>
                  <a:cubicBezTo>
                    <a:pt x="2812216" y="1232458"/>
                    <a:pt x="2757343" y="1028698"/>
                    <a:pt x="2624081" y="771386"/>
                  </a:cubicBezTo>
                  <a:cubicBezTo>
                    <a:pt x="2521195" y="573993"/>
                    <a:pt x="2462403" y="402316"/>
                    <a:pt x="2439438" y="224393"/>
                  </a:cubicBezTo>
                  <a:lnTo>
                    <a:pt x="2432351" y="111057"/>
                  </a:lnTo>
                  <a:lnTo>
                    <a:pt x="2311487" y="232648"/>
                  </a:lnTo>
                  <a:lnTo>
                    <a:pt x="2269678" y="190587"/>
                  </a:lnTo>
                  <a:close/>
                </a:path>
              </a:pathLst>
            </a:custGeom>
            <a:solidFill>
              <a:schemeClr val="accent4"/>
            </a:solidFill>
            <a:ln>
              <a:noFill/>
            </a:ln>
            <a:effectLst/>
          </p:spPr>
          <p:txBody>
            <a:bodyPr wrap="square" anchor="ctr">
              <a:noAutofit/>
            </a:bodyPr>
            <a:lstStyle/>
            <a:p>
              <a:endParaRPr lang="en-GB" sz="2450" dirty="0"/>
            </a:p>
          </p:txBody>
        </p:sp>
        <p:sp>
          <p:nvSpPr>
            <p:cNvPr id="79" name="Freeform 947">
              <a:extLst>
                <a:ext uri="{FF2B5EF4-FFF2-40B4-BE49-F238E27FC236}">
                  <a16:creationId xmlns:a16="http://schemas.microsoft.com/office/drawing/2014/main" xmlns="" id="{9FADE582-C437-4302-B41A-86F3C170944E}"/>
                </a:ext>
              </a:extLst>
            </p:cNvPr>
            <p:cNvSpPr>
              <a:spLocks noChangeAspect="1"/>
            </p:cNvSpPr>
            <p:nvPr/>
          </p:nvSpPr>
          <p:spPr bwMode="auto">
            <a:xfrm>
              <a:off x="6777073" y="3272211"/>
              <a:ext cx="538538" cy="563861"/>
            </a:xfrm>
            <a:custGeom>
              <a:avLst/>
              <a:gdLst>
                <a:gd name="T0" fmla="*/ 6924557 w 279041"/>
                <a:gd name="T1" fmla="*/ 7718064 h 291739"/>
                <a:gd name="T2" fmla="*/ 6924557 w 279041"/>
                <a:gd name="T3" fmla="*/ 8049819 h 291739"/>
                <a:gd name="T4" fmla="*/ 5720105 w 279041"/>
                <a:gd name="T5" fmla="*/ 7883939 h 291739"/>
                <a:gd name="T6" fmla="*/ 1243449 w 279041"/>
                <a:gd name="T7" fmla="*/ 7718064 h 291739"/>
                <a:gd name="T8" fmla="*/ 5249432 w 279041"/>
                <a:gd name="T9" fmla="*/ 7883939 h 291739"/>
                <a:gd name="T10" fmla="*/ 1243449 w 279041"/>
                <a:gd name="T11" fmla="*/ 8049819 h 291739"/>
                <a:gd name="T12" fmla="*/ 1243449 w 279041"/>
                <a:gd name="T13" fmla="*/ 7718064 h 291739"/>
                <a:gd name="T14" fmla="*/ 7555303 w 279041"/>
                <a:gd name="T15" fmla="*/ 6623650 h 291739"/>
                <a:gd name="T16" fmla="*/ 7555303 w 279041"/>
                <a:gd name="T17" fmla="*/ 6955989 h 291739"/>
                <a:gd name="T18" fmla="*/ 5720105 w 279041"/>
                <a:gd name="T19" fmla="*/ 6783143 h 291739"/>
                <a:gd name="T20" fmla="*/ 3359503 w 279041"/>
                <a:gd name="T21" fmla="*/ 6623650 h 291739"/>
                <a:gd name="T22" fmla="*/ 4791854 w 279041"/>
                <a:gd name="T23" fmla="*/ 6783143 h 291739"/>
                <a:gd name="T24" fmla="*/ 3359503 w 279041"/>
                <a:gd name="T25" fmla="*/ 6955989 h 291739"/>
                <a:gd name="T26" fmla="*/ 3359503 w 279041"/>
                <a:gd name="T27" fmla="*/ 6623650 h 291739"/>
                <a:gd name="T28" fmla="*/ 7152412 w 279041"/>
                <a:gd name="T29" fmla="*/ 5586925 h 291739"/>
                <a:gd name="T30" fmla="*/ 7152412 w 279041"/>
                <a:gd name="T31" fmla="*/ 5919219 h 291739"/>
                <a:gd name="T32" fmla="*/ 5720105 w 279041"/>
                <a:gd name="T33" fmla="*/ 5759720 h 291739"/>
                <a:gd name="T34" fmla="*/ 3357227 w 279041"/>
                <a:gd name="T35" fmla="*/ 5586925 h 291739"/>
                <a:gd name="T36" fmla="*/ 5192465 w 279041"/>
                <a:gd name="T37" fmla="*/ 5759720 h 291739"/>
                <a:gd name="T38" fmla="*/ 3357227 w 279041"/>
                <a:gd name="T39" fmla="*/ 5919219 h 291739"/>
                <a:gd name="T40" fmla="*/ 3357227 w 279041"/>
                <a:gd name="T41" fmla="*/ 5586925 h 291739"/>
                <a:gd name="T42" fmla="*/ 1411858 w 279041"/>
                <a:gd name="T43" fmla="*/ 6628548 h 291739"/>
                <a:gd name="T44" fmla="*/ 2464815 w 279041"/>
                <a:gd name="T45" fmla="*/ 4807095 h 291739"/>
                <a:gd name="T46" fmla="*/ 5874095 w 279041"/>
                <a:gd name="T47" fmla="*/ 4492586 h 291739"/>
                <a:gd name="T48" fmla="*/ 7709297 w 279041"/>
                <a:gd name="T49" fmla="*/ 4658470 h 291739"/>
                <a:gd name="T50" fmla="*/ 5874095 w 279041"/>
                <a:gd name="T51" fmla="*/ 4824368 h 291739"/>
                <a:gd name="T52" fmla="*/ 5874095 w 279041"/>
                <a:gd name="T53" fmla="*/ 4492586 h 291739"/>
                <a:gd name="T54" fmla="*/ 5025627 w 279041"/>
                <a:gd name="T55" fmla="*/ 4492586 h 291739"/>
                <a:gd name="T56" fmla="*/ 5025627 w 279041"/>
                <a:gd name="T57" fmla="*/ 4824368 h 291739"/>
                <a:gd name="T58" fmla="*/ 3203275 w 279041"/>
                <a:gd name="T59" fmla="*/ 4658470 h 291739"/>
                <a:gd name="T60" fmla="*/ 1242839 w 279041"/>
                <a:gd name="T61" fmla="*/ 4492586 h 291739"/>
                <a:gd name="T62" fmla="*/ 2789864 w 279041"/>
                <a:gd name="T63" fmla="*/ 4649861 h 291739"/>
                <a:gd name="T64" fmla="*/ 2620896 w 279041"/>
                <a:gd name="T65" fmla="*/ 6956160 h 291739"/>
                <a:gd name="T66" fmla="*/ 1086847 w 279041"/>
                <a:gd name="T67" fmla="*/ 6785822 h 291739"/>
                <a:gd name="T68" fmla="*/ 1242839 w 279041"/>
                <a:gd name="T69" fmla="*/ 4492586 h 291739"/>
                <a:gd name="T70" fmla="*/ 7555303 w 279041"/>
                <a:gd name="T71" fmla="*/ 3455814 h 291739"/>
                <a:gd name="T72" fmla="*/ 7555303 w 279041"/>
                <a:gd name="T73" fmla="*/ 3788156 h 291739"/>
                <a:gd name="T74" fmla="*/ 5720105 w 279041"/>
                <a:gd name="T75" fmla="*/ 3615337 h 291739"/>
                <a:gd name="T76" fmla="*/ 1243449 w 279041"/>
                <a:gd name="T77" fmla="*/ 3455814 h 291739"/>
                <a:gd name="T78" fmla="*/ 5249432 w 279041"/>
                <a:gd name="T79" fmla="*/ 3615337 h 291739"/>
                <a:gd name="T80" fmla="*/ 1243449 w 279041"/>
                <a:gd name="T81" fmla="*/ 3788156 h 291739"/>
                <a:gd name="T82" fmla="*/ 1243449 w 279041"/>
                <a:gd name="T83" fmla="*/ 3455814 h 291739"/>
                <a:gd name="T84" fmla="*/ 8773342 w 279041"/>
                <a:gd name="T85" fmla="*/ 9132496 h 291739"/>
                <a:gd name="T86" fmla="*/ 1591639 w 279041"/>
                <a:gd name="T87" fmla="*/ 9289512 h 291739"/>
                <a:gd name="T88" fmla="*/ 9730894 w 279041"/>
                <a:gd name="T89" fmla="*/ 10257742 h 291739"/>
                <a:gd name="T90" fmla="*/ 8773342 w 279041"/>
                <a:gd name="T91" fmla="*/ 1596262 h 291739"/>
                <a:gd name="T92" fmla="*/ 1411114 w 279041"/>
                <a:gd name="T93" fmla="*/ 2381895 h 291739"/>
                <a:gd name="T94" fmla="*/ 7442063 w 279041"/>
                <a:gd name="T95" fmla="*/ 1419503 h 291739"/>
                <a:gd name="T96" fmla="*/ 1242491 w 279041"/>
                <a:gd name="T97" fmla="*/ 1094318 h 291739"/>
                <a:gd name="T98" fmla="*/ 7766328 w 279041"/>
                <a:gd name="T99" fmla="*/ 1263348 h 291739"/>
                <a:gd name="T100" fmla="*/ 7610682 w 279041"/>
                <a:gd name="T101" fmla="*/ 2694003 h 291739"/>
                <a:gd name="T102" fmla="*/ 1086847 w 279041"/>
                <a:gd name="T103" fmla="*/ 2538021 h 291739"/>
                <a:gd name="T104" fmla="*/ 1242491 w 279041"/>
                <a:gd name="T105" fmla="*/ 1094318 h 291739"/>
                <a:gd name="T106" fmla="*/ 323584 w 279041"/>
                <a:gd name="T107" fmla="*/ 8975518 h 291739"/>
                <a:gd name="T108" fmla="*/ 8462801 w 279041"/>
                <a:gd name="T109" fmla="*/ 314072 h 291739"/>
                <a:gd name="T110" fmla="*/ 155349 w 279041"/>
                <a:gd name="T111" fmla="*/ 0 h 291739"/>
                <a:gd name="T112" fmla="*/ 8773342 w 279041"/>
                <a:gd name="T113" fmla="*/ 156923 h 291739"/>
                <a:gd name="T114" fmla="*/ 9886147 w 279041"/>
                <a:gd name="T115" fmla="*/ 1282222 h 291739"/>
                <a:gd name="T116" fmla="*/ 10054382 w 279041"/>
                <a:gd name="T117" fmla="*/ 10414711 h 291739"/>
                <a:gd name="T118" fmla="*/ 1423415 w 279041"/>
                <a:gd name="T119" fmla="*/ 10584782 h 291739"/>
                <a:gd name="T120" fmla="*/ 1268105 w 279041"/>
                <a:gd name="T121" fmla="*/ 9289512 h 291739"/>
                <a:gd name="T122" fmla="*/ 0 w 279041"/>
                <a:gd name="T123" fmla="*/ 9132496 h 291739"/>
                <a:gd name="T124" fmla="*/ 155349 w 279041"/>
                <a:gd name="T125" fmla="*/ 0 h 29173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79041" h="291739">
                  <a:moveTo>
                    <a:pt x="163063" y="212725"/>
                  </a:moveTo>
                  <a:lnTo>
                    <a:pt x="192177" y="212725"/>
                  </a:lnTo>
                  <a:cubicBezTo>
                    <a:pt x="194694" y="212725"/>
                    <a:pt x="196491" y="215011"/>
                    <a:pt x="196491" y="217297"/>
                  </a:cubicBezTo>
                  <a:cubicBezTo>
                    <a:pt x="196491" y="219964"/>
                    <a:pt x="194694" y="221869"/>
                    <a:pt x="192177" y="221869"/>
                  </a:cubicBezTo>
                  <a:lnTo>
                    <a:pt x="163063" y="221869"/>
                  </a:lnTo>
                  <a:cubicBezTo>
                    <a:pt x="160547" y="221869"/>
                    <a:pt x="158750" y="219964"/>
                    <a:pt x="158750" y="217297"/>
                  </a:cubicBezTo>
                  <a:cubicBezTo>
                    <a:pt x="158750" y="215011"/>
                    <a:pt x="160547" y="212725"/>
                    <a:pt x="163063" y="212725"/>
                  </a:cubicBezTo>
                  <a:close/>
                  <a:moveTo>
                    <a:pt x="34509" y="212725"/>
                  </a:moveTo>
                  <a:lnTo>
                    <a:pt x="140980" y="212725"/>
                  </a:lnTo>
                  <a:cubicBezTo>
                    <a:pt x="143515" y="212725"/>
                    <a:pt x="145688" y="215011"/>
                    <a:pt x="145688" y="217297"/>
                  </a:cubicBezTo>
                  <a:cubicBezTo>
                    <a:pt x="145688" y="219964"/>
                    <a:pt x="143515" y="221869"/>
                    <a:pt x="140980" y="221869"/>
                  </a:cubicBezTo>
                  <a:lnTo>
                    <a:pt x="34509" y="221869"/>
                  </a:lnTo>
                  <a:cubicBezTo>
                    <a:pt x="32336" y="221869"/>
                    <a:pt x="30163" y="219964"/>
                    <a:pt x="30163" y="217297"/>
                  </a:cubicBezTo>
                  <a:cubicBezTo>
                    <a:pt x="30163" y="215011"/>
                    <a:pt x="32336" y="212725"/>
                    <a:pt x="34509" y="212725"/>
                  </a:cubicBezTo>
                  <a:close/>
                  <a:moveTo>
                    <a:pt x="163024" y="182562"/>
                  </a:moveTo>
                  <a:lnTo>
                    <a:pt x="209683" y="182562"/>
                  </a:lnTo>
                  <a:cubicBezTo>
                    <a:pt x="211820" y="182562"/>
                    <a:pt x="213957" y="184760"/>
                    <a:pt x="213957" y="186958"/>
                  </a:cubicBezTo>
                  <a:cubicBezTo>
                    <a:pt x="213957" y="189523"/>
                    <a:pt x="211820" y="191721"/>
                    <a:pt x="209683" y="191721"/>
                  </a:cubicBezTo>
                  <a:lnTo>
                    <a:pt x="163024" y="191721"/>
                  </a:lnTo>
                  <a:cubicBezTo>
                    <a:pt x="160531" y="191721"/>
                    <a:pt x="158750" y="189523"/>
                    <a:pt x="158750" y="186958"/>
                  </a:cubicBezTo>
                  <a:cubicBezTo>
                    <a:pt x="158750" y="184760"/>
                    <a:pt x="160531" y="182562"/>
                    <a:pt x="163024" y="182562"/>
                  </a:cubicBezTo>
                  <a:close/>
                  <a:moveTo>
                    <a:pt x="93237" y="182562"/>
                  </a:moveTo>
                  <a:lnTo>
                    <a:pt x="128291" y="182562"/>
                  </a:lnTo>
                  <a:cubicBezTo>
                    <a:pt x="130820" y="182562"/>
                    <a:pt x="132989" y="184760"/>
                    <a:pt x="132989" y="186958"/>
                  </a:cubicBezTo>
                  <a:cubicBezTo>
                    <a:pt x="132989" y="189523"/>
                    <a:pt x="130820" y="191721"/>
                    <a:pt x="128291" y="191721"/>
                  </a:cubicBezTo>
                  <a:lnTo>
                    <a:pt x="93237" y="191721"/>
                  </a:lnTo>
                  <a:cubicBezTo>
                    <a:pt x="90707" y="191721"/>
                    <a:pt x="88900" y="189523"/>
                    <a:pt x="88900" y="186958"/>
                  </a:cubicBezTo>
                  <a:cubicBezTo>
                    <a:pt x="88900" y="184760"/>
                    <a:pt x="90707" y="182562"/>
                    <a:pt x="93237" y="182562"/>
                  </a:cubicBezTo>
                  <a:close/>
                  <a:moveTo>
                    <a:pt x="163087" y="153987"/>
                  </a:moveTo>
                  <a:lnTo>
                    <a:pt x="198502" y="153987"/>
                  </a:lnTo>
                  <a:cubicBezTo>
                    <a:pt x="201032" y="153987"/>
                    <a:pt x="202839" y="156185"/>
                    <a:pt x="202839" y="158750"/>
                  </a:cubicBezTo>
                  <a:cubicBezTo>
                    <a:pt x="202839" y="161314"/>
                    <a:pt x="201032" y="163146"/>
                    <a:pt x="198502" y="163146"/>
                  </a:cubicBezTo>
                  <a:lnTo>
                    <a:pt x="163087" y="163146"/>
                  </a:lnTo>
                  <a:cubicBezTo>
                    <a:pt x="160557" y="163146"/>
                    <a:pt x="158750" y="161314"/>
                    <a:pt x="158750" y="158750"/>
                  </a:cubicBezTo>
                  <a:cubicBezTo>
                    <a:pt x="158750" y="156185"/>
                    <a:pt x="160557" y="153987"/>
                    <a:pt x="163087" y="153987"/>
                  </a:cubicBezTo>
                  <a:close/>
                  <a:moveTo>
                    <a:pt x="93174" y="153987"/>
                  </a:moveTo>
                  <a:lnTo>
                    <a:pt x="139477" y="153987"/>
                  </a:lnTo>
                  <a:cubicBezTo>
                    <a:pt x="141970" y="153987"/>
                    <a:pt x="144107" y="156185"/>
                    <a:pt x="144107" y="158750"/>
                  </a:cubicBezTo>
                  <a:cubicBezTo>
                    <a:pt x="144107" y="161314"/>
                    <a:pt x="141970" y="163146"/>
                    <a:pt x="139477" y="163146"/>
                  </a:cubicBezTo>
                  <a:lnTo>
                    <a:pt x="93174" y="163146"/>
                  </a:lnTo>
                  <a:cubicBezTo>
                    <a:pt x="90681" y="163146"/>
                    <a:pt x="88900" y="161314"/>
                    <a:pt x="88900" y="158750"/>
                  </a:cubicBezTo>
                  <a:cubicBezTo>
                    <a:pt x="88900" y="156185"/>
                    <a:pt x="90681" y="153987"/>
                    <a:pt x="93174" y="153987"/>
                  </a:cubicBezTo>
                  <a:close/>
                  <a:moveTo>
                    <a:pt x="39183" y="132493"/>
                  </a:moveTo>
                  <a:lnTo>
                    <a:pt x="39183" y="182697"/>
                  </a:lnTo>
                  <a:lnTo>
                    <a:pt x="68407" y="182697"/>
                  </a:lnTo>
                  <a:lnTo>
                    <a:pt x="68407" y="132493"/>
                  </a:lnTo>
                  <a:lnTo>
                    <a:pt x="39183" y="132493"/>
                  </a:lnTo>
                  <a:close/>
                  <a:moveTo>
                    <a:pt x="163024" y="123825"/>
                  </a:moveTo>
                  <a:lnTo>
                    <a:pt x="209683" y="123825"/>
                  </a:lnTo>
                  <a:cubicBezTo>
                    <a:pt x="211820" y="123825"/>
                    <a:pt x="213957" y="126111"/>
                    <a:pt x="213957" y="128397"/>
                  </a:cubicBezTo>
                  <a:cubicBezTo>
                    <a:pt x="213957" y="131064"/>
                    <a:pt x="211820" y="132969"/>
                    <a:pt x="209683" y="132969"/>
                  </a:cubicBezTo>
                  <a:lnTo>
                    <a:pt x="163024" y="132969"/>
                  </a:lnTo>
                  <a:cubicBezTo>
                    <a:pt x="160531" y="132969"/>
                    <a:pt x="158750" y="131064"/>
                    <a:pt x="158750" y="128397"/>
                  </a:cubicBezTo>
                  <a:cubicBezTo>
                    <a:pt x="158750" y="126111"/>
                    <a:pt x="160531" y="123825"/>
                    <a:pt x="163024" y="123825"/>
                  </a:cubicBezTo>
                  <a:close/>
                  <a:moveTo>
                    <a:pt x="93174" y="123825"/>
                  </a:moveTo>
                  <a:lnTo>
                    <a:pt x="139477" y="123825"/>
                  </a:lnTo>
                  <a:cubicBezTo>
                    <a:pt x="141970" y="123825"/>
                    <a:pt x="144107" y="126111"/>
                    <a:pt x="144107" y="128397"/>
                  </a:cubicBezTo>
                  <a:cubicBezTo>
                    <a:pt x="144107" y="131064"/>
                    <a:pt x="141970" y="132969"/>
                    <a:pt x="139477" y="132969"/>
                  </a:cubicBezTo>
                  <a:lnTo>
                    <a:pt x="93174" y="132969"/>
                  </a:lnTo>
                  <a:cubicBezTo>
                    <a:pt x="90681" y="132969"/>
                    <a:pt x="88900" y="131064"/>
                    <a:pt x="88900" y="128397"/>
                  </a:cubicBezTo>
                  <a:cubicBezTo>
                    <a:pt x="88900" y="126111"/>
                    <a:pt x="90681" y="123825"/>
                    <a:pt x="93174" y="123825"/>
                  </a:cubicBezTo>
                  <a:close/>
                  <a:moveTo>
                    <a:pt x="34493" y="123825"/>
                  </a:moveTo>
                  <a:lnTo>
                    <a:pt x="72737" y="123825"/>
                  </a:lnTo>
                  <a:cubicBezTo>
                    <a:pt x="75623" y="123825"/>
                    <a:pt x="77427" y="125992"/>
                    <a:pt x="77427" y="128159"/>
                  </a:cubicBezTo>
                  <a:lnTo>
                    <a:pt x="77427" y="187031"/>
                  </a:lnTo>
                  <a:cubicBezTo>
                    <a:pt x="77427" y="189559"/>
                    <a:pt x="75623" y="191726"/>
                    <a:pt x="72737" y="191726"/>
                  </a:cubicBezTo>
                  <a:lnTo>
                    <a:pt x="34493" y="191726"/>
                  </a:lnTo>
                  <a:cubicBezTo>
                    <a:pt x="32328" y="191726"/>
                    <a:pt x="30163" y="189559"/>
                    <a:pt x="30163" y="187031"/>
                  </a:cubicBezTo>
                  <a:lnTo>
                    <a:pt x="30163" y="128159"/>
                  </a:lnTo>
                  <a:cubicBezTo>
                    <a:pt x="30163" y="125992"/>
                    <a:pt x="32328" y="123825"/>
                    <a:pt x="34493" y="123825"/>
                  </a:cubicBezTo>
                  <a:close/>
                  <a:moveTo>
                    <a:pt x="163024" y="95250"/>
                  </a:moveTo>
                  <a:lnTo>
                    <a:pt x="209683" y="95250"/>
                  </a:lnTo>
                  <a:cubicBezTo>
                    <a:pt x="211820" y="95250"/>
                    <a:pt x="213957" y="97082"/>
                    <a:pt x="213957" y="99646"/>
                  </a:cubicBezTo>
                  <a:cubicBezTo>
                    <a:pt x="213957" y="102577"/>
                    <a:pt x="211820" y="104409"/>
                    <a:pt x="209683" y="104409"/>
                  </a:cubicBezTo>
                  <a:lnTo>
                    <a:pt x="163024" y="104409"/>
                  </a:lnTo>
                  <a:cubicBezTo>
                    <a:pt x="160531" y="104409"/>
                    <a:pt x="158750" y="102577"/>
                    <a:pt x="158750" y="99646"/>
                  </a:cubicBezTo>
                  <a:cubicBezTo>
                    <a:pt x="158750" y="97082"/>
                    <a:pt x="160531" y="95250"/>
                    <a:pt x="163024" y="95250"/>
                  </a:cubicBezTo>
                  <a:close/>
                  <a:moveTo>
                    <a:pt x="34509" y="95250"/>
                  </a:moveTo>
                  <a:lnTo>
                    <a:pt x="140980" y="95250"/>
                  </a:lnTo>
                  <a:cubicBezTo>
                    <a:pt x="143515" y="95250"/>
                    <a:pt x="145688" y="97082"/>
                    <a:pt x="145688" y="99646"/>
                  </a:cubicBezTo>
                  <a:cubicBezTo>
                    <a:pt x="145688" y="102577"/>
                    <a:pt x="143515" y="104409"/>
                    <a:pt x="140980" y="104409"/>
                  </a:cubicBezTo>
                  <a:lnTo>
                    <a:pt x="34509" y="104409"/>
                  </a:lnTo>
                  <a:cubicBezTo>
                    <a:pt x="32336" y="104409"/>
                    <a:pt x="30163" y="102577"/>
                    <a:pt x="30163" y="99646"/>
                  </a:cubicBezTo>
                  <a:cubicBezTo>
                    <a:pt x="30163" y="97082"/>
                    <a:pt x="32336" y="95250"/>
                    <a:pt x="34509" y="95250"/>
                  </a:cubicBezTo>
                  <a:close/>
                  <a:moveTo>
                    <a:pt x="243488" y="43995"/>
                  </a:moveTo>
                  <a:lnTo>
                    <a:pt x="243488" y="251711"/>
                  </a:lnTo>
                  <a:cubicBezTo>
                    <a:pt x="243488" y="254235"/>
                    <a:pt x="241692" y="256038"/>
                    <a:pt x="239178" y="256038"/>
                  </a:cubicBezTo>
                  <a:lnTo>
                    <a:pt x="44173" y="256038"/>
                  </a:lnTo>
                  <a:lnTo>
                    <a:pt x="44173" y="282724"/>
                  </a:lnTo>
                  <a:lnTo>
                    <a:pt x="270063" y="282724"/>
                  </a:lnTo>
                  <a:lnTo>
                    <a:pt x="270063" y="43995"/>
                  </a:lnTo>
                  <a:lnTo>
                    <a:pt x="243488" y="43995"/>
                  </a:lnTo>
                  <a:close/>
                  <a:moveTo>
                    <a:pt x="39162" y="39124"/>
                  </a:moveTo>
                  <a:lnTo>
                    <a:pt x="39162" y="65650"/>
                  </a:lnTo>
                  <a:lnTo>
                    <a:pt x="206541" y="65650"/>
                  </a:lnTo>
                  <a:lnTo>
                    <a:pt x="206541" y="39124"/>
                  </a:lnTo>
                  <a:lnTo>
                    <a:pt x="39162" y="39124"/>
                  </a:lnTo>
                  <a:close/>
                  <a:moveTo>
                    <a:pt x="34483" y="30162"/>
                  </a:moveTo>
                  <a:lnTo>
                    <a:pt x="211221" y="30162"/>
                  </a:lnTo>
                  <a:cubicBezTo>
                    <a:pt x="213380" y="30162"/>
                    <a:pt x="215540" y="32313"/>
                    <a:pt x="215540" y="34822"/>
                  </a:cubicBezTo>
                  <a:lnTo>
                    <a:pt x="215540" y="69952"/>
                  </a:lnTo>
                  <a:cubicBezTo>
                    <a:pt x="215540" y="72103"/>
                    <a:pt x="213380" y="74253"/>
                    <a:pt x="211221" y="74253"/>
                  </a:cubicBezTo>
                  <a:lnTo>
                    <a:pt x="34483" y="74253"/>
                  </a:lnTo>
                  <a:cubicBezTo>
                    <a:pt x="32323" y="74253"/>
                    <a:pt x="30163" y="72103"/>
                    <a:pt x="30163" y="69952"/>
                  </a:cubicBezTo>
                  <a:lnTo>
                    <a:pt x="30163" y="34822"/>
                  </a:lnTo>
                  <a:cubicBezTo>
                    <a:pt x="30163" y="32313"/>
                    <a:pt x="32323" y="30162"/>
                    <a:pt x="34483" y="30162"/>
                  </a:cubicBezTo>
                  <a:close/>
                  <a:moveTo>
                    <a:pt x="8978" y="8655"/>
                  </a:moveTo>
                  <a:lnTo>
                    <a:pt x="8978" y="247384"/>
                  </a:lnTo>
                  <a:lnTo>
                    <a:pt x="234869" y="247384"/>
                  </a:lnTo>
                  <a:lnTo>
                    <a:pt x="234869" y="8655"/>
                  </a:lnTo>
                  <a:lnTo>
                    <a:pt x="8978" y="8655"/>
                  </a:lnTo>
                  <a:close/>
                  <a:moveTo>
                    <a:pt x="4309" y="0"/>
                  </a:moveTo>
                  <a:lnTo>
                    <a:pt x="239178" y="0"/>
                  </a:lnTo>
                  <a:cubicBezTo>
                    <a:pt x="241692" y="0"/>
                    <a:pt x="243488" y="1803"/>
                    <a:pt x="243488" y="4327"/>
                  </a:cubicBezTo>
                  <a:lnTo>
                    <a:pt x="243488" y="35340"/>
                  </a:lnTo>
                  <a:lnTo>
                    <a:pt x="274372" y="35340"/>
                  </a:lnTo>
                  <a:cubicBezTo>
                    <a:pt x="276886" y="35340"/>
                    <a:pt x="279041" y="37144"/>
                    <a:pt x="279041" y="39668"/>
                  </a:cubicBezTo>
                  <a:lnTo>
                    <a:pt x="279041" y="287051"/>
                  </a:lnTo>
                  <a:cubicBezTo>
                    <a:pt x="279041" y="289576"/>
                    <a:pt x="276886" y="291739"/>
                    <a:pt x="274372" y="291739"/>
                  </a:cubicBezTo>
                  <a:lnTo>
                    <a:pt x="39504" y="291739"/>
                  </a:lnTo>
                  <a:cubicBezTo>
                    <a:pt x="37349" y="291739"/>
                    <a:pt x="35194" y="289576"/>
                    <a:pt x="35194" y="287051"/>
                  </a:cubicBezTo>
                  <a:lnTo>
                    <a:pt x="35194" y="256038"/>
                  </a:lnTo>
                  <a:lnTo>
                    <a:pt x="4309" y="256038"/>
                  </a:lnTo>
                  <a:cubicBezTo>
                    <a:pt x="2155" y="256038"/>
                    <a:pt x="0" y="254235"/>
                    <a:pt x="0" y="251711"/>
                  </a:cubicBezTo>
                  <a:lnTo>
                    <a:pt x="0" y="4327"/>
                  </a:lnTo>
                  <a:cubicBezTo>
                    <a:pt x="0" y="1803"/>
                    <a:pt x="2155" y="0"/>
                    <a:pt x="4309" y="0"/>
                  </a:cubicBezTo>
                  <a:close/>
                </a:path>
              </a:pathLst>
            </a:custGeom>
            <a:solidFill>
              <a:schemeClr val="accent2"/>
            </a:solidFill>
            <a:ln>
              <a:noFill/>
            </a:ln>
          </p:spPr>
          <p:txBody>
            <a:bodyPr anchor="ctr"/>
            <a:lstStyle/>
            <a:p>
              <a:endParaRPr lang="en-GB" sz="567" dirty="0"/>
            </a:p>
          </p:txBody>
        </p:sp>
        <p:sp>
          <p:nvSpPr>
            <p:cNvPr id="80" name="Freeform 948">
              <a:extLst>
                <a:ext uri="{FF2B5EF4-FFF2-40B4-BE49-F238E27FC236}">
                  <a16:creationId xmlns:a16="http://schemas.microsoft.com/office/drawing/2014/main" xmlns="" id="{07219463-4447-4715-AB44-E41DA10573BE}"/>
                </a:ext>
              </a:extLst>
            </p:cNvPr>
            <p:cNvSpPr>
              <a:spLocks noChangeAspect="1"/>
            </p:cNvSpPr>
            <p:nvPr/>
          </p:nvSpPr>
          <p:spPr bwMode="auto">
            <a:xfrm>
              <a:off x="8070909" y="2574840"/>
              <a:ext cx="560485" cy="563861"/>
            </a:xfrm>
            <a:custGeom>
              <a:avLst/>
              <a:gdLst>
                <a:gd name="T0" fmla="*/ 8151805 w 290404"/>
                <a:gd name="T1" fmla="*/ 7218078 h 291739"/>
                <a:gd name="T2" fmla="*/ 7084153 w 290404"/>
                <a:gd name="T3" fmla="*/ 8292327 h 291739"/>
                <a:gd name="T4" fmla="*/ 8936349 w 290404"/>
                <a:gd name="T5" fmla="*/ 10204902 h 291739"/>
                <a:gd name="T6" fmla="*/ 9309399 w 290404"/>
                <a:gd name="T7" fmla="*/ 10204902 h 291739"/>
                <a:gd name="T8" fmla="*/ 10003937 w 290404"/>
                <a:gd name="T9" fmla="*/ 9484383 h 291739"/>
                <a:gd name="T10" fmla="*/ 10081155 w 290404"/>
                <a:gd name="T11" fmla="*/ 9300992 h 291739"/>
                <a:gd name="T12" fmla="*/ 10003937 w 290404"/>
                <a:gd name="T13" fmla="*/ 9104518 h 291739"/>
                <a:gd name="T14" fmla="*/ 7019845 w 290404"/>
                <a:gd name="T15" fmla="*/ 6615496 h 291739"/>
                <a:gd name="T16" fmla="*/ 6775312 w 290404"/>
                <a:gd name="T17" fmla="*/ 6903693 h 291739"/>
                <a:gd name="T18" fmla="*/ 6492384 w 290404"/>
                <a:gd name="T19" fmla="*/ 7152622 h 291739"/>
                <a:gd name="T20" fmla="*/ 7122705 w 290404"/>
                <a:gd name="T21" fmla="*/ 7794483 h 291739"/>
                <a:gd name="T22" fmla="*/ 7662982 w 290404"/>
                <a:gd name="T23" fmla="*/ 7257399 h 291739"/>
                <a:gd name="T24" fmla="*/ 3979449 w 290404"/>
                <a:gd name="T25" fmla="*/ 2076070 h 291739"/>
                <a:gd name="T26" fmla="*/ 4147351 w 290404"/>
                <a:gd name="T27" fmla="*/ 2245224 h 291739"/>
                <a:gd name="T28" fmla="*/ 3979449 w 290404"/>
                <a:gd name="T29" fmla="*/ 2401306 h 291739"/>
                <a:gd name="T30" fmla="*/ 2366088 w 290404"/>
                <a:gd name="T31" fmla="*/ 4027648 h 291739"/>
                <a:gd name="T32" fmla="*/ 2211071 w 290404"/>
                <a:gd name="T33" fmla="*/ 4196758 h 291739"/>
                <a:gd name="T34" fmla="*/ 2056147 w 290404"/>
                <a:gd name="T35" fmla="*/ 4027648 h 291739"/>
                <a:gd name="T36" fmla="*/ 3979449 w 290404"/>
                <a:gd name="T37" fmla="*/ 2076070 h 291739"/>
                <a:gd name="T38" fmla="*/ 4004759 w 290404"/>
                <a:gd name="T39" fmla="*/ 1479141 h 291739"/>
                <a:gd name="T40" fmla="*/ 2201523 w 290404"/>
                <a:gd name="T41" fmla="*/ 2234891 h 291739"/>
                <a:gd name="T42" fmla="*/ 2201523 w 290404"/>
                <a:gd name="T43" fmla="*/ 5883342 h 291739"/>
                <a:gd name="T44" fmla="*/ 4004759 w 290404"/>
                <a:gd name="T45" fmla="*/ 6652126 h 291739"/>
                <a:gd name="T46" fmla="*/ 5820704 w 290404"/>
                <a:gd name="T47" fmla="*/ 5883342 h 291739"/>
                <a:gd name="T48" fmla="*/ 6567767 w 290404"/>
                <a:gd name="T49" fmla="*/ 4059072 h 291739"/>
                <a:gd name="T50" fmla="*/ 5820704 w 290404"/>
                <a:gd name="T51" fmla="*/ 2234891 h 291739"/>
                <a:gd name="T52" fmla="*/ 4004759 w 290404"/>
                <a:gd name="T53" fmla="*/ 1479141 h 291739"/>
                <a:gd name="T54" fmla="*/ 4004759 w 290404"/>
                <a:gd name="T55" fmla="*/ 1153330 h 291739"/>
                <a:gd name="T56" fmla="*/ 6039759 w 290404"/>
                <a:gd name="T57" fmla="*/ 2013406 h 291739"/>
                <a:gd name="T58" fmla="*/ 6876893 w 290404"/>
                <a:gd name="T59" fmla="*/ 4059072 h 291739"/>
                <a:gd name="T60" fmla="*/ 6039759 w 290404"/>
                <a:gd name="T61" fmla="*/ 6117871 h 291739"/>
                <a:gd name="T62" fmla="*/ 4004759 w 290404"/>
                <a:gd name="T63" fmla="*/ 6964847 h 291739"/>
                <a:gd name="T64" fmla="*/ 1982619 w 290404"/>
                <a:gd name="T65" fmla="*/ 6117871 h 291739"/>
                <a:gd name="T66" fmla="*/ 1982619 w 290404"/>
                <a:gd name="T67" fmla="*/ 2013406 h 291739"/>
                <a:gd name="T68" fmla="*/ 4004759 w 290404"/>
                <a:gd name="T69" fmla="*/ 1153330 h 291739"/>
                <a:gd name="T70" fmla="*/ 3958483 w 290404"/>
                <a:gd name="T71" fmla="*/ 314465 h 291739"/>
                <a:gd name="T72" fmla="*/ 1385919 w 290404"/>
                <a:gd name="T73" fmla="*/ 1401722 h 291739"/>
                <a:gd name="T74" fmla="*/ 1385919 w 290404"/>
                <a:gd name="T75" fmla="*/ 6667903 h 291739"/>
                <a:gd name="T76" fmla="*/ 6556733 w 290404"/>
                <a:gd name="T77" fmla="*/ 6667903 h 291739"/>
                <a:gd name="T78" fmla="*/ 7624292 w 290404"/>
                <a:gd name="T79" fmla="*/ 4034780 h 291739"/>
                <a:gd name="T80" fmla="*/ 6556733 w 290404"/>
                <a:gd name="T81" fmla="*/ 1401722 h 291739"/>
                <a:gd name="T82" fmla="*/ 3958483 w 290404"/>
                <a:gd name="T83" fmla="*/ 314465 h 291739"/>
                <a:gd name="T84" fmla="*/ 3958483 w 290404"/>
                <a:gd name="T85" fmla="*/ 0 h 291739"/>
                <a:gd name="T86" fmla="*/ 6775312 w 290404"/>
                <a:gd name="T87" fmla="*/ 1178907 h 291739"/>
                <a:gd name="T88" fmla="*/ 7932932 w 290404"/>
                <a:gd name="T89" fmla="*/ 4034780 h 291739"/>
                <a:gd name="T90" fmla="*/ 7212774 w 290404"/>
                <a:gd name="T91" fmla="*/ 6353480 h 291739"/>
                <a:gd name="T92" fmla="*/ 7881634 w 290404"/>
                <a:gd name="T93" fmla="*/ 7034753 h 291739"/>
                <a:gd name="T94" fmla="*/ 8035914 w 290404"/>
                <a:gd name="T95" fmla="*/ 6877518 h 291739"/>
                <a:gd name="T96" fmla="*/ 8267507 w 290404"/>
                <a:gd name="T97" fmla="*/ 6877518 h 291739"/>
                <a:gd name="T98" fmla="*/ 10235368 w 290404"/>
                <a:gd name="T99" fmla="*/ 8881835 h 291739"/>
                <a:gd name="T100" fmla="*/ 10402628 w 290404"/>
                <a:gd name="T101" fmla="*/ 9300992 h 291739"/>
                <a:gd name="T102" fmla="*/ 10235368 w 290404"/>
                <a:gd name="T103" fmla="*/ 9707100 h 291739"/>
                <a:gd name="T104" fmla="*/ 9528022 w 290404"/>
                <a:gd name="T105" fmla="*/ 10427601 h 291739"/>
                <a:gd name="T106" fmla="*/ 9129290 w 290404"/>
                <a:gd name="T107" fmla="*/ 10597890 h 291739"/>
                <a:gd name="T108" fmla="*/ 8730621 w 290404"/>
                <a:gd name="T109" fmla="*/ 10427601 h 291739"/>
                <a:gd name="T110" fmla="*/ 6749653 w 290404"/>
                <a:gd name="T111" fmla="*/ 8410198 h 291739"/>
                <a:gd name="T112" fmla="*/ 6711103 w 290404"/>
                <a:gd name="T113" fmla="*/ 8292327 h 291739"/>
                <a:gd name="T114" fmla="*/ 6749653 w 290404"/>
                <a:gd name="T115" fmla="*/ 8187537 h 291739"/>
                <a:gd name="T116" fmla="*/ 6916946 w 290404"/>
                <a:gd name="T117" fmla="*/ 8030326 h 291739"/>
                <a:gd name="T118" fmla="*/ 6235175 w 290404"/>
                <a:gd name="T119" fmla="*/ 7349096 h 291739"/>
                <a:gd name="T120" fmla="*/ 3958483 w 290404"/>
                <a:gd name="T121" fmla="*/ 8082695 h 291739"/>
                <a:gd name="T122" fmla="*/ 1167218 w 290404"/>
                <a:gd name="T123" fmla="*/ 6903693 h 291739"/>
                <a:gd name="T124" fmla="*/ 1167218 w 290404"/>
                <a:gd name="T125" fmla="*/ 1178907 h 291739"/>
                <a:gd name="T126" fmla="*/ 3958483 w 290404"/>
                <a:gd name="T127" fmla="*/ 0 h 291739"/>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60000 65536"/>
                <a:gd name="T190" fmla="*/ 0 60000 65536"/>
                <a:gd name="T191" fmla="*/ 0 60000 65536"/>
              </a:gdLst>
              <a:ahLst/>
              <a:cxnLst>
                <a:cxn ang="T128">
                  <a:pos x="T0" y="T1"/>
                </a:cxn>
                <a:cxn ang="T129">
                  <a:pos x="T2" y="T3"/>
                </a:cxn>
                <a:cxn ang="T130">
                  <a:pos x="T4" y="T5"/>
                </a:cxn>
                <a:cxn ang="T131">
                  <a:pos x="T6" y="T7"/>
                </a:cxn>
                <a:cxn ang="T132">
                  <a:pos x="T8" y="T9"/>
                </a:cxn>
                <a:cxn ang="T133">
                  <a:pos x="T10" y="T11"/>
                </a:cxn>
                <a:cxn ang="T134">
                  <a:pos x="T12" y="T13"/>
                </a:cxn>
                <a:cxn ang="T135">
                  <a:pos x="T14" y="T15"/>
                </a:cxn>
                <a:cxn ang="T136">
                  <a:pos x="T16" y="T17"/>
                </a:cxn>
                <a:cxn ang="T137">
                  <a:pos x="T18" y="T19"/>
                </a:cxn>
                <a:cxn ang="T138">
                  <a:pos x="T20" y="T21"/>
                </a:cxn>
                <a:cxn ang="T139">
                  <a:pos x="T22" y="T23"/>
                </a:cxn>
                <a:cxn ang="T140">
                  <a:pos x="T24" y="T25"/>
                </a:cxn>
                <a:cxn ang="T141">
                  <a:pos x="T26" y="T27"/>
                </a:cxn>
                <a:cxn ang="T142">
                  <a:pos x="T28" y="T29"/>
                </a:cxn>
                <a:cxn ang="T143">
                  <a:pos x="T30" y="T31"/>
                </a:cxn>
                <a:cxn ang="T144">
                  <a:pos x="T32" y="T33"/>
                </a:cxn>
                <a:cxn ang="T145">
                  <a:pos x="T34" y="T35"/>
                </a:cxn>
                <a:cxn ang="T146">
                  <a:pos x="T36" y="T37"/>
                </a:cxn>
                <a:cxn ang="T147">
                  <a:pos x="T38" y="T39"/>
                </a:cxn>
                <a:cxn ang="T148">
                  <a:pos x="T40" y="T41"/>
                </a:cxn>
                <a:cxn ang="T149">
                  <a:pos x="T42" y="T43"/>
                </a:cxn>
                <a:cxn ang="T150">
                  <a:pos x="T44" y="T45"/>
                </a:cxn>
                <a:cxn ang="T151">
                  <a:pos x="T46" y="T47"/>
                </a:cxn>
                <a:cxn ang="T152">
                  <a:pos x="T48" y="T49"/>
                </a:cxn>
                <a:cxn ang="T153">
                  <a:pos x="T50" y="T51"/>
                </a:cxn>
                <a:cxn ang="T154">
                  <a:pos x="T52" y="T53"/>
                </a:cxn>
                <a:cxn ang="T155">
                  <a:pos x="T54" y="T55"/>
                </a:cxn>
                <a:cxn ang="T156">
                  <a:pos x="T56" y="T57"/>
                </a:cxn>
                <a:cxn ang="T157">
                  <a:pos x="T58" y="T59"/>
                </a:cxn>
                <a:cxn ang="T158">
                  <a:pos x="T60" y="T61"/>
                </a:cxn>
                <a:cxn ang="T159">
                  <a:pos x="T62" y="T63"/>
                </a:cxn>
                <a:cxn ang="T160">
                  <a:pos x="T64" y="T65"/>
                </a:cxn>
                <a:cxn ang="T161">
                  <a:pos x="T66" y="T67"/>
                </a:cxn>
                <a:cxn ang="T162">
                  <a:pos x="T68" y="T69"/>
                </a:cxn>
                <a:cxn ang="T163">
                  <a:pos x="T70" y="T71"/>
                </a:cxn>
                <a:cxn ang="T164">
                  <a:pos x="T72" y="T73"/>
                </a:cxn>
                <a:cxn ang="T165">
                  <a:pos x="T74" y="T75"/>
                </a:cxn>
                <a:cxn ang="T166">
                  <a:pos x="T76" y="T77"/>
                </a:cxn>
                <a:cxn ang="T167">
                  <a:pos x="T78" y="T79"/>
                </a:cxn>
                <a:cxn ang="T168">
                  <a:pos x="T80" y="T81"/>
                </a:cxn>
                <a:cxn ang="T169">
                  <a:pos x="T82" y="T83"/>
                </a:cxn>
                <a:cxn ang="T170">
                  <a:pos x="T84" y="T85"/>
                </a:cxn>
                <a:cxn ang="T171">
                  <a:pos x="T86" y="T87"/>
                </a:cxn>
                <a:cxn ang="T172">
                  <a:pos x="T88" y="T89"/>
                </a:cxn>
                <a:cxn ang="T173">
                  <a:pos x="T90" y="T91"/>
                </a:cxn>
                <a:cxn ang="T174">
                  <a:pos x="T92" y="T93"/>
                </a:cxn>
                <a:cxn ang="T175">
                  <a:pos x="T94" y="T95"/>
                </a:cxn>
                <a:cxn ang="T176">
                  <a:pos x="T96" y="T97"/>
                </a:cxn>
                <a:cxn ang="T177">
                  <a:pos x="T98" y="T99"/>
                </a:cxn>
                <a:cxn ang="T178">
                  <a:pos x="T100" y="T101"/>
                </a:cxn>
                <a:cxn ang="T179">
                  <a:pos x="T102" y="T103"/>
                </a:cxn>
                <a:cxn ang="T180">
                  <a:pos x="T104" y="T105"/>
                </a:cxn>
                <a:cxn ang="T181">
                  <a:pos x="T106" y="T107"/>
                </a:cxn>
                <a:cxn ang="T182">
                  <a:pos x="T108" y="T109"/>
                </a:cxn>
                <a:cxn ang="T183">
                  <a:pos x="T110" y="T111"/>
                </a:cxn>
                <a:cxn ang="T184">
                  <a:pos x="T112" y="T113"/>
                </a:cxn>
                <a:cxn ang="T185">
                  <a:pos x="T114" y="T115"/>
                </a:cxn>
                <a:cxn ang="T186">
                  <a:pos x="T116" y="T117"/>
                </a:cxn>
                <a:cxn ang="T187">
                  <a:pos x="T118" y="T119"/>
                </a:cxn>
                <a:cxn ang="T188">
                  <a:pos x="T120" y="T121"/>
                </a:cxn>
                <a:cxn ang="T189">
                  <a:pos x="T122" y="T123"/>
                </a:cxn>
                <a:cxn ang="T190">
                  <a:pos x="T124" y="T125"/>
                </a:cxn>
                <a:cxn ang="T191">
                  <a:pos x="T126" y="T127"/>
                </a:cxn>
              </a:cxnLst>
              <a:rect l="0" t="0" r="r" b="b"/>
              <a:pathLst>
                <a:path w="290404" h="291739">
                  <a:moveTo>
                    <a:pt x="227566" y="198700"/>
                  </a:moveTo>
                  <a:lnTo>
                    <a:pt x="197762" y="228271"/>
                  </a:lnTo>
                  <a:lnTo>
                    <a:pt x="249469" y="280921"/>
                  </a:lnTo>
                  <a:cubicBezTo>
                    <a:pt x="252701" y="283445"/>
                    <a:pt x="257010" y="283445"/>
                    <a:pt x="259882" y="280921"/>
                  </a:cubicBezTo>
                  <a:lnTo>
                    <a:pt x="279273" y="261087"/>
                  </a:lnTo>
                  <a:cubicBezTo>
                    <a:pt x="281068" y="259645"/>
                    <a:pt x="281427" y="257841"/>
                    <a:pt x="281427" y="256038"/>
                  </a:cubicBezTo>
                  <a:cubicBezTo>
                    <a:pt x="281427" y="254235"/>
                    <a:pt x="281068" y="252072"/>
                    <a:pt x="279273" y="250629"/>
                  </a:cubicBezTo>
                  <a:lnTo>
                    <a:pt x="227566" y="198700"/>
                  </a:lnTo>
                  <a:close/>
                  <a:moveTo>
                    <a:pt x="195967" y="182112"/>
                  </a:moveTo>
                  <a:cubicBezTo>
                    <a:pt x="194171" y="184997"/>
                    <a:pt x="191658" y="187160"/>
                    <a:pt x="189144" y="190045"/>
                  </a:cubicBezTo>
                  <a:cubicBezTo>
                    <a:pt x="186631" y="192570"/>
                    <a:pt x="184117" y="194733"/>
                    <a:pt x="181245" y="196897"/>
                  </a:cubicBezTo>
                  <a:lnTo>
                    <a:pt x="198839" y="214567"/>
                  </a:lnTo>
                  <a:lnTo>
                    <a:pt x="213921" y="199782"/>
                  </a:lnTo>
                  <a:lnTo>
                    <a:pt x="195967" y="182112"/>
                  </a:lnTo>
                  <a:close/>
                  <a:moveTo>
                    <a:pt x="111093" y="57150"/>
                  </a:moveTo>
                  <a:cubicBezTo>
                    <a:pt x="113976" y="57150"/>
                    <a:pt x="115778" y="59299"/>
                    <a:pt x="115778" y="61806"/>
                  </a:cubicBezTo>
                  <a:cubicBezTo>
                    <a:pt x="115778" y="63955"/>
                    <a:pt x="113976" y="66104"/>
                    <a:pt x="111093" y="66104"/>
                  </a:cubicBezTo>
                  <a:cubicBezTo>
                    <a:pt x="86229" y="66104"/>
                    <a:pt x="66050" y="86160"/>
                    <a:pt x="66050" y="110873"/>
                  </a:cubicBezTo>
                  <a:cubicBezTo>
                    <a:pt x="66050" y="113380"/>
                    <a:pt x="63887" y="115529"/>
                    <a:pt x="61725" y="115529"/>
                  </a:cubicBezTo>
                  <a:cubicBezTo>
                    <a:pt x="59203" y="115529"/>
                    <a:pt x="57401" y="113380"/>
                    <a:pt x="57401" y="110873"/>
                  </a:cubicBezTo>
                  <a:cubicBezTo>
                    <a:pt x="57401" y="81504"/>
                    <a:pt x="81545" y="57150"/>
                    <a:pt x="111093" y="57150"/>
                  </a:cubicBezTo>
                  <a:close/>
                  <a:moveTo>
                    <a:pt x="111796" y="40717"/>
                  </a:moveTo>
                  <a:cubicBezTo>
                    <a:pt x="93099" y="40717"/>
                    <a:pt x="75121" y="48250"/>
                    <a:pt x="61458" y="61522"/>
                  </a:cubicBezTo>
                  <a:cubicBezTo>
                    <a:pt x="33771" y="89141"/>
                    <a:pt x="33771" y="134696"/>
                    <a:pt x="61458" y="161957"/>
                  </a:cubicBezTo>
                  <a:cubicBezTo>
                    <a:pt x="75121" y="175587"/>
                    <a:pt x="93099" y="183120"/>
                    <a:pt x="111796" y="183120"/>
                  </a:cubicBezTo>
                  <a:cubicBezTo>
                    <a:pt x="130853" y="183120"/>
                    <a:pt x="148831" y="175587"/>
                    <a:pt x="162494" y="161957"/>
                  </a:cubicBezTo>
                  <a:cubicBezTo>
                    <a:pt x="176158" y="149044"/>
                    <a:pt x="183349" y="131109"/>
                    <a:pt x="183349" y="111739"/>
                  </a:cubicBezTo>
                  <a:cubicBezTo>
                    <a:pt x="183349" y="92728"/>
                    <a:pt x="176158" y="74794"/>
                    <a:pt x="162494" y="61522"/>
                  </a:cubicBezTo>
                  <a:cubicBezTo>
                    <a:pt x="148831" y="48250"/>
                    <a:pt x="130853" y="40717"/>
                    <a:pt x="111796" y="40717"/>
                  </a:cubicBezTo>
                  <a:close/>
                  <a:moveTo>
                    <a:pt x="111796" y="31750"/>
                  </a:moveTo>
                  <a:cubicBezTo>
                    <a:pt x="133370" y="31750"/>
                    <a:pt x="153505" y="40359"/>
                    <a:pt x="168607" y="55424"/>
                  </a:cubicBezTo>
                  <a:cubicBezTo>
                    <a:pt x="183709" y="70489"/>
                    <a:pt x="191979" y="90576"/>
                    <a:pt x="191979" y="111739"/>
                  </a:cubicBezTo>
                  <a:cubicBezTo>
                    <a:pt x="191979" y="133261"/>
                    <a:pt x="183709" y="153348"/>
                    <a:pt x="168607" y="168413"/>
                  </a:cubicBezTo>
                  <a:cubicBezTo>
                    <a:pt x="153505" y="183478"/>
                    <a:pt x="133370" y="191728"/>
                    <a:pt x="111796" y="191728"/>
                  </a:cubicBezTo>
                  <a:cubicBezTo>
                    <a:pt x="90582" y="191728"/>
                    <a:pt x="70447" y="183478"/>
                    <a:pt x="55345" y="168413"/>
                  </a:cubicBezTo>
                  <a:cubicBezTo>
                    <a:pt x="24063" y="137207"/>
                    <a:pt x="24063" y="86631"/>
                    <a:pt x="55345" y="55424"/>
                  </a:cubicBezTo>
                  <a:cubicBezTo>
                    <a:pt x="70447" y="40359"/>
                    <a:pt x="90582" y="31750"/>
                    <a:pt x="111796" y="31750"/>
                  </a:cubicBezTo>
                  <a:close/>
                  <a:moveTo>
                    <a:pt x="110506" y="8655"/>
                  </a:moveTo>
                  <a:cubicBezTo>
                    <a:pt x="83575" y="8655"/>
                    <a:pt x="57722" y="19473"/>
                    <a:pt x="38691" y="38586"/>
                  </a:cubicBezTo>
                  <a:cubicBezTo>
                    <a:pt x="-1167" y="78615"/>
                    <a:pt x="-1167" y="143526"/>
                    <a:pt x="38691" y="183554"/>
                  </a:cubicBezTo>
                  <a:cubicBezTo>
                    <a:pt x="78548" y="223583"/>
                    <a:pt x="143182" y="223583"/>
                    <a:pt x="183040" y="183554"/>
                  </a:cubicBezTo>
                  <a:cubicBezTo>
                    <a:pt x="202071" y="164442"/>
                    <a:pt x="212843" y="138477"/>
                    <a:pt x="212843" y="111070"/>
                  </a:cubicBezTo>
                  <a:cubicBezTo>
                    <a:pt x="212843" y="83663"/>
                    <a:pt x="202071" y="58059"/>
                    <a:pt x="183040" y="38586"/>
                  </a:cubicBezTo>
                  <a:cubicBezTo>
                    <a:pt x="163650" y="19473"/>
                    <a:pt x="138155" y="8655"/>
                    <a:pt x="110506" y="8655"/>
                  </a:cubicBezTo>
                  <a:close/>
                  <a:moveTo>
                    <a:pt x="110506" y="0"/>
                  </a:moveTo>
                  <a:cubicBezTo>
                    <a:pt x="140310" y="0"/>
                    <a:pt x="168318" y="11540"/>
                    <a:pt x="189144" y="32455"/>
                  </a:cubicBezTo>
                  <a:cubicBezTo>
                    <a:pt x="209971" y="53371"/>
                    <a:pt x="221461" y="81500"/>
                    <a:pt x="221461" y="111070"/>
                  </a:cubicBezTo>
                  <a:cubicBezTo>
                    <a:pt x="221461" y="134510"/>
                    <a:pt x="214280" y="156508"/>
                    <a:pt x="201353" y="174899"/>
                  </a:cubicBezTo>
                  <a:lnTo>
                    <a:pt x="220025" y="193652"/>
                  </a:lnTo>
                  <a:lnTo>
                    <a:pt x="224334" y="189324"/>
                  </a:lnTo>
                  <a:cubicBezTo>
                    <a:pt x="226129" y="187521"/>
                    <a:pt x="228643" y="187521"/>
                    <a:pt x="230797" y="189324"/>
                  </a:cubicBezTo>
                  <a:lnTo>
                    <a:pt x="285736" y="244499"/>
                  </a:lnTo>
                  <a:cubicBezTo>
                    <a:pt x="288609" y="247744"/>
                    <a:pt x="290404" y="251711"/>
                    <a:pt x="290404" y="256038"/>
                  </a:cubicBezTo>
                  <a:cubicBezTo>
                    <a:pt x="290404" y="260005"/>
                    <a:pt x="288609" y="264333"/>
                    <a:pt x="285736" y="267217"/>
                  </a:cubicBezTo>
                  <a:lnTo>
                    <a:pt x="265987" y="287051"/>
                  </a:lnTo>
                  <a:cubicBezTo>
                    <a:pt x="263114" y="289936"/>
                    <a:pt x="258805" y="291739"/>
                    <a:pt x="254855" y="291739"/>
                  </a:cubicBezTo>
                  <a:cubicBezTo>
                    <a:pt x="250546" y="291739"/>
                    <a:pt x="246597" y="289936"/>
                    <a:pt x="243724" y="287051"/>
                  </a:cubicBezTo>
                  <a:lnTo>
                    <a:pt x="188426" y="231516"/>
                  </a:lnTo>
                  <a:cubicBezTo>
                    <a:pt x="187708" y="230795"/>
                    <a:pt x="187349" y="229713"/>
                    <a:pt x="187349" y="228271"/>
                  </a:cubicBezTo>
                  <a:cubicBezTo>
                    <a:pt x="187349" y="227189"/>
                    <a:pt x="187708" y="226107"/>
                    <a:pt x="188426" y="225386"/>
                  </a:cubicBezTo>
                  <a:lnTo>
                    <a:pt x="193094" y="221058"/>
                  </a:lnTo>
                  <a:lnTo>
                    <a:pt x="174063" y="202306"/>
                  </a:lnTo>
                  <a:cubicBezTo>
                    <a:pt x="155032" y="215649"/>
                    <a:pt x="133128" y="222501"/>
                    <a:pt x="110506" y="222501"/>
                  </a:cubicBezTo>
                  <a:cubicBezTo>
                    <a:pt x="82498" y="222501"/>
                    <a:pt x="53772" y="211682"/>
                    <a:pt x="32586" y="190045"/>
                  </a:cubicBezTo>
                  <a:cubicBezTo>
                    <a:pt x="-10862" y="146411"/>
                    <a:pt x="-10862" y="76090"/>
                    <a:pt x="32586" y="32455"/>
                  </a:cubicBezTo>
                  <a:cubicBezTo>
                    <a:pt x="53413" y="11540"/>
                    <a:pt x="81062" y="0"/>
                    <a:pt x="110506" y="0"/>
                  </a:cubicBezTo>
                  <a:close/>
                </a:path>
              </a:pathLst>
            </a:custGeom>
            <a:solidFill>
              <a:schemeClr val="accent1"/>
            </a:solidFill>
            <a:ln>
              <a:solidFill>
                <a:srgbClr val="ABABAB"/>
              </a:solidFill>
            </a:ln>
          </p:spPr>
          <p:txBody>
            <a:bodyPr anchor="ctr"/>
            <a:lstStyle/>
            <a:p>
              <a:endParaRPr lang="en-GB" sz="567" dirty="0"/>
            </a:p>
          </p:txBody>
        </p:sp>
        <p:sp>
          <p:nvSpPr>
            <p:cNvPr id="81" name="Freeform 959">
              <a:extLst>
                <a:ext uri="{FF2B5EF4-FFF2-40B4-BE49-F238E27FC236}">
                  <a16:creationId xmlns:a16="http://schemas.microsoft.com/office/drawing/2014/main" xmlns="" id="{63EC08C9-F7D0-4E8C-956C-C0606F505D43}"/>
                </a:ext>
              </a:extLst>
            </p:cNvPr>
            <p:cNvSpPr>
              <a:spLocks noChangeAspect="1"/>
            </p:cNvSpPr>
            <p:nvPr/>
          </p:nvSpPr>
          <p:spPr bwMode="auto">
            <a:xfrm>
              <a:off x="9317953" y="3272211"/>
              <a:ext cx="516592" cy="563861"/>
            </a:xfrm>
            <a:custGeom>
              <a:avLst/>
              <a:gdLst>
                <a:gd name="T0" fmla="*/ 3079160 w 267928"/>
                <a:gd name="T1" fmla="*/ 8927212 h 291740"/>
                <a:gd name="T2" fmla="*/ 3079160 w 267928"/>
                <a:gd name="T3" fmla="*/ 9259469 h 291740"/>
                <a:gd name="T4" fmla="*/ 1025030 w 267928"/>
                <a:gd name="T5" fmla="*/ 9099996 h 291740"/>
                <a:gd name="T6" fmla="*/ 4948778 w 267928"/>
                <a:gd name="T7" fmla="*/ 7660136 h 291740"/>
                <a:gd name="T8" fmla="*/ 6422455 w 267928"/>
                <a:gd name="T9" fmla="*/ 7819592 h 291740"/>
                <a:gd name="T10" fmla="*/ 4948778 w 267928"/>
                <a:gd name="T11" fmla="*/ 7992427 h 291740"/>
                <a:gd name="T12" fmla="*/ 4948778 w 267928"/>
                <a:gd name="T13" fmla="*/ 7660136 h 291740"/>
                <a:gd name="T14" fmla="*/ 3874188 w 267928"/>
                <a:gd name="T15" fmla="*/ 7660136 h 291740"/>
                <a:gd name="T16" fmla="*/ 3874188 w 267928"/>
                <a:gd name="T17" fmla="*/ 7992427 h 291740"/>
                <a:gd name="T18" fmla="*/ 1025030 w 267928"/>
                <a:gd name="T19" fmla="*/ 7819592 h 291740"/>
                <a:gd name="T20" fmla="*/ 3458337 w 267928"/>
                <a:gd name="T21" fmla="*/ 6393037 h 291740"/>
                <a:gd name="T22" fmla="*/ 6422163 w 267928"/>
                <a:gd name="T23" fmla="*/ 6552484 h 291740"/>
                <a:gd name="T24" fmla="*/ 3458337 w 267928"/>
                <a:gd name="T25" fmla="*/ 6725321 h 291740"/>
                <a:gd name="T26" fmla="*/ 3458337 w 267928"/>
                <a:gd name="T27" fmla="*/ 6393037 h 291740"/>
                <a:gd name="T28" fmla="*/ 2383271 w 267928"/>
                <a:gd name="T29" fmla="*/ 6393037 h 291740"/>
                <a:gd name="T30" fmla="*/ 2383271 w 267928"/>
                <a:gd name="T31" fmla="*/ 6725321 h 291740"/>
                <a:gd name="T32" fmla="*/ 1025030 w 267928"/>
                <a:gd name="T33" fmla="*/ 6552484 h 291740"/>
                <a:gd name="T34" fmla="*/ 5277855 w 267928"/>
                <a:gd name="T35" fmla="*/ 5125918 h 291740"/>
                <a:gd name="T36" fmla="*/ 6422455 w 267928"/>
                <a:gd name="T37" fmla="*/ 5285415 h 291740"/>
                <a:gd name="T38" fmla="*/ 5277855 w 267928"/>
                <a:gd name="T39" fmla="*/ 5458253 h 291740"/>
                <a:gd name="T40" fmla="*/ 5277855 w 267928"/>
                <a:gd name="T41" fmla="*/ 5125918 h 291740"/>
                <a:gd name="T42" fmla="*/ 4228745 w 267928"/>
                <a:gd name="T43" fmla="*/ 5125918 h 291740"/>
                <a:gd name="T44" fmla="*/ 4228745 w 267928"/>
                <a:gd name="T45" fmla="*/ 5458253 h 291740"/>
                <a:gd name="T46" fmla="*/ 1025030 w 267928"/>
                <a:gd name="T47" fmla="*/ 5285415 h 291740"/>
                <a:gd name="T48" fmla="*/ 1179784 w 267928"/>
                <a:gd name="T49" fmla="*/ 3801259 h 291740"/>
                <a:gd name="T50" fmla="*/ 4713806 w 267928"/>
                <a:gd name="T51" fmla="*/ 3967137 h 291740"/>
                <a:gd name="T52" fmla="*/ 1179784 w 267928"/>
                <a:gd name="T53" fmla="*/ 4133014 h 291740"/>
                <a:gd name="T54" fmla="*/ 1179784 w 267928"/>
                <a:gd name="T55" fmla="*/ 3801259 h 291740"/>
                <a:gd name="T56" fmla="*/ 5808116 w 267928"/>
                <a:gd name="T57" fmla="*/ 3846450 h 291740"/>
                <a:gd name="T58" fmla="*/ 5808116 w 267928"/>
                <a:gd name="T59" fmla="*/ 2682064 h 291740"/>
                <a:gd name="T60" fmla="*/ 310524 w 267928"/>
                <a:gd name="T61" fmla="*/ 10257306 h 291740"/>
                <a:gd name="T62" fmla="*/ 7179341 w 267928"/>
                <a:gd name="T63" fmla="*/ 4160474 h 291740"/>
                <a:gd name="T64" fmla="*/ 5497680 w 267928"/>
                <a:gd name="T65" fmla="*/ 4003506 h 291740"/>
                <a:gd name="T66" fmla="*/ 310524 w 267928"/>
                <a:gd name="T67" fmla="*/ 2459669 h 291740"/>
                <a:gd name="T68" fmla="*/ 1371162 w 267928"/>
                <a:gd name="T69" fmla="*/ 2145597 h 291740"/>
                <a:gd name="T70" fmla="*/ 5756378 w 267928"/>
                <a:gd name="T71" fmla="*/ 2184902 h 291740"/>
                <a:gd name="T72" fmla="*/ 7502719 w 267928"/>
                <a:gd name="T73" fmla="*/ 4003506 h 291740"/>
                <a:gd name="T74" fmla="*/ 8240068 w 267928"/>
                <a:gd name="T75" fmla="*/ 9197561 h 291740"/>
                <a:gd name="T76" fmla="*/ 1371162 w 267928"/>
                <a:gd name="T77" fmla="*/ 1386742 h 291740"/>
                <a:gd name="T78" fmla="*/ 2419035 w 267928"/>
                <a:gd name="T79" fmla="*/ 1072903 h 291740"/>
                <a:gd name="T80" fmla="*/ 8550552 w 267928"/>
                <a:gd name="T81" fmla="*/ 1229833 h 291740"/>
                <a:gd name="T82" fmla="*/ 9300774 w 267928"/>
                <a:gd name="T83" fmla="*/ 8124698 h 291740"/>
                <a:gd name="T84" fmla="*/ 2419035 w 267928"/>
                <a:gd name="T85" fmla="*/ 314069 h 291740"/>
                <a:gd name="T86" fmla="*/ 9456045 w 267928"/>
                <a:gd name="T87" fmla="*/ 0 h 291740"/>
                <a:gd name="T88" fmla="*/ 9611222 w 267928"/>
                <a:gd name="T89" fmla="*/ 8281704 h 291740"/>
                <a:gd name="T90" fmla="*/ 8550552 w 267928"/>
                <a:gd name="T91" fmla="*/ 8438702 h 291740"/>
                <a:gd name="T92" fmla="*/ 8395278 w 267928"/>
                <a:gd name="T93" fmla="*/ 9511583 h 291740"/>
                <a:gd name="T94" fmla="*/ 7502719 w 267928"/>
                <a:gd name="T95" fmla="*/ 10414274 h 291740"/>
                <a:gd name="T96" fmla="*/ 155254 w 267928"/>
                <a:gd name="T97" fmla="*/ 10584379 h 291740"/>
                <a:gd name="T98" fmla="*/ 0 w 267928"/>
                <a:gd name="T99" fmla="*/ 2302693 h 291740"/>
                <a:gd name="T100" fmla="*/ 1047739 w 267928"/>
                <a:gd name="T101" fmla="*/ 2145597 h 291740"/>
                <a:gd name="T102" fmla="*/ 1202986 w 267928"/>
                <a:gd name="T103" fmla="*/ 1072903 h 291740"/>
                <a:gd name="T104" fmla="*/ 2108482 w 267928"/>
                <a:gd name="T105" fmla="*/ 156923 h 291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67928" h="291740">
                  <a:moveTo>
                    <a:pt x="32870" y="246062"/>
                  </a:moveTo>
                  <a:lnTo>
                    <a:pt x="85836" y="246062"/>
                  </a:lnTo>
                  <a:cubicBezTo>
                    <a:pt x="87983" y="246062"/>
                    <a:pt x="90130" y="247894"/>
                    <a:pt x="90130" y="250825"/>
                  </a:cubicBezTo>
                  <a:cubicBezTo>
                    <a:pt x="90130" y="253023"/>
                    <a:pt x="87983" y="255221"/>
                    <a:pt x="85836" y="255221"/>
                  </a:cubicBezTo>
                  <a:lnTo>
                    <a:pt x="32870" y="255221"/>
                  </a:lnTo>
                  <a:cubicBezTo>
                    <a:pt x="30722" y="255221"/>
                    <a:pt x="28575" y="253023"/>
                    <a:pt x="28575" y="250825"/>
                  </a:cubicBezTo>
                  <a:cubicBezTo>
                    <a:pt x="28575" y="247894"/>
                    <a:pt x="30722" y="246062"/>
                    <a:pt x="32870" y="246062"/>
                  </a:cubicBezTo>
                  <a:close/>
                  <a:moveTo>
                    <a:pt x="137954" y="211137"/>
                  </a:moveTo>
                  <a:lnTo>
                    <a:pt x="174784" y="211137"/>
                  </a:lnTo>
                  <a:cubicBezTo>
                    <a:pt x="176909" y="211137"/>
                    <a:pt x="179034" y="213335"/>
                    <a:pt x="179034" y="215533"/>
                  </a:cubicBezTo>
                  <a:cubicBezTo>
                    <a:pt x="179034" y="218464"/>
                    <a:pt x="176909" y="220296"/>
                    <a:pt x="174784" y="220296"/>
                  </a:cubicBezTo>
                  <a:lnTo>
                    <a:pt x="137954" y="220296"/>
                  </a:lnTo>
                  <a:cubicBezTo>
                    <a:pt x="135475" y="220296"/>
                    <a:pt x="133350" y="218464"/>
                    <a:pt x="133350" y="215533"/>
                  </a:cubicBezTo>
                  <a:cubicBezTo>
                    <a:pt x="133350" y="213335"/>
                    <a:pt x="135475" y="211137"/>
                    <a:pt x="137954" y="211137"/>
                  </a:cubicBezTo>
                  <a:close/>
                  <a:moveTo>
                    <a:pt x="32927" y="211137"/>
                  </a:moveTo>
                  <a:lnTo>
                    <a:pt x="107998" y="211137"/>
                  </a:lnTo>
                  <a:cubicBezTo>
                    <a:pt x="110537" y="211137"/>
                    <a:pt x="112350" y="213335"/>
                    <a:pt x="112350" y="215533"/>
                  </a:cubicBezTo>
                  <a:cubicBezTo>
                    <a:pt x="112350" y="218464"/>
                    <a:pt x="110537" y="220296"/>
                    <a:pt x="107998" y="220296"/>
                  </a:cubicBezTo>
                  <a:lnTo>
                    <a:pt x="32927" y="220296"/>
                  </a:lnTo>
                  <a:cubicBezTo>
                    <a:pt x="30751" y="220296"/>
                    <a:pt x="28575" y="218464"/>
                    <a:pt x="28575" y="215533"/>
                  </a:cubicBezTo>
                  <a:cubicBezTo>
                    <a:pt x="28575" y="213335"/>
                    <a:pt x="30751" y="211137"/>
                    <a:pt x="32927" y="211137"/>
                  </a:cubicBezTo>
                  <a:close/>
                  <a:moveTo>
                    <a:pt x="96405" y="176212"/>
                  </a:moveTo>
                  <a:lnTo>
                    <a:pt x="174698" y="176212"/>
                  </a:lnTo>
                  <a:cubicBezTo>
                    <a:pt x="176863" y="176212"/>
                    <a:pt x="179027" y="178410"/>
                    <a:pt x="179027" y="180608"/>
                  </a:cubicBezTo>
                  <a:cubicBezTo>
                    <a:pt x="179027" y="183173"/>
                    <a:pt x="176863" y="185371"/>
                    <a:pt x="174698" y="185371"/>
                  </a:cubicBezTo>
                  <a:lnTo>
                    <a:pt x="96405" y="185371"/>
                  </a:lnTo>
                  <a:cubicBezTo>
                    <a:pt x="94240" y="185371"/>
                    <a:pt x="92075" y="183173"/>
                    <a:pt x="92075" y="180608"/>
                  </a:cubicBezTo>
                  <a:cubicBezTo>
                    <a:pt x="92075" y="178410"/>
                    <a:pt x="94240" y="176212"/>
                    <a:pt x="96405" y="176212"/>
                  </a:cubicBezTo>
                  <a:close/>
                  <a:moveTo>
                    <a:pt x="32861" y="176212"/>
                  </a:moveTo>
                  <a:lnTo>
                    <a:pt x="66437" y="176212"/>
                  </a:lnTo>
                  <a:cubicBezTo>
                    <a:pt x="69295" y="176212"/>
                    <a:pt x="71081" y="178410"/>
                    <a:pt x="71081" y="180608"/>
                  </a:cubicBezTo>
                  <a:cubicBezTo>
                    <a:pt x="71081" y="183173"/>
                    <a:pt x="69295" y="185371"/>
                    <a:pt x="66437" y="185371"/>
                  </a:cubicBezTo>
                  <a:lnTo>
                    <a:pt x="32861" y="185371"/>
                  </a:lnTo>
                  <a:cubicBezTo>
                    <a:pt x="30718" y="185371"/>
                    <a:pt x="28575" y="183173"/>
                    <a:pt x="28575" y="180608"/>
                  </a:cubicBezTo>
                  <a:cubicBezTo>
                    <a:pt x="28575" y="178410"/>
                    <a:pt x="30718" y="176212"/>
                    <a:pt x="32861" y="176212"/>
                  </a:cubicBezTo>
                  <a:close/>
                  <a:moveTo>
                    <a:pt x="147129" y="141287"/>
                  </a:moveTo>
                  <a:lnTo>
                    <a:pt x="174780" y="141287"/>
                  </a:lnTo>
                  <a:cubicBezTo>
                    <a:pt x="176907" y="141287"/>
                    <a:pt x="179034" y="143485"/>
                    <a:pt x="179034" y="145683"/>
                  </a:cubicBezTo>
                  <a:cubicBezTo>
                    <a:pt x="179034" y="148248"/>
                    <a:pt x="176907" y="150446"/>
                    <a:pt x="174780" y="150446"/>
                  </a:cubicBezTo>
                  <a:lnTo>
                    <a:pt x="147129" y="150446"/>
                  </a:lnTo>
                  <a:cubicBezTo>
                    <a:pt x="144648" y="150446"/>
                    <a:pt x="142875" y="148248"/>
                    <a:pt x="142875" y="145683"/>
                  </a:cubicBezTo>
                  <a:cubicBezTo>
                    <a:pt x="142875" y="143485"/>
                    <a:pt x="144648" y="141287"/>
                    <a:pt x="147129" y="141287"/>
                  </a:cubicBezTo>
                  <a:close/>
                  <a:moveTo>
                    <a:pt x="32932" y="141287"/>
                  </a:moveTo>
                  <a:lnTo>
                    <a:pt x="117882" y="141287"/>
                  </a:lnTo>
                  <a:cubicBezTo>
                    <a:pt x="120060" y="141287"/>
                    <a:pt x="121875" y="143485"/>
                    <a:pt x="121875" y="145683"/>
                  </a:cubicBezTo>
                  <a:cubicBezTo>
                    <a:pt x="121875" y="148248"/>
                    <a:pt x="120060" y="150446"/>
                    <a:pt x="117882" y="150446"/>
                  </a:cubicBezTo>
                  <a:lnTo>
                    <a:pt x="32932" y="150446"/>
                  </a:lnTo>
                  <a:cubicBezTo>
                    <a:pt x="30753" y="150446"/>
                    <a:pt x="28575" y="148248"/>
                    <a:pt x="28575" y="145683"/>
                  </a:cubicBezTo>
                  <a:cubicBezTo>
                    <a:pt x="28575" y="143485"/>
                    <a:pt x="30753" y="141287"/>
                    <a:pt x="32932" y="141287"/>
                  </a:cubicBezTo>
                  <a:close/>
                  <a:moveTo>
                    <a:pt x="32890" y="104775"/>
                  </a:moveTo>
                  <a:lnTo>
                    <a:pt x="127089" y="104775"/>
                  </a:lnTo>
                  <a:cubicBezTo>
                    <a:pt x="129606" y="104775"/>
                    <a:pt x="131404" y="107061"/>
                    <a:pt x="131404" y="109347"/>
                  </a:cubicBezTo>
                  <a:cubicBezTo>
                    <a:pt x="131404" y="112014"/>
                    <a:pt x="129606" y="113919"/>
                    <a:pt x="127089" y="113919"/>
                  </a:cubicBezTo>
                  <a:lnTo>
                    <a:pt x="32890" y="113919"/>
                  </a:lnTo>
                  <a:cubicBezTo>
                    <a:pt x="30732" y="113919"/>
                    <a:pt x="28575" y="112014"/>
                    <a:pt x="28575" y="109347"/>
                  </a:cubicBezTo>
                  <a:cubicBezTo>
                    <a:pt x="28575" y="107061"/>
                    <a:pt x="30732" y="104775"/>
                    <a:pt x="32890" y="104775"/>
                  </a:cubicBezTo>
                  <a:close/>
                  <a:moveTo>
                    <a:pt x="161910" y="73926"/>
                  </a:moveTo>
                  <a:lnTo>
                    <a:pt x="161910" y="106021"/>
                  </a:lnTo>
                  <a:lnTo>
                    <a:pt x="194004" y="106021"/>
                  </a:lnTo>
                  <a:lnTo>
                    <a:pt x="161910" y="73926"/>
                  </a:lnTo>
                  <a:close/>
                  <a:moveTo>
                    <a:pt x="8654" y="67796"/>
                  </a:moveTo>
                  <a:lnTo>
                    <a:pt x="8654" y="282724"/>
                  </a:lnTo>
                  <a:lnTo>
                    <a:pt x="200134" y="282724"/>
                  </a:lnTo>
                  <a:lnTo>
                    <a:pt x="200134" y="114676"/>
                  </a:lnTo>
                  <a:lnTo>
                    <a:pt x="157583" y="114676"/>
                  </a:lnTo>
                  <a:cubicBezTo>
                    <a:pt x="155059" y="114676"/>
                    <a:pt x="153256" y="112873"/>
                    <a:pt x="153256" y="110349"/>
                  </a:cubicBezTo>
                  <a:lnTo>
                    <a:pt x="153256" y="67796"/>
                  </a:lnTo>
                  <a:lnTo>
                    <a:pt x="8654" y="67796"/>
                  </a:lnTo>
                  <a:close/>
                  <a:moveTo>
                    <a:pt x="38224" y="38225"/>
                  </a:moveTo>
                  <a:lnTo>
                    <a:pt x="38224" y="59141"/>
                  </a:lnTo>
                  <a:lnTo>
                    <a:pt x="157583" y="59141"/>
                  </a:lnTo>
                  <a:cubicBezTo>
                    <a:pt x="158665" y="59141"/>
                    <a:pt x="159747" y="59502"/>
                    <a:pt x="160468" y="60223"/>
                  </a:cubicBezTo>
                  <a:lnTo>
                    <a:pt x="207707" y="107103"/>
                  </a:lnTo>
                  <a:cubicBezTo>
                    <a:pt x="208789" y="108185"/>
                    <a:pt x="209149" y="109267"/>
                    <a:pt x="209149" y="110349"/>
                  </a:cubicBezTo>
                  <a:lnTo>
                    <a:pt x="209149" y="253514"/>
                  </a:lnTo>
                  <a:lnTo>
                    <a:pt x="229704" y="253514"/>
                  </a:lnTo>
                  <a:lnTo>
                    <a:pt x="229704" y="38225"/>
                  </a:lnTo>
                  <a:lnTo>
                    <a:pt x="38224" y="38225"/>
                  </a:lnTo>
                  <a:close/>
                  <a:moveTo>
                    <a:pt x="67433" y="8655"/>
                  </a:moveTo>
                  <a:lnTo>
                    <a:pt x="67433" y="29571"/>
                  </a:lnTo>
                  <a:lnTo>
                    <a:pt x="234031" y="29571"/>
                  </a:lnTo>
                  <a:cubicBezTo>
                    <a:pt x="236555" y="29571"/>
                    <a:pt x="238358" y="31374"/>
                    <a:pt x="238358" y="33898"/>
                  </a:cubicBezTo>
                  <a:lnTo>
                    <a:pt x="238358" y="223943"/>
                  </a:lnTo>
                  <a:lnTo>
                    <a:pt x="259273" y="223943"/>
                  </a:lnTo>
                  <a:lnTo>
                    <a:pt x="259273" y="8655"/>
                  </a:lnTo>
                  <a:lnTo>
                    <a:pt x="67433" y="8655"/>
                  </a:lnTo>
                  <a:close/>
                  <a:moveTo>
                    <a:pt x="63106" y="0"/>
                  </a:moveTo>
                  <a:lnTo>
                    <a:pt x="263600" y="0"/>
                  </a:lnTo>
                  <a:cubicBezTo>
                    <a:pt x="266125" y="0"/>
                    <a:pt x="267928" y="1803"/>
                    <a:pt x="267928" y="4327"/>
                  </a:cubicBezTo>
                  <a:lnTo>
                    <a:pt x="267928" y="228271"/>
                  </a:lnTo>
                  <a:cubicBezTo>
                    <a:pt x="267928" y="230795"/>
                    <a:pt x="266125" y="232598"/>
                    <a:pt x="263600" y="232598"/>
                  </a:cubicBezTo>
                  <a:lnTo>
                    <a:pt x="238358" y="232598"/>
                  </a:lnTo>
                  <a:lnTo>
                    <a:pt x="238358" y="257841"/>
                  </a:lnTo>
                  <a:cubicBezTo>
                    <a:pt x="238358" y="260005"/>
                    <a:pt x="236555" y="262169"/>
                    <a:pt x="234031" y="262169"/>
                  </a:cubicBezTo>
                  <a:lnTo>
                    <a:pt x="209149" y="262169"/>
                  </a:lnTo>
                  <a:lnTo>
                    <a:pt x="209149" y="287051"/>
                  </a:lnTo>
                  <a:cubicBezTo>
                    <a:pt x="209149" y="289576"/>
                    <a:pt x="206986" y="291740"/>
                    <a:pt x="204822" y="291740"/>
                  </a:cubicBezTo>
                  <a:lnTo>
                    <a:pt x="4327" y="291740"/>
                  </a:lnTo>
                  <a:cubicBezTo>
                    <a:pt x="1803" y="291740"/>
                    <a:pt x="0" y="289576"/>
                    <a:pt x="0" y="287051"/>
                  </a:cubicBezTo>
                  <a:lnTo>
                    <a:pt x="0" y="63469"/>
                  </a:lnTo>
                  <a:cubicBezTo>
                    <a:pt x="0" y="60944"/>
                    <a:pt x="1803" y="59141"/>
                    <a:pt x="4327" y="59141"/>
                  </a:cubicBezTo>
                  <a:lnTo>
                    <a:pt x="29209" y="59141"/>
                  </a:lnTo>
                  <a:lnTo>
                    <a:pt x="29209" y="33898"/>
                  </a:lnTo>
                  <a:cubicBezTo>
                    <a:pt x="29209" y="31374"/>
                    <a:pt x="31373" y="29571"/>
                    <a:pt x="33536" y="29571"/>
                  </a:cubicBezTo>
                  <a:lnTo>
                    <a:pt x="58778" y="29571"/>
                  </a:lnTo>
                  <a:lnTo>
                    <a:pt x="58778" y="4327"/>
                  </a:lnTo>
                  <a:cubicBezTo>
                    <a:pt x="58778" y="1803"/>
                    <a:pt x="60942" y="0"/>
                    <a:pt x="63106" y="0"/>
                  </a:cubicBezTo>
                  <a:close/>
                </a:path>
              </a:pathLst>
            </a:custGeom>
            <a:solidFill>
              <a:schemeClr val="accent4"/>
            </a:solidFill>
            <a:ln>
              <a:noFill/>
            </a:ln>
          </p:spPr>
          <p:txBody>
            <a:bodyPr anchor="ctr"/>
            <a:lstStyle/>
            <a:p>
              <a:endParaRPr lang="en-GB" sz="567" dirty="0"/>
            </a:p>
          </p:txBody>
        </p:sp>
        <p:sp>
          <p:nvSpPr>
            <p:cNvPr id="82" name="Freeform 957">
              <a:extLst>
                <a:ext uri="{FF2B5EF4-FFF2-40B4-BE49-F238E27FC236}">
                  <a16:creationId xmlns:a16="http://schemas.microsoft.com/office/drawing/2014/main" xmlns="" id="{8B412C99-D2E7-4252-876F-182DF9626A1B}"/>
                </a:ext>
              </a:extLst>
            </p:cNvPr>
            <p:cNvSpPr>
              <a:spLocks noChangeAspect="1"/>
            </p:cNvSpPr>
            <p:nvPr/>
          </p:nvSpPr>
          <p:spPr bwMode="auto">
            <a:xfrm>
              <a:off x="5486336" y="2548959"/>
              <a:ext cx="562173" cy="563861"/>
            </a:xfrm>
            <a:custGeom>
              <a:avLst/>
              <a:gdLst>
                <a:gd name="T0" fmla="*/ 4330545 w 291740"/>
                <a:gd name="T1" fmla="*/ 9877882 h 291740"/>
                <a:gd name="T2" fmla="*/ 6134942 w 291740"/>
                <a:gd name="T3" fmla="*/ 9877882 h 291740"/>
                <a:gd name="T4" fmla="*/ 4704280 w 291740"/>
                <a:gd name="T5" fmla="*/ 9302219 h 291740"/>
                <a:gd name="T6" fmla="*/ 5320240 w 291740"/>
                <a:gd name="T7" fmla="*/ 6436778 h 291740"/>
                <a:gd name="T8" fmla="*/ 9475196 w 291740"/>
                <a:gd name="T9" fmla="*/ 4895570 h 291740"/>
                <a:gd name="T10" fmla="*/ 9475196 w 291740"/>
                <a:gd name="T11" fmla="*/ 6495094 h 291740"/>
                <a:gd name="T12" fmla="*/ 9475196 w 291740"/>
                <a:gd name="T13" fmla="*/ 4895570 h 291740"/>
                <a:gd name="T14" fmla="*/ 1178394 w 291740"/>
                <a:gd name="T15" fmla="*/ 6337783 h 291740"/>
                <a:gd name="T16" fmla="*/ 851020 w 291740"/>
                <a:gd name="T17" fmla="*/ 5052884 h 291740"/>
                <a:gd name="T18" fmla="*/ 8828669 w 291740"/>
                <a:gd name="T19" fmla="*/ 4435223 h 291740"/>
                <a:gd name="T20" fmla="*/ 9215331 w 291740"/>
                <a:gd name="T21" fmla="*/ 7261222 h 291740"/>
                <a:gd name="T22" fmla="*/ 9215331 w 291740"/>
                <a:gd name="T23" fmla="*/ 4160474 h 291740"/>
                <a:gd name="T24" fmla="*/ 322171 w 291740"/>
                <a:gd name="T25" fmla="*/ 5076318 h 291740"/>
                <a:gd name="T26" fmla="*/ 1430630 w 291740"/>
                <a:gd name="T27" fmla="*/ 7261222 h 291740"/>
                <a:gd name="T28" fmla="*/ 1430630 w 291740"/>
                <a:gd name="T29" fmla="*/ 4160474 h 291740"/>
                <a:gd name="T30" fmla="*/ 6194548 w 291740"/>
                <a:gd name="T31" fmla="*/ 3996485 h 291740"/>
                <a:gd name="T32" fmla="*/ 5484380 w 291740"/>
                <a:gd name="T33" fmla="*/ 5475601 h 291740"/>
                <a:gd name="T34" fmla="*/ 5161510 w 291740"/>
                <a:gd name="T35" fmla="*/ 5345913 h 291740"/>
                <a:gd name="T36" fmla="*/ 5458517 w 291740"/>
                <a:gd name="T37" fmla="*/ 3646150 h 291740"/>
                <a:gd name="T38" fmla="*/ 4580464 w 291740"/>
                <a:gd name="T39" fmla="*/ 4372777 h 291740"/>
                <a:gd name="T40" fmla="*/ 5535988 w 291740"/>
                <a:gd name="T41" fmla="*/ 3334782 h 291740"/>
                <a:gd name="T42" fmla="*/ 4162488 w 291740"/>
                <a:gd name="T43" fmla="*/ 6781633 h 291740"/>
                <a:gd name="T44" fmla="*/ 6148334 w 291740"/>
                <a:gd name="T45" fmla="*/ 6820739 h 291740"/>
                <a:gd name="T46" fmla="*/ 7166969 w 291740"/>
                <a:gd name="T47" fmla="*/ 2617100 h 291740"/>
                <a:gd name="T48" fmla="*/ 7321722 w 291740"/>
                <a:gd name="T49" fmla="*/ 2303805 h 291740"/>
                <a:gd name="T50" fmla="*/ 7321722 w 291740"/>
                <a:gd name="T51" fmla="*/ 7107997 h 291740"/>
                <a:gd name="T52" fmla="*/ 5219847 w 291740"/>
                <a:gd name="T53" fmla="*/ 8165383 h 291740"/>
                <a:gd name="T54" fmla="*/ 3105064 w 291740"/>
                <a:gd name="T55" fmla="*/ 7107997 h 291740"/>
                <a:gd name="T56" fmla="*/ 3105064 w 291740"/>
                <a:gd name="T57" fmla="*/ 2303805 h 291740"/>
                <a:gd name="T58" fmla="*/ 9627699 w 291740"/>
                <a:gd name="T59" fmla="*/ 3153089 h 291740"/>
                <a:gd name="T60" fmla="*/ 10426829 w 291740"/>
                <a:gd name="T61" fmla="*/ 6358493 h 291740"/>
                <a:gd name="T62" fmla="*/ 4704280 w 291740"/>
                <a:gd name="T63" fmla="*/ 10584379 h 291740"/>
                <a:gd name="T64" fmla="*/ 4704280 w 291740"/>
                <a:gd name="T65" fmla="*/ 8975144 h 291740"/>
                <a:gd name="T66" fmla="*/ 6457158 w 291740"/>
                <a:gd name="T67" fmla="*/ 9877882 h 291740"/>
                <a:gd name="T68" fmla="*/ 9305519 w 291740"/>
                <a:gd name="T69" fmla="*/ 7588302 h 291740"/>
                <a:gd name="T70" fmla="*/ 8519340 w 291740"/>
                <a:gd name="T71" fmla="*/ 6999542 h 291740"/>
                <a:gd name="T72" fmla="*/ 9215331 w 291740"/>
                <a:gd name="T73" fmla="*/ 3846450 h 291740"/>
                <a:gd name="T74" fmla="*/ 6495837 w 291740"/>
                <a:gd name="T75" fmla="*/ 314069 h 291740"/>
                <a:gd name="T76" fmla="*/ 1108362 w 291740"/>
                <a:gd name="T77" fmla="*/ 3859558 h 291740"/>
                <a:gd name="T78" fmla="*/ 1997660 w 291740"/>
                <a:gd name="T79" fmla="*/ 4435223 h 291740"/>
                <a:gd name="T80" fmla="*/ 1211520 w 291740"/>
                <a:gd name="T81" fmla="*/ 7588302 h 291740"/>
                <a:gd name="T82" fmla="*/ 799153 w 291740"/>
                <a:gd name="T83" fmla="*/ 3924955 h 29174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291740" h="291740">
                  <a:moveTo>
                    <a:pt x="131625" y="256399"/>
                  </a:moveTo>
                  <a:cubicBezTo>
                    <a:pt x="125855" y="256399"/>
                    <a:pt x="121167" y="261087"/>
                    <a:pt x="121167" y="266496"/>
                  </a:cubicBezTo>
                  <a:lnTo>
                    <a:pt x="121167" y="272266"/>
                  </a:lnTo>
                  <a:cubicBezTo>
                    <a:pt x="121167" y="278036"/>
                    <a:pt x="125855" y="282724"/>
                    <a:pt x="131625" y="282724"/>
                  </a:cubicBezTo>
                  <a:lnTo>
                    <a:pt x="161557" y="282724"/>
                  </a:lnTo>
                  <a:cubicBezTo>
                    <a:pt x="167327" y="282724"/>
                    <a:pt x="171654" y="278036"/>
                    <a:pt x="171654" y="272266"/>
                  </a:cubicBezTo>
                  <a:lnTo>
                    <a:pt x="171654" y="266496"/>
                  </a:lnTo>
                  <a:cubicBezTo>
                    <a:pt x="171654" y="261087"/>
                    <a:pt x="167327" y="256399"/>
                    <a:pt x="161557" y="256399"/>
                  </a:cubicBezTo>
                  <a:lnTo>
                    <a:pt x="131625" y="256399"/>
                  </a:lnTo>
                  <a:close/>
                  <a:moveTo>
                    <a:pt x="148858" y="168275"/>
                  </a:moveTo>
                  <a:cubicBezTo>
                    <a:pt x="151423" y="168275"/>
                    <a:pt x="153621" y="170180"/>
                    <a:pt x="153621" y="172847"/>
                  </a:cubicBezTo>
                  <a:cubicBezTo>
                    <a:pt x="153621" y="175514"/>
                    <a:pt x="151423" y="177419"/>
                    <a:pt x="148858" y="177419"/>
                  </a:cubicBezTo>
                  <a:cubicBezTo>
                    <a:pt x="146660" y="177419"/>
                    <a:pt x="144462" y="175514"/>
                    <a:pt x="144462" y="172847"/>
                  </a:cubicBezTo>
                  <a:cubicBezTo>
                    <a:pt x="144462" y="170180"/>
                    <a:pt x="146660" y="168275"/>
                    <a:pt x="148858" y="168275"/>
                  </a:cubicBezTo>
                  <a:close/>
                  <a:moveTo>
                    <a:pt x="265113" y="134937"/>
                  </a:moveTo>
                  <a:cubicBezTo>
                    <a:pt x="267311" y="134937"/>
                    <a:pt x="269509" y="136744"/>
                    <a:pt x="269509" y="139274"/>
                  </a:cubicBezTo>
                  <a:lnTo>
                    <a:pt x="269509" y="174689"/>
                  </a:lnTo>
                  <a:cubicBezTo>
                    <a:pt x="269509" y="177219"/>
                    <a:pt x="267311" y="179026"/>
                    <a:pt x="265113" y="179026"/>
                  </a:cubicBezTo>
                  <a:cubicBezTo>
                    <a:pt x="262548" y="179026"/>
                    <a:pt x="260350" y="177219"/>
                    <a:pt x="260350" y="174689"/>
                  </a:cubicBezTo>
                  <a:lnTo>
                    <a:pt x="260350" y="139274"/>
                  </a:lnTo>
                  <a:cubicBezTo>
                    <a:pt x="260350" y="136744"/>
                    <a:pt x="262548" y="134937"/>
                    <a:pt x="265113" y="134937"/>
                  </a:cubicBezTo>
                  <a:close/>
                  <a:moveTo>
                    <a:pt x="28574" y="134937"/>
                  </a:moveTo>
                  <a:cubicBezTo>
                    <a:pt x="31139" y="134937"/>
                    <a:pt x="32970" y="136744"/>
                    <a:pt x="32970" y="139274"/>
                  </a:cubicBezTo>
                  <a:lnTo>
                    <a:pt x="32970" y="174689"/>
                  </a:lnTo>
                  <a:cubicBezTo>
                    <a:pt x="32970" y="177219"/>
                    <a:pt x="31139" y="179026"/>
                    <a:pt x="28574" y="179026"/>
                  </a:cubicBezTo>
                  <a:cubicBezTo>
                    <a:pt x="26010" y="179026"/>
                    <a:pt x="23812" y="177219"/>
                    <a:pt x="23812" y="174689"/>
                  </a:cubicBezTo>
                  <a:lnTo>
                    <a:pt x="23812" y="139274"/>
                  </a:lnTo>
                  <a:cubicBezTo>
                    <a:pt x="23812" y="136744"/>
                    <a:pt x="26010" y="134937"/>
                    <a:pt x="28574" y="134937"/>
                  </a:cubicBezTo>
                  <a:close/>
                  <a:moveTo>
                    <a:pt x="254596" y="114676"/>
                  </a:moveTo>
                  <a:cubicBezTo>
                    <a:pt x="250269" y="114676"/>
                    <a:pt x="247023" y="118282"/>
                    <a:pt x="247023" y="122249"/>
                  </a:cubicBezTo>
                  <a:lnTo>
                    <a:pt x="247023" y="192930"/>
                  </a:lnTo>
                  <a:cubicBezTo>
                    <a:pt x="247023" y="196897"/>
                    <a:pt x="250269" y="200143"/>
                    <a:pt x="254596" y="200143"/>
                  </a:cubicBezTo>
                  <a:lnTo>
                    <a:pt x="257842" y="200143"/>
                  </a:lnTo>
                  <a:cubicBezTo>
                    <a:pt x="271545" y="200143"/>
                    <a:pt x="282724" y="188964"/>
                    <a:pt x="282724" y="175260"/>
                  </a:cubicBezTo>
                  <a:lnTo>
                    <a:pt x="282724" y="139919"/>
                  </a:lnTo>
                  <a:cubicBezTo>
                    <a:pt x="282724" y="126216"/>
                    <a:pt x="271545" y="114676"/>
                    <a:pt x="257842" y="114676"/>
                  </a:cubicBezTo>
                  <a:lnTo>
                    <a:pt x="254596" y="114676"/>
                  </a:lnTo>
                  <a:close/>
                  <a:moveTo>
                    <a:pt x="33898" y="114676"/>
                  </a:moveTo>
                  <a:cubicBezTo>
                    <a:pt x="20194" y="114676"/>
                    <a:pt x="9015" y="126216"/>
                    <a:pt x="9015" y="139919"/>
                  </a:cubicBezTo>
                  <a:lnTo>
                    <a:pt x="9015" y="175260"/>
                  </a:lnTo>
                  <a:cubicBezTo>
                    <a:pt x="9015" y="188964"/>
                    <a:pt x="20194" y="200143"/>
                    <a:pt x="33898" y="200143"/>
                  </a:cubicBezTo>
                  <a:lnTo>
                    <a:pt x="40028" y="200143"/>
                  </a:lnTo>
                  <a:cubicBezTo>
                    <a:pt x="43995" y="200143"/>
                    <a:pt x="47241" y="196897"/>
                    <a:pt x="47241" y="192930"/>
                  </a:cubicBezTo>
                  <a:lnTo>
                    <a:pt x="47241" y="122249"/>
                  </a:lnTo>
                  <a:cubicBezTo>
                    <a:pt x="47241" y="118282"/>
                    <a:pt x="43995" y="114676"/>
                    <a:pt x="40028" y="114676"/>
                  </a:cubicBezTo>
                  <a:lnTo>
                    <a:pt x="33898" y="114676"/>
                  </a:lnTo>
                  <a:close/>
                  <a:moveTo>
                    <a:pt x="154896" y="91917"/>
                  </a:moveTo>
                  <a:cubicBezTo>
                    <a:pt x="163928" y="94063"/>
                    <a:pt x="171515" y="101216"/>
                    <a:pt x="173322" y="110156"/>
                  </a:cubicBezTo>
                  <a:cubicBezTo>
                    <a:pt x="175851" y="122316"/>
                    <a:pt x="169709" y="134475"/>
                    <a:pt x="158509" y="139124"/>
                  </a:cubicBezTo>
                  <a:cubicBezTo>
                    <a:pt x="155257" y="140197"/>
                    <a:pt x="153451" y="143773"/>
                    <a:pt x="153451" y="147350"/>
                  </a:cubicBezTo>
                  <a:lnTo>
                    <a:pt x="153451" y="150926"/>
                  </a:lnTo>
                  <a:cubicBezTo>
                    <a:pt x="153451" y="153429"/>
                    <a:pt x="151283" y="155217"/>
                    <a:pt x="148754" y="155217"/>
                  </a:cubicBezTo>
                  <a:cubicBezTo>
                    <a:pt x="146586" y="155217"/>
                    <a:pt x="144418" y="153429"/>
                    <a:pt x="144418" y="150926"/>
                  </a:cubicBezTo>
                  <a:lnTo>
                    <a:pt x="144418" y="147350"/>
                  </a:lnTo>
                  <a:cubicBezTo>
                    <a:pt x="144418" y="140197"/>
                    <a:pt x="148754" y="133760"/>
                    <a:pt x="155257" y="130899"/>
                  </a:cubicBezTo>
                  <a:cubicBezTo>
                    <a:pt x="162483" y="128038"/>
                    <a:pt x="166457" y="120170"/>
                    <a:pt x="164651" y="112302"/>
                  </a:cubicBezTo>
                  <a:cubicBezTo>
                    <a:pt x="163206" y="106580"/>
                    <a:pt x="158509" y="101931"/>
                    <a:pt x="152728" y="100500"/>
                  </a:cubicBezTo>
                  <a:cubicBezTo>
                    <a:pt x="147670" y="99428"/>
                    <a:pt x="142612" y="100500"/>
                    <a:pt x="138999" y="103361"/>
                  </a:cubicBezTo>
                  <a:cubicBezTo>
                    <a:pt x="135025" y="106580"/>
                    <a:pt x="132857" y="111229"/>
                    <a:pt x="132857" y="116236"/>
                  </a:cubicBezTo>
                  <a:cubicBezTo>
                    <a:pt x="132857" y="118739"/>
                    <a:pt x="130689" y="120528"/>
                    <a:pt x="128160" y="120528"/>
                  </a:cubicBezTo>
                  <a:cubicBezTo>
                    <a:pt x="125631" y="120528"/>
                    <a:pt x="123825" y="118739"/>
                    <a:pt x="123825" y="116236"/>
                  </a:cubicBezTo>
                  <a:cubicBezTo>
                    <a:pt x="123825" y="108726"/>
                    <a:pt x="127076" y="101573"/>
                    <a:pt x="133218" y="96924"/>
                  </a:cubicBezTo>
                  <a:cubicBezTo>
                    <a:pt x="139360" y="91917"/>
                    <a:pt x="147309" y="90487"/>
                    <a:pt x="154896" y="91917"/>
                  </a:cubicBezTo>
                  <a:close/>
                  <a:moveTo>
                    <a:pt x="91209" y="72136"/>
                  </a:moveTo>
                  <a:lnTo>
                    <a:pt x="91209" y="186923"/>
                  </a:lnTo>
                  <a:lnTo>
                    <a:pt x="116465" y="186923"/>
                  </a:lnTo>
                  <a:cubicBezTo>
                    <a:pt x="117547" y="186923"/>
                    <a:pt x="118629" y="187283"/>
                    <a:pt x="119351" y="188002"/>
                  </a:cubicBezTo>
                  <a:lnTo>
                    <a:pt x="146050" y="214270"/>
                  </a:lnTo>
                  <a:lnTo>
                    <a:pt x="172028" y="188002"/>
                  </a:lnTo>
                  <a:cubicBezTo>
                    <a:pt x="173110" y="187283"/>
                    <a:pt x="174192" y="186923"/>
                    <a:pt x="175275" y="186923"/>
                  </a:cubicBezTo>
                  <a:lnTo>
                    <a:pt x="200530" y="186923"/>
                  </a:lnTo>
                  <a:lnTo>
                    <a:pt x="200530" y="72136"/>
                  </a:lnTo>
                  <a:lnTo>
                    <a:pt x="91209" y="72136"/>
                  </a:lnTo>
                  <a:close/>
                  <a:moveTo>
                    <a:pt x="86879" y="63500"/>
                  </a:moveTo>
                  <a:lnTo>
                    <a:pt x="204860" y="63500"/>
                  </a:lnTo>
                  <a:cubicBezTo>
                    <a:pt x="207025" y="63500"/>
                    <a:pt x="209189" y="65299"/>
                    <a:pt x="209189" y="67818"/>
                  </a:cubicBezTo>
                  <a:lnTo>
                    <a:pt x="209189" y="191241"/>
                  </a:lnTo>
                  <a:cubicBezTo>
                    <a:pt x="209189" y="193760"/>
                    <a:pt x="207025" y="195919"/>
                    <a:pt x="204860" y="195919"/>
                  </a:cubicBezTo>
                  <a:lnTo>
                    <a:pt x="177079" y="195919"/>
                  </a:lnTo>
                  <a:lnTo>
                    <a:pt x="148937" y="223986"/>
                  </a:lnTo>
                  <a:cubicBezTo>
                    <a:pt x="148215" y="224705"/>
                    <a:pt x="146772" y="225065"/>
                    <a:pt x="146050" y="225065"/>
                  </a:cubicBezTo>
                  <a:cubicBezTo>
                    <a:pt x="144607" y="225065"/>
                    <a:pt x="143524" y="224705"/>
                    <a:pt x="142803" y="223986"/>
                  </a:cubicBezTo>
                  <a:lnTo>
                    <a:pt x="114661" y="195919"/>
                  </a:lnTo>
                  <a:lnTo>
                    <a:pt x="86879" y="195919"/>
                  </a:lnTo>
                  <a:cubicBezTo>
                    <a:pt x="84354" y="195919"/>
                    <a:pt x="82550" y="193760"/>
                    <a:pt x="82550" y="191241"/>
                  </a:cubicBezTo>
                  <a:lnTo>
                    <a:pt x="82550" y="67818"/>
                  </a:lnTo>
                  <a:cubicBezTo>
                    <a:pt x="82550" y="65299"/>
                    <a:pt x="84354" y="63500"/>
                    <a:pt x="86879" y="63500"/>
                  </a:cubicBezTo>
                  <a:close/>
                  <a:moveTo>
                    <a:pt x="110349" y="0"/>
                  </a:moveTo>
                  <a:lnTo>
                    <a:pt x="181751" y="0"/>
                  </a:lnTo>
                  <a:cubicBezTo>
                    <a:pt x="230074" y="0"/>
                    <a:pt x="269381" y="38947"/>
                    <a:pt x="269381" y="86909"/>
                  </a:cubicBezTo>
                  <a:lnTo>
                    <a:pt x="269381" y="108185"/>
                  </a:lnTo>
                  <a:cubicBezTo>
                    <a:pt x="282364" y="112873"/>
                    <a:pt x="291740" y="125134"/>
                    <a:pt x="291740" y="139919"/>
                  </a:cubicBezTo>
                  <a:lnTo>
                    <a:pt x="291740" y="175260"/>
                  </a:lnTo>
                  <a:cubicBezTo>
                    <a:pt x="291740" y="190045"/>
                    <a:pt x="282364" y="202306"/>
                    <a:pt x="269381" y="206994"/>
                  </a:cubicBezTo>
                  <a:cubicBezTo>
                    <a:pt x="267939" y="253875"/>
                    <a:pt x="229353" y="291740"/>
                    <a:pt x="181751" y="291740"/>
                  </a:cubicBezTo>
                  <a:lnTo>
                    <a:pt x="131625" y="291740"/>
                  </a:lnTo>
                  <a:cubicBezTo>
                    <a:pt x="120807" y="291740"/>
                    <a:pt x="112512" y="283085"/>
                    <a:pt x="112512" y="272266"/>
                  </a:cubicBezTo>
                  <a:lnTo>
                    <a:pt x="112512" y="266496"/>
                  </a:lnTo>
                  <a:cubicBezTo>
                    <a:pt x="112512" y="256038"/>
                    <a:pt x="120807" y="247384"/>
                    <a:pt x="131625" y="247384"/>
                  </a:cubicBezTo>
                  <a:lnTo>
                    <a:pt x="161557" y="247384"/>
                  </a:lnTo>
                  <a:cubicBezTo>
                    <a:pt x="172015" y="247384"/>
                    <a:pt x="180670" y="256038"/>
                    <a:pt x="180670" y="266496"/>
                  </a:cubicBezTo>
                  <a:lnTo>
                    <a:pt x="180670" y="272266"/>
                  </a:lnTo>
                  <a:cubicBezTo>
                    <a:pt x="180670" y="276233"/>
                    <a:pt x="179588" y="279839"/>
                    <a:pt x="177785" y="282724"/>
                  </a:cubicBezTo>
                  <a:lnTo>
                    <a:pt x="181751" y="282724"/>
                  </a:lnTo>
                  <a:cubicBezTo>
                    <a:pt x="223583" y="282724"/>
                    <a:pt x="258202" y="249908"/>
                    <a:pt x="260366" y="209158"/>
                  </a:cubicBezTo>
                  <a:cubicBezTo>
                    <a:pt x="259645" y="209158"/>
                    <a:pt x="258563" y="209158"/>
                    <a:pt x="257842" y="209158"/>
                  </a:cubicBezTo>
                  <a:lnTo>
                    <a:pt x="254596" y="209158"/>
                  </a:lnTo>
                  <a:cubicBezTo>
                    <a:pt x="245581" y="209158"/>
                    <a:pt x="238368" y="201946"/>
                    <a:pt x="238368" y="192930"/>
                  </a:cubicBezTo>
                  <a:lnTo>
                    <a:pt x="238368" y="122249"/>
                  </a:lnTo>
                  <a:cubicBezTo>
                    <a:pt x="238368" y="113234"/>
                    <a:pt x="245581" y="106021"/>
                    <a:pt x="254596" y="106021"/>
                  </a:cubicBezTo>
                  <a:lnTo>
                    <a:pt x="257842" y="106021"/>
                  </a:lnTo>
                  <a:cubicBezTo>
                    <a:pt x="258923" y="106021"/>
                    <a:pt x="259645" y="106382"/>
                    <a:pt x="260366" y="106382"/>
                  </a:cubicBezTo>
                  <a:lnTo>
                    <a:pt x="260366" y="86909"/>
                  </a:lnTo>
                  <a:cubicBezTo>
                    <a:pt x="260366" y="43995"/>
                    <a:pt x="225386" y="8655"/>
                    <a:pt x="181751" y="8655"/>
                  </a:cubicBezTo>
                  <a:lnTo>
                    <a:pt x="110349" y="8655"/>
                  </a:lnTo>
                  <a:cubicBezTo>
                    <a:pt x="66714" y="8655"/>
                    <a:pt x="31013" y="43995"/>
                    <a:pt x="31013" y="86909"/>
                  </a:cubicBezTo>
                  <a:lnTo>
                    <a:pt x="31013" y="106382"/>
                  </a:lnTo>
                  <a:cubicBezTo>
                    <a:pt x="32455" y="106382"/>
                    <a:pt x="33177" y="106021"/>
                    <a:pt x="33898" y="106021"/>
                  </a:cubicBezTo>
                  <a:lnTo>
                    <a:pt x="40028" y="106021"/>
                  </a:lnTo>
                  <a:cubicBezTo>
                    <a:pt x="48683" y="106021"/>
                    <a:pt x="55895" y="113234"/>
                    <a:pt x="55895" y="122249"/>
                  </a:cubicBezTo>
                  <a:lnTo>
                    <a:pt x="55895" y="192930"/>
                  </a:lnTo>
                  <a:cubicBezTo>
                    <a:pt x="55895" y="201946"/>
                    <a:pt x="48683" y="209158"/>
                    <a:pt x="40028" y="209158"/>
                  </a:cubicBezTo>
                  <a:lnTo>
                    <a:pt x="33898" y="209158"/>
                  </a:lnTo>
                  <a:cubicBezTo>
                    <a:pt x="15146" y="209158"/>
                    <a:pt x="0" y="194012"/>
                    <a:pt x="0" y="175260"/>
                  </a:cubicBezTo>
                  <a:lnTo>
                    <a:pt x="0" y="139919"/>
                  </a:lnTo>
                  <a:cubicBezTo>
                    <a:pt x="0" y="125134"/>
                    <a:pt x="9376" y="112873"/>
                    <a:pt x="22358" y="108185"/>
                  </a:cubicBezTo>
                  <a:lnTo>
                    <a:pt x="22358" y="86909"/>
                  </a:lnTo>
                  <a:cubicBezTo>
                    <a:pt x="22358" y="38947"/>
                    <a:pt x="62026" y="0"/>
                    <a:pt x="110349" y="0"/>
                  </a:cubicBezTo>
                  <a:close/>
                </a:path>
              </a:pathLst>
            </a:custGeom>
            <a:solidFill>
              <a:srgbClr val="4472C4"/>
            </a:solidFill>
            <a:ln>
              <a:noFill/>
            </a:ln>
          </p:spPr>
          <p:txBody>
            <a:bodyPr anchor="ctr"/>
            <a:lstStyle/>
            <a:p>
              <a:endParaRPr lang="en-GB" sz="567" dirty="0"/>
            </a:p>
          </p:txBody>
        </p:sp>
      </p:grpSp>
    </p:spTree>
    <p:extLst>
      <p:ext uri="{BB962C8B-B14F-4D97-AF65-F5344CB8AC3E}">
        <p14:creationId xmlns:p14="http://schemas.microsoft.com/office/powerpoint/2010/main" val="130648293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1B5E7D2C-93EE-469D-8726-66BF8D83B687}"/>
              </a:ext>
            </a:extLst>
          </p:cNvPr>
          <p:cNvSpPr>
            <a:spLocks noGrp="1"/>
          </p:cNvSpPr>
          <p:nvPr>
            <p:ph type="body" sz="quarter" idx="11"/>
          </p:nvPr>
        </p:nvSpPr>
        <p:spPr>
          <a:xfrm>
            <a:off x="450869" y="2637864"/>
            <a:ext cx="9821959" cy="1582271"/>
          </a:xfrm>
        </p:spPr>
        <p:txBody>
          <a:bodyPr/>
          <a:lstStyle/>
          <a:p>
            <a:r>
              <a:rPr lang="en-GB" dirty="0"/>
              <a:t>Motivating Employees in Crisis</a:t>
            </a:r>
          </a:p>
          <a:p>
            <a:r>
              <a:rPr lang="en-GB" sz="2000" dirty="0"/>
              <a:t>Motivation is a state-of-mind, filled with energy and enthusiasm, which drives a person to work in a certain way to achieve desired goals. Motivation is a force which pushes a person to work with high level of commitment and focus even if things are against him. Motivation translates into a certain kind of human behaviour. </a:t>
            </a:r>
          </a:p>
        </p:txBody>
      </p:sp>
    </p:spTree>
    <p:extLst>
      <p:ext uri="{BB962C8B-B14F-4D97-AF65-F5344CB8AC3E}">
        <p14:creationId xmlns:p14="http://schemas.microsoft.com/office/powerpoint/2010/main" val="11277663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7A3440D2-F7CE-C04F-9A86-41D41B1FE9F6}"/>
              </a:ext>
            </a:extLst>
          </p:cNvPr>
          <p:cNvSpPr/>
          <p:nvPr/>
        </p:nvSpPr>
        <p:spPr>
          <a:xfrm>
            <a:off x="8383979" y="6080166"/>
            <a:ext cx="3587373" cy="6877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78291" y="503084"/>
            <a:ext cx="8852375" cy="697353"/>
          </a:xfrm>
        </p:spPr>
        <p:txBody>
          <a:bodyPr>
            <a:normAutofit/>
          </a:bodyPr>
          <a:lstStyle/>
          <a:p>
            <a:r>
              <a:rPr lang="en-GB" dirty="0"/>
              <a:t>What are the three elements of Motivation ?</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28996" y="1787191"/>
            <a:ext cx="3866168" cy="560440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900" dirty="0">
                <a:solidFill>
                  <a:srgbClr val="245473"/>
                </a:solidFill>
                <a:latin typeface="+mj-lt"/>
              </a:rPr>
              <a:t>It is easy to see that some individuals are more motivated than others.  However, the reasons for that motivation are more difficult to determine.  When defining motivation it is important to look at the interaction between the individual and the situation.  There are three key elements that help us define motivation.  The first is intensity or how hard the person tries to accomplish the task.  The second element is direction and that is the effort that is channelled toward organizational goals.  The final element is persistency or how long a person can maintain the effort.</a:t>
            </a:r>
          </a:p>
          <a:p>
            <a:pPr algn="l">
              <a:lnSpc>
                <a:spcPts val="1500"/>
              </a:lnSpc>
              <a:spcBef>
                <a:spcPts val="600"/>
              </a:spcBef>
            </a:pPr>
            <a:endParaRPr lang="en-GB" altLang="de-DE" sz="1900" dirty="0">
              <a:latin typeface="+mj-lt"/>
            </a:endParaRPr>
          </a:p>
          <a:p>
            <a:pPr algn="l">
              <a:lnSpc>
                <a:spcPts val="1500"/>
              </a:lnSpc>
              <a:spcBef>
                <a:spcPts val="600"/>
              </a:spcBef>
            </a:pPr>
            <a:endParaRPr lang="en-GB" sz="1800" dirty="0">
              <a:latin typeface="+mj-lt"/>
              <a:sym typeface="Wingdings" panose="05000000000000000000" pitchFamily="2" charset="2"/>
            </a:endParaRPr>
          </a:p>
        </p:txBody>
      </p:sp>
      <p:sp>
        <p:nvSpPr>
          <p:cNvPr id="39" name="Freeform 10">
            <a:extLst>
              <a:ext uri="{FF2B5EF4-FFF2-40B4-BE49-F238E27FC236}">
                <a16:creationId xmlns:a16="http://schemas.microsoft.com/office/drawing/2014/main" xmlns="" id="{097E79A7-B1E8-4FC9-8195-5855C6E95A6C}"/>
              </a:ext>
            </a:extLst>
          </p:cNvPr>
          <p:cNvSpPr>
            <a:spLocks noChangeArrowheads="1"/>
          </p:cNvSpPr>
          <p:nvPr/>
        </p:nvSpPr>
        <p:spPr bwMode="auto">
          <a:xfrm>
            <a:off x="6884154" y="3266266"/>
            <a:ext cx="2043027" cy="2043027"/>
          </a:xfrm>
          <a:custGeom>
            <a:avLst/>
            <a:gdLst>
              <a:gd name="T0" fmla="*/ 0 w 8337"/>
              <a:gd name="T1" fmla="*/ 4168 h 8337"/>
              <a:gd name="T2" fmla="*/ 4169 w 8337"/>
              <a:gd name="T3" fmla="*/ 0 h 8337"/>
              <a:gd name="T4" fmla="*/ 4169 w 8337"/>
              <a:gd name="T5" fmla="*/ 0 h 8337"/>
              <a:gd name="T6" fmla="*/ 4169 w 8337"/>
              <a:gd name="T7" fmla="*/ 0 h 8337"/>
              <a:gd name="T8" fmla="*/ 8336 w 8337"/>
              <a:gd name="T9" fmla="*/ 4168 h 8337"/>
              <a:gd name="T10" fmla="*/ 8336 w 8337"/>
              <a:gd name="T11" fmla="*/ 4168 h 8337"/>
              <a:gd name="T12" fmla="*/ 8336 w 8337"/>
              <a:gd name="T13" fmla="*/ 4168 h 8337"/>
              <a:gd name="T14" fmla="*/ 4169 w 8337"/>
              <a:gd name="T15" fmla="*/ 8336 h 8337"/>
              <a:gd name="T16" fmla="*/ 4169 w 8337"/>
              <a:gd name="T17" fmla="*/ 8336 h 8337"/>
              <a:gd name="T18" fmla="*/ 4169 w 8337"/>
              <a:gd name="T19" fmla="*/ 8336 h 8337"/>
              <a:gd name="T20" fmla="*/ 0 w 8337"/>
              <a:gd name="T21" fmla="*/ 4168 h 8337"/>
              <a:gd name="T22" fmla="*/ 0 w 8337"/>
              <a:gd name="T23" fmla="*/ 4168 h 8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337" h="8337">
                <a:moveTo>
                  <a:pt x="0" y="4168"/>
                </a:moveTo>
                <a:cubicBezTo>
                  <a:pt x="0" y="1866"/>
                  <a:pt x="1866" y="0"/>
                  <a:pt x="4169" y="0"/>
                </a:cubicBezTo>
                <a:lnTo>
                  <a:pt x="4169" y="0"/>
                </a:lnTo>
                <a:lnTo>
                  <a:pt x="4169" y="0"/>
                </a:lnTo>
                <a:cubicBezTo>
                  <a:pt x="6470" y="0"/>
                  <a:pt x="8336" y="1866"/>
                  <a:pt x="8336" y="4168"/>
                </a:cubicBezTo>
                <a:lnTo>
                  <a:pt x="8336" y="4168"/>
                </a:lnTo>
                <a:lnTo>
                  <a:pt x="8336" y="4168"/>
                </a:lnTo>
                <a:cubicBezTo>
                  <a:pt x="8336" y="6470"/>
                  <a:pt x="6470" y="8336"/>
                  <a:pt x="4169" y="8336"/>
                </a:cubicBezTo>
                <a:lnTo>
                  <a:pt x="4169" y="8336"/>
                </a:lnTo>
                <a:lnTo>
                  <a:pt x="4169" y="8336"/>
                </a:lnTo>
                <a:cubicBezTo>
                  <a:pt x="1866" y="8336"/>
                  <a:pt x="0" y="6470"/>
                  <a:pt x="0" y="4168"/>
                </a:cubicBezTo>
                <a:lnTo>
                  <a:pt x="0" y="4168"/>
                </a:lnTo>
              </a:path>
            </a:pathLst>
          </a:custGeom>
          <a:solidFill>
            <a:schemeClr val="bg1"/>
          </a:solidFill>
          <a:ln>
            <a:noFill/>
          </a:ln>
          <a:effectLst/>
        </p:spPr>
        <p:txBody>
          <a:bodyPr wrap="none" anchor="ctr"/>
          <a:lstStyle/>
          <a:p>
            <a:endParaRPr lang="en-GB" sz="2450" dirty="0">
              <a:latin typeface="+mj-lt"/>
            </a:endParaRPr>
          </a:p>
        </p:txBody>
      </p:sp>
      <p:sp>
        <p:nvSpPr>
          <p:cNvPr id="40" name="Freeform 15">
            <a:extLst>
              <a:ext uri="{FF2B5EF4-FFF2-40B4-BE49-F238E27FC236}">
                <a16:creationId xmlns:a16="http://schemas.microsoft.com/office/drawing/2014/main" xmlns="" id="{ACEA648A-015C-4539-B88A-32A9DFDEA574}"/>
              </a:ext>
            </a:extLst>
          </p:cNvPr>
          <p:cNvSpPr>
            <a:spLocks noChangeArrowheads="1"/>
          </p:cNvSpPr>
          <p:nvPr/>
        </p:nvSpPr>
        <p:spPr bwMode="auto">
          <a:xfrm>
            <a:off x="6552473" y="2921619"/>
            <a:ext cx="2733154" cy="2733154"/>
          </a:xfrm>
          <a:custGeom>
            <a:avLst/>
            <a:gdLst>
              <a:gd name="connsiteX0" fmla="*/ 3607904 w 7286512"/>
              <a:gd name="connsiteY0" fmla="*/ 3145290 h 7286512"/>
              <a:gd name="connsiteX1" fmla="*/ 4103777 w 7286512"/>
              <a:gd name="connsiteY1" fmla="*/ 3641489 h 7286512"/>
              <a:gd name="connsiteX2" fmla="*/ 3607904 w 7286512"/>
              <a:gd name="connsiteY2" fmla="*/ 4138340 h 7286512"/>
              <a:gd name="connsiteX3" fmla="*/ 3110726 w 7286512"/>
              <a:gd name="connsiteY3" fmla="*/ 3641489 h 7286512"/>
              <a:gd name="connsiteX4" fmla="*/ 3607904 w 7286512"/>
              <a:gd name="connsiteY4" fmla="*/ 3145290 h 7286512"/>
              <a:gd name="connsiteX5" fmla="*/ 3606791 w 7286512"/>
              <a:gd name="connsiteY5" fmla="*/ 2574990 h 7286512"/>
              <a:gd name="connsiteX6" fmla="*/ 2537545 w 7286512"/>
              <a:gd name="connsiteY6" fmla="*/ 3643256 h 7286512"/>
              <a:gd name="connsiteX7" fmla="*/ 3606791 w 7286512"/>
              <a:gd name="connsiteY7" fmla="*/ 4711521 h 7286512"/>
              <a:gd name="connsiteX8" fmla="*/ 4674076 w 7286512"/>
              <a:gd name="connsiteY8" fmla="*/ 3643256 h 7286512"/>
              <a:gd name="connsiteX9" fmla="*/ 3606791 w 7286512"/>
              <a:gd name="connsiteY9" fmla="*/ 2574990 h 7286512"/>
              <a:gd name="connsiteX10" fmla="*/ 3609016 w 7286512"/>
              <a:gd name="connsiteY10" fmla="*/ 1771384 h 7286512"/>
              <a:gd name="connsiteX11" fmla="*/ 5480560 w 7286512"/>
              <a:gd name="connsiteY11" fmla="*/ 3643254 h 7286512"/>
              <a:gd name="connsiteX12" fmla="*/ 3609016 w 7286512"/>
              <a:gd name="connsiteY12" fmla="*/ 5515124 h 7286512"/>
              <a:gd name="connsiteX13" fmla="*/ 1736820 w 7286512"/>
              <a:gd name="connsiteY13" fmla="*/ 3643254 h 7286512"/>
              <a:gd name="connsiteX14" fmla="*/ 3609016 w 7286512"/>
              <a:gd name="connsiteY14" fmla="*/ 1771384 h 7286512"/>
              <a:gd name="connsiteX15" fmla="*/ 3607904 w 7286512"/>
              <a:gd name="connsiteY15" fmla="*/ 918815 h 7286512"/>
              <a:gd name="connsiteX16" fmla="*/ 884251 w 7286512"/>
              <a:gd name="connsiteY16" fmla="*/ 3641815 h 7286512"/>
              <a:gd name="connsiteX17" fmla="*/ 3607904 w 7286512"/>
              <a:gd name="connsiteY17" fmla="*/ 6364814 h 7286512"/>
              <a:gd name="connsiteX18" fmla="*/ 6330250 w 7286512"/>
              <a:gd name="connsiteY18" fmla="*/ 3641815 h 7286512"/>
              <a:gd name="connsiteX19" fmla="*/ 3607904 w 7286512"/>
              <a:gd name="connsiteY19" fmla="*/ 918815 h 7286512"/>
              <a:gd name="connsiteX20" fmla="*/ 3643256 w 7286512"/>
              <a:gd name="connsiteY20" fmla="*/ 0 h 7286512"/>
              <a:gd name="connsiteX21" fmla="*/ 7286512 w 7286512"/>
              <a:gd name="connsiteY21" fmla="*/ 3642929 h 7286512"/>
              <a:gd name="connsiteX22" fmla="*/ 3643256 w 7286512"/>
              <a:gd name="connsiteY22" fmla="*/ 7286512 h 7286512"/>
              <a:gd name="connsiteX23" fmla="*/ 0 w 7286512"/>
              <a:gd name="connsiteY23" fmla="*/ 3642929 h 7286512"/>
              <a:gd name="connsiteX24" fmla="*/ 3643256 w 7286512"/>
              <a:gd name="connsiteY24" fmla="*/ 0 h 728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286512" h="7286512">
                <a:moveTo>
                  <a:pt x="3607904" y="3145290"/>
                </a:moveTo>
                <a:cubicBezTo>
                  <a:pt x="3881286" y="3145290"/>
                  <a:pt x="4103777" y="3367274"/>
                  <a:pt x="4103777" y="3641489"/>
                </a:cubicBezTo>
                <a:cubicBezTo>
                  <a:pt x="4103777" y="3915704"/>
                  <a:pt x="3881286" y="4138340"/>
                  <a:pt x="3607904" y="4138340"/>
                </a:cubicBezTo>
                <a:cubicBezTo>
                  <a:pt x="3333216" y="4138340"/>
                  <a:pt x="3110726" y="3915704"/>
                  <a:pt x="3110726" y="3641489"/>
                </a:cubicBezTo>
                <a:cubicBezTo>
                  <a:pt x="3110726" y="3367274"/>
                  <a:pt x="3333216" y="3145290"/>
                  <a:pt x="3607904" y="3145290"/>
                </a:cubicBezTo>
                <a:close/>
                <a:moveTo>
                  <a:pt x="3606791" y="2574990"/>
                </a:moveTo>
                <a:cubicBezTo>
                  <a:pt x="3016614" y="2574990"/>
                  <a:pt x="2537545" y="3053259"/>
                  <a:pt x="2537545" y="3643256"/>
                </a:cubicBezTo>
                <a:cubicBezTo>
                  <a:pt x="2537545" y="4232598"/>
                  <a:pt x="3016614" y="4711521"/>
                  <a:pt x="3606791" y="4711521"/>
                </a:cubicBezTo>
                <a:cubicBezTo>
                  <a:pt x="4196314" y="4711521"/>
                  <a:pt x="4674076" y="4232598"/>
                  <a:pt x="4674076" y="3643256"/>
                </a:cubicBezTo>
                <a:cubicBezTo>
                  <a:pt x="4674076" y="3053259"/>
                  <a:pt x="4196314" y="2574990"/>
                  <a:pt x="3606791" y="2574990"/>
                </a:cubicBezTo>
                <a:close/>
                <a:moveTo>
                  <a:pt x="3609016" y="1771384"/>
                </a:moveTo>
                <a:cubicBezTo>
                  <a:pt x="4641795" y="1771384"/>
                  <a:pt x="5480560" y="2609642"/>
                  <a:pt x="5480560" y="3643254"/>
                </a:cubicBezTo>
                <a:cubicBezTo>
                  <a:pt x="5480560" y="4676866"/>
                  <a:pt x="4641795" y="5515124"/>
                  <a:pt x="3609016" y="5515124"/>
                </a:cubicBezTo>
                <a:cubicBezTo>
                  <a:pt x="2574932" y="5515124"/>
                  <a:pt x="1736820" y="4676866"/>
                  <a:pt x="1736820" y="3643254"/>
                </a:cubicBezTo>
                <a:cubicBezTo>
                  <a:pt x="1736820" y="2609642"/>
                  <a:pt x="2574932" y="1771384"/>
                  <a:pt x="3609016" y="1771384"/>
                </a:cubicBezTo>
                <a:close/>
                <a:moveTo>
                  <a:pt x="3607904" y="918815"/>
                </a:moveTo>
                <a:cubicBezTo>
                  <a:pt x="2103329" y="918815"/>
                  <a:pt x="884251" y="2137893"/>
                  <a:pt x="884251" y="3641815"/>
                </a:cubicBezTo>
                <a:cubicBezTo>
                  <a:pt x="884251" y="5145736"/>
                  <a:pt x="2103329" y="6364814"/>
                  <a:pt x="3607904" y="6364814"/>
                </a:cubicBezTo>
                <a:cubicBezTo>
                  <a:pt x="5111172" y="6364814"/>
                  <a:pt x="6330250" y="5145736"/>
                  <a:pt x="6330250" y="3641815"/>
                </a:cubicBezTo>
                <a:cubicBezTo>
                  <a:pt x="6330250" y="2137893"/>
                  <a:pt x="5111172" y="918815"/>
                  <a:pt x="3607904" y="918815"/>
                </a:cubicBezTo>
                <a:close/>
                <a:moveTo>
                  <a:pt x="3643256" y="0"/>
                </a:moveTo>
                <a:cubicBezTo>
                  <a:pt x="5655310" y="0"/>
                  <a:pt x="7286512" y="1631055"/>
                  <a:pt x="7286512" y="3642929"/>
                </a:cubicBezTo>
                <a:cubicBezTo>
                  <a:pt x="7286512" y="5654804"/>
                  <a:pt x="5655310" y="7286512"/>
                  <a:pt x="3643256" y="7286512"/>
                </a:cubicBezTo>
                <a:cubicBezTo>
                  <a:pt x="1631201" y="7286512"/>
                  <a:pt x="0" y="5654804"/>
                  <a:pt x="0" y="3642929"/>
                </a:cubicBezTo>
                <a:cubicBezTo>
                  <a:pt x="0" y="1631055"/>
                  <a:pt x="1631201" y="0"/>
                  <a:pt x="3643256" y="0"/>
                </a:cubicBezTo>
                <a:close/>
              </a:path>
            </a:pathLst>
          </a:custGeom>
          <a:solidFill>
            <a:schemeClr val="accent5"/>
          </a:solidFill>
          <a:ln>
            <a:noFill/>
          </a:ln>
          <a:effectLst/>
        </p:spPr>
        <p:txBody>
          <a:bodyPr wrap="square" anchor="ctr">
            <a:noAutofit/>
          </a:bodyPr>
          <a:lstStyle/>
          <a:p>
            <a:endParaRPr lang="en-GB" sz="2450" dirty="0">
              <a:latin typeface="+mj-lt"/>
            </a:endParaRPr>
          </a:p>
        </p:txBody>
      </p:sp>
      <p:sp>
        <p:nvSpPr>
          <p:cNvPr id="41" name="L-Shape 26">
            <a:extLst>
              <a:ext uri="{FF2B5EF4-FFF2-40B4-BE49-F238E27FC236}">
                <a16:creationId xmlns:a16="http://schemas.microsoft.com/office/drawing/2014/main" xmlns="" id="{C6E13B92-4527-4832-8D4A-C2DF5318768B}"/>
              </a:ext>
            </a:extLst>
          </p:cNvPr>
          <p:cNvSpPr/>
          <p:nvPr/>
        </p:nvSpPr>
        <p:spPr>
          <a:xfrm>
            <a:off x="8160327" y="4949153"/>
            <a:ext cx="1591194" cy="360139"/>
          </a:xfrm>
          <a:prstGeom prst="corner">
            <a:avLst>
              <a:gd name="adj1" fmla="val 12214"/>
              <a:gd name="adj2" fmla="val 10371"/>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3" name="L-Shape 27">
            <a:extLst>
              <a:ext uri="{FF2B5EF4-FFF2-40B4-BE49-F238E27FC236}">
                <a16:creationId xmlns:a16="http://schemas.microsoft.com/office/drawing/2014/main" xmlns="" id="{4DA6217A-FBFB-4F4B-BFAB-A637128065BD}"/>
              </a:ext>
            </a:extLst>
          </p:cNvPr>
          <p:cNvSpPr/>
          <p:nvPr/>
        </p:nvSpPr>
        <p:spPr>
          <a:xfrm flipV="1">
            <a:off x="8169236" y="3288865"/>
            <a:ext cx="1591194" cy="360867"/>
          </a:xfrm>
          <a:prstGeom prst="corner">
            <a:avLst>
              <a:gd name="adj1" fmla="val 12214"/>
              <a:gd name="adj2" fmla="val 10371"/>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4" name="Oval 21">
            <a:extLst>
              <a:ext uri="{FF2B5EF4-FFF2-40B4-BE49-F238E27FC236}">
                <a16:creationId xmlns:a16="http://schemas.microsoft.com/office/drawing/2014/main" xmlns="" id="{54022F4D-1278-452F-85D7-A2C33F04B7E3}"/>
              </a:ext>
            </a:extLst>
          </p:cNvPr>
          <p:cNvSpPr>
            <a:spLocks noChangeAspect="1"/>
          </p:cNvSpPr>
          <p:nvPr/>
        </p:nvSpPr>
        <p:spPr>
          <a:xfrm>
            <a:off x="9474745" y="1885436"/>
            <a:ext cx="2496607" cy="249660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5" name="L-Shape 28">
            <a:extLst>
              <a:ext uri="{FF2B5EF4-FFF2-40B4-BE49-F238E27FC236}">
                <a16:creationId xmlns:a16="http://schemas.microsoft.com/office/drawing/2014/main" xmlns="" id="{B7B0086E-80E4-48C1-A8FA-C682D4EB337C}"/>
              </a:ext>
            </a:extLst>
          </p:cNvPr>
          <p:cNvSpPr/>
          <p:nvPr/>
        </p:nvSpPr>
        <p:spPr>
          <a:xfrm rot="10800000" flipV="1">
            <a:off x="6075276" y="4949153"/>
            <a:ext cx="1591194" cy="360139"/>
          </a:xfrm>
          <a:prstGeom prst="corner">
            <a:avLst>
              <a:gd name="adj1" fmla="val 12214"/>
              <a:gd name="adj2" fmla="val 10371"/>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7" name="Oval 20">
            <a:extLst>
              <a:ext uri="{FF2B5EF4-FFF2-40B4-BE49-F238E27FC236}">
                <a16:creationId xmlns:a16="http://schemas.microsoft.com/office/drawing/2014/main" xmlns="" id="{1EC12F91-A2C1-4095-9850-21C8DDF14152}"/>
              </a:ext>
            </a:extLst>
          </p:cNvPr>
          <p:cNvSpPr>
            <a:spLocks noChangeAspect="1"/>
          </p:cNvSpPr>
          <p:nvPr/>
        </p:nvSpPr>
        <p:spPr>
          <a:xfrm>
            <a:off x="4161547" y="4287779"/>
            <a:ext cx="2310014" cy="231001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8" name="Oval 22">
            <a:extLst>
              <a:ext uri="{FF2B5EF4-FFF2-40B4-BE49-F238E27FC236}">
                <a16:creationId xmlns:a16="http://schemas.microsoft.com/office/drawing/2014/main" xmlns="" id="{B1CD37C6-6C76-4095-B57E-A4FC7C34E8C8}"/>
              </a:ext>
            </a:extLst>
          </p:cNvPr>
          <p:cNvSpPr>
            <a:spLocks noChangeAspect="1"/>
          </p:cNvSpPr>
          <p:nvPr/>
        </p:nvSpPr>
        <p:spPr>
          <a:xfrm>
            <a:off x="9474746" y="4366402"/>
            <a:ext cx="2401473" cy="240147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0" name="TextBox 29">
            <a:extLst>
              <a:ext uri="{FF2B5EF4-FFF2-40B4-BE49-F238E27FC236}">
                <a16:creationId xmlns:a16="http://schemas.microsoft.com/office/drawing/2014/main" xmlns="" id="{5EF2D896-EFFC-482F-8E88-F5144F3CD5EF}"/>
              </a:ext>
            </a:extLst>
          </p:cNvPr>
          <p:cNvSpPr txBox="1"/>
          <p:nvPr/>
        </p:nvSpPr>
        <p:spPr>
          <a:xfrm>
            <a:off x="4722135" y="1999666"/>
            <a:ext cx="1069332"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Motivation</a:t>
            </a:r>
          </a:p>
        </p:txBody>
      </p:sp>
      <p:sp>
        <p:nvSpPr>
          <p:cNvPr id="52" name="TextBox 32">
            <a:extLst>
              <a:ext uri="{FF2B5EF4-FFF2-40B4-BE49-F238E27FC236}">
                <a16:creationId xmlns:a16="http://schemas.microsoft.com/office/drawing/2014/main" xmlns="" id="{D76D21BF-7EB9-4D55-AF96-91FA9A778418}"/>
              </a:ext>
            </a:extLst>
          </p:cNvPr>
          <p:cNvSpPr txBox="1"/>
          <p:nvPr/>
        </p:nvSpPr>
        <p:spPr>
          <a:xfrm>
            <a:off x="4609123" y="4458587"/>
            <a:ext cx="1295356"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3. Persistence</a:t>
            </a:r>
          </a:p>
        </p:txBody>
      </p:sp>
      <p:sp>
        <p:nvSpPr>
          <p:cNvPr id="53" name="Subtitle 2">
            <a:extLst>
              <a:ext uri="{FF2B5EF4-FFF2-40B4-BE49-F238E27FC236}">
                <a16:creationId xmlns:a16="http://schemas.microsoft.com/office/drawing/2014/main" xmlns="" id="{4FAF772C-48E6-4910-A6B9-296D1F51BB76}"/>
              </a:ext>
            </a:extLst>
          </p:cNvPr>
          <p:cNvSpPr txBox="1">
            <a:spLocks/>
          </p:cNvSpPr>
          <p:nvPr/>
        </p:nvSpPr>
        <p:spPr>
          <a:xfrm>
            <a:off x="4583867" y="4976235"/>
            <a:ext cx="1470485" cy="95796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how long the effort is maintained </a:t>
            </a:r>
          </a:p>
        </p:txBody>
      </p:sp>
      <p:sp>
        <p:nvSpPr>
          <p:cNvPr id="54" name="TextBox 34">
            <a:extLst>
              <a:ext uri="{FF2B5EF4-FFF2-40B4-BE49-F238E27FC236}">
                <a16:creationId xmlns:a16="http://schemas.microsoft.com/office/drawing/2014/main" xmlns="" id="{CE259E15-7E12-4DFE-A16C-F1CD61CD11C6}"/>
              </a:ext>
            </a:extLst>
          </p:cNvPr>
          <p:cNvSpPr txBox="1"/>
          <p:nvPr/>
        </p:nvSpPr>
        <p:spPr>
          <a:xfrm>
            <a:off x="10166008" y="2100002"/>
            <a:ext cx="1078373"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2. Intensity</a:t>
            </a:r>
          </a:p>
        </p:txBody>
      </p:sp>
      <p:sp>
        <p:nvSpPr>
          <p:cNvPr id="55" name="Subtitle 2">
            <a:extLst>
              <a:ext uri="{FF2B5EF4-FFF2-40B4-BE49-F238E27FC236}">
                <a16:creationId xmlns:a16="http://schemas.microsoft.com/office/drawing/2014/main" xmlns="" id="{05A4E0FA-AFA0-4DEA-B892-3531E4FBD70F}"/>
              </a:ext>
            </a:extLst>
          </p:cNvPr>
          <p:cNvSpPr txBox="1">
            <a:spLocks/>
          </p:cNvSpPr>
          <p:nvPr/>
        </p:nvSpPr>
        <p:spPr>
          <a:xfrm>
            <a:off x="10060175" y="2533553"/>
            <a:ext cx="1470485" cy="126573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the amount of effort put forth to meet the goal</a:t>
            </a:r>
          </a:p>
        </p:txBody>
      </p:sp>
      <p:sp>
        <p:nvSpPr>
          <p:cNvPr id="56" name="TextBox 36">
            <a:extLst>
              <a:ext uri="{FF2B5EF4-FFF2-40B4-BE49-F238E27FC236}">
                <a16:creationId xmlns:a16="http://schemas.microsoft.com/office/drawing/2014/main" xmlns="" id="{035AE512-306A-478D-8251-7B3D95EBE596}"/>
              </a:ext>
            </a:extLst>
          </p:cNvPr>
          <p:cNvSpPr txBox="1"/>
          <p:nvPr/>
        </p:nvSpPr>
        <p:spPr>
          <a:xfrm>
            <a:off x="10015136" y="4458587"/>
            <a:ext cx="1119409"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2. Direction</a:t>
            </a:r>
          </a:p>
        </p:txBody>
      </p:sp>
      <p:sp>
        <p:nvSpPr>
          <p:cNvPr id="57" name="Subtitle 2">
            <a:extLst>
              <a:ext uri="{FF2B5EF4-FFF2-40B4-BE49-F238E27FC236}">
                <a16:creationId xmlns:a16="http://schemas.microsoft.com/office/drawing/2014/main" xmlns="" id="{3F903CD2-5483-4BBA-843C-A3A63A19E16A}"/>
              </a:ext>
            </a:extLst>
          </p:cNvPr>
          <p:cNvSpPr txBox="1">
            <a:spLocks/>
          </p:cNvSpPr>
          <p:nvPr/>
        </p:nvSpPr>
        <p:spPr>
          <a:xfrm>
            <a:off x="9839596" y="4964635"/>
            <a:ext cx="1691064" cy="157351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efforts are channelled toward organizational goals</a:t>
            </a:r>
          </a:p>
        </p:txBody>
      </p:sp>
      <p:sp>
        <p:nvSpPr>
          <p:cNvPr id="58" name="Freeform 19">
            <a:extLst>
              <a:ext uri="{FF2B5EF4-FFF2-40B4-BE49-F238E27FC236}">
                <a16:creationId xmlns:a16="http://schemas.microsoft.com/office/drawing/2014/main" xmlns="" id="{589BC957-23B7-4A30-9891-1AE8AFE61A3F}"/>
              </a:ext>
            </a:extLst>
          </p:cNvPr>
          <p:cNvSpPr>
            <a:spLocks noChangeArrowheads="1"/>
          </p:cNvSpPr>
          <p:nvPr/>
        </p:nvSpPr>
        <p:spPr bwMode="auto">
          <a:xfrm>
            <a:off x="8818061" y="3209911"/>
            <a:ext cx="933461" cy="622307"/>
          </a:xfrm>
          <a:custGeom>
            <a:avLst/>
            <a:gdLst>
              <a:gd name="T0" fmla="*/ 3810 w 3811"/>
              <a:gd name="T1" fmla="*/ 350 h 2540"/>
              <a:gd name="T2" fmla="*/ 3703 w 3811"/>
              <a:gd name="T3" fmla="*/ 766 h 2540"/>
              <a:gd name="T4" fmla="*/ 3198 w 3811"/>
              <a:gd name="T5" fmla="*/ 1007 h 2540"/>
              <a:gd name="T6" fmla="*/ 3198 w 3811"/>
              <a:gd name="T7" fmla="*/ 1008 h 2540"/>
              <a:gd name="T8" fmla="*/ 3168 w 3811"/>
              <a:gd name="T9" fmla="*/ 1022 h 2540"/>
              <a:gd name="T10" fmla="*/ 3168 w 3811"/>
              <a:gd name="T11" fmla="*/ 1023 h 2540"/>
              <a:gd name="T12" fmla="*/ 2329 w 3811"/>
              <a:gd name="T13" fmla="*/ 1424 h 2540"/>
              <a:gd name="T14" fmla="*/ 2308 w 3811"/>
              <a:gd name="T15" fmla="*/ 1434 h 2540"/>
              <a:gd name="T16" fmla="*/ 2308 w 3811"/>
              <a:gd name="T17" fmla="*/ 1435 h 2540"/>
              <a:gd name="T18" fmla="*/ 1529 w 3811"/>
              <a:gd name="T19" fmla="*/ 1807 h 2540"/>
              <a:gd name="T20" fmla="*/ 1511 w 3811"/>
              <a:gd name="T21" fmla="*/ 1816 h 2540"/>
              <a:gd name="T22" fmla="*/ 692 w 3811"/>
              <a:gd name="T23" fmla="*/ 2208 h 2540"/>
              <a:gd name="T24" fmla="*/ 680 w 3811"/>
              <a:gd name="T25" fmla="*/ 2214 h 2540"/>
              <a:gd name="T26" fmla="*/ 0 w 3811"/>
              <a:gd name="T27" fmla="*/ 2539 h 2540"/>
              <a:gd name="T28" fmla="*/ 1290 w 3811"/>
              <a:gd name="T29" fmla="*/ 1155 h 2540"/>
              <a:gd name="T30" fmla="*/ 1290 w 3811"/>
              <a:gd name="T31" fmla="*/ 1154 h 2540"/>
              <a:gd name="T32" fmla="*/ 1525 w 3811"/>
              <a:gd name="T33" fmla="*/ 973 h 2540"/>
              <a:gd name="T34" fmla="*/ 1534 w 3811"/>
              <a:gd name="T35" fmla="*/ 967 h 2540"/>
              <a:gd name="T36" fmla="*/ 1534 w 3811"/>
              <a:gd name="T37" fmla="*/ 966 h 2540"/>
              <a:gd name="T38" fmla="*/ 2287 w 3811"/>
              <a:gd name="T39" fmla="*/ 469 h 2540"/>
              <a:gd name="T40" fmla="*/ 2530 w 3811"/>
              <a:gd name="T41" fmla="*/ 332 h 2540"/>
              <a:gd name="T42" fmla="*/ 2963 w 3811"/>
              <a:gd name="T43" fmla="*/ 115 h 2540"/>
              <a:gd name="T44" fmla="*/ 3093 w 3811"/>
              <a:gd name="T45" fmla="*/ 70 h 2540"/>
              <a:gd name="T46" fmla="*/ 3281 w 3811"/>
              <a:gd name="T47" fmla="*/ 21 h 2540"/>
              <a:gd name="T48" fmla="*/ 3472 w 3811"/>
              <a:gd name="T49" fmla="*/ 0 h 2540"/>
              <a:gd name="T50" fmla="*/ 3714 w 3811"/>
              <a:gd name="T51" fmla="*/ 73 h 2540"/>
              <a:gd name="T52" fmla="*/ 3777 w 3811"/>
              <a:gd name="T53" fmla="*/ 155 h 2540"/>
              <a:gd name="T54" fmla="*/ 3810 w 3811"/>
              <a:gd name="T55" fmla="*/ 306 h 2540"/>
              <a:gd name="T56" fmla="*/ 3810 w 3811"/>
              <a:gd name="T57" fmla="*/ 350 h 2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811" h="2540">
                <a:moveTo>
                  <a:pt x="3810" y="350"/>
                </a:moveTo>
                <a:cubicBezTo>
                  <a:pt x="3803" y="552"/>
                  <a:pt x="3703" y="766"/>
                  <a:pt x="3703" y="766"/>
                </a:cubicBezTo>
                <a:lnTo>
                  <a:pt x="3198" y="1007"/>
                </a:lnTo>
                <a:lnTo>
                  <a:pt x="3198" y="1008"/>
                </a:lnTo>
                <a:lnTo>
                  <a:pt x="3168" y="1022"/>
                </a:lnTo>
                <a:lnTo>
                  <a:pt x="3168" y="1023"/>
                </a:lnTo>
                <a:lnTo>
                  <a:pt x="2329" y="1424"/>
                </a:lnTo>
                <a:lnTo>
                  <a:pt x="2308" y="1434"/>
                </a:lnTo>
                <a:lnTo>
                  <a:pt x="2308" y="1435"/>
                </a:lnTo>
                <a:lnTo>
                  <a:pt x="1529" y="1807"/>
                </a:lnTo>
                <a:lnTo>
                  <a:pt x="1511" y="1816"/>
                </a:lnTo>
                <a:lnTo>
                  <a:pt x="692" y="2208"/>
                </a:lnTo>
                <a:lnTo>
                  <a:pt x="680" y="2214"/>
                </a:lnTo>
                <a:lnTo>
                  <a:pt x="0" y="2539"/>
                </a:lnTo>
                <a:cubicBezTo>
                  <a:pt x="364" y="1984"/>
                  <a:pt x="833" y="1521"/>
                  <a:pt x="1290" y="1155"/>
                </a:cubicBezTo>
                <a:lnTo>
                  <a:pt x="1290" y="1154"/>
                </a:lnTo>
                <a:cubicBezTo>
                  <a:pt x="1369" y="1091"/>
                  <a:pt x="1448" y="1030"/>
                  <a:pt x="1525" y="973"/>
                </a:cubicBezTo>
                <a:lnTo>
                  <a:pt x="1534" y="967"/>
                </a:lnTo>
                <a:lnTo>
                  <a:pt x="1534" y="966"/>
                </a:lnTo>
                <a:cubicBezTo>
                  <a:pt x="1806" y="765"/>
                  <a:pt x="2066" y="599"/>
                  <a:pt x="2287" y="469"/>
                </a:cubicBezTo>
                <a:cubicBezTo>
                  <a:pt x="2374" y="418"/>
                  <a:pt x="2456" y="372"/>
                  <a:pt x="2530" y="332"/>
                </a:cubicBezTo>
                <a:cubicBezTo>
                  <a:pt x="2794" y="187"/>
                  <a:pt x="2963" y="115"/>
                  <a:pt x="2963" y="115"/>
                </a:cubicBezTo>
                <a:cubicBezTo>
                  <a:pt x="3009" y="98"/>
                  <a:pt x="3052" y="83"/>
                  <a:pt x="3093" y="70"/>
                </a:cubicBezTo>
                <a:cubicBezTo>
                  <a:pt x="3162" y="48"/>
                  <a:pt x="3224" y="32"/>
                  <a:pt x="3281" y="21"/>
                </a:cubicBezTo>
                <a:cubicBezTo>
                  <a:pt x="3353" y="6"/>
                  <a:pt x="3417" y="0"/>
                  <a:pt x="3472" y="0"/>
                </a:cubicBezTo>
                <a:cubicBezTo>
                  <a:pt x="3584" y="0"/>
                  <a:pt x="3662" y="28"/>
                  <a:pt x="3714" y="73"/>
                </a:cubicBezTo>
                <a:cubicBezTo>
                  <a:pt x="3742" y="96"/>
                  <a:pt x="3762" y="124"/>
                  <a:pt x="3777" y="155"/>
                </a:cubicBezTo>
                <a:cubicBezTo>
                  <a:pt x="3798" y="200"/>
                  <a:pt x="3808" y="252"/>
                  <a:pt x="3810" y="306"/>
                </a:cubicBezTo>
                <a:lnTo>
                  <a:pt x="3810" y="350"/>
                </a:lnTo>
              </a:path>
            </a:pathLst>
          </a:custGeom>
          <a:solidFill>
            <a:schemeClr val="accent2">
              <a:lumMod val="50000"/>
            </a:schemeClr>
          </a:solidFill>
          <a:ln>
            <a:noFill/>
          </a:ln>
          <a:effectLst/>
        </p:spPr>
        <p:txBody>
          <a:bodyPr wrap="none" anchor="ctr"/>
          <a:lstStyle/>
          <a:p>
            <a:endParaRPr lang="en-GB" sz="2450" dirty="0">
              <a:latin typeface="+mj-lt"/>
            </a:endParaRPr>
          </a:p>
        </p:txBody>
      </p:sp>
      <p:sp>
        <p:nvSpPr>
          <p:cNvPr id="59" name="Freeform 17">
            <a:extLst>
              <a:ext uri="{FF2B5EF4-FFF2-40B4-BE49-F238E27FC236}">
                <a16:creationId xmlns:a16="http://schemas.microsoft.com/office/drawing/2014/main" xmlns="" id="{3B17E16B-C989-4659-BEBE-48C6DE378D5B}"/>
              </a:ext>
            </a:extLst>
          </p:cNvPr>
          <p:cNvSpPr>
            <a:spLocks noChangeArrowheads="1"/>
          </p:cNvSpPr>
          <p:nvPr/>
        </p:nvSpPr>
        <p:spPr bwMode="auto">
          <a:xfrm rot="18519923" flipV="1">
            <a:off x="8894065" y="3333871"/>
            <a:ext cx="899968" cy="346419"/>
          </a:xfrm>
          <a:custGeom>
            <a:avLst/>
            <a:gdLst>
              <a:gd name="T0" fmla="*/ 2590 w 3672"/>
              <a:gd name="T1" fmla="*/ 38 h 1407"/>
              <a:gd name="T2" fmla="*/ 2363 w 3672"/>
              <a:gd name="T3" fmla="*/ 0 h 1407"/>
              <a:gd name="T4" fmla="*/ 2621 w 3672"/>
              <a:gd name="T5" fmla="*/ 24 h 1407"/>
              <a:gd name="T6" fmla="*/ 2621 w 3672"/>
              <a:gd name="T7" fmla="*/ 24 h 1407"/>
              <a:gd name="T8" fmla="*/ 3647 w 3672"/>
              <a:gd name="T9" fmla="*/ 117 h 1407"/>
              <a:gd name="T10" fmla="*/ 3647 w 3672"/>
              <a:gd name="T11" fmla="*/ 117 h 1407"/>
              <a:gd name="T12" fmla="*/ 3671 w 3672"/>
              <a:gd name="T13" fmla="*/ 218 h 1407"/>
              <a:gd name="T14" fmla="*/ 3671 w 3672"/>
              <a:gd name="T15" fmla="*/ 218 h 1407"/>
              <a:gd name="T16" fmla="*/ 2591 w 3672"/>
              <a:gd name="T17" fmla="*/ 38 h 1407"/>
              <a:gd name="T18" fmla="*/ 2590 w 3672"/>
              <a:gd name="T19" fmla="*/ 38 h 1407"/>
              <a:gd name="T20" fmla="*/ 1726 w 3672"/>
              <a:gd name="T21" fmla="*/ 441 h 1407"/>
              <a:gd name="T22" fmla="*/ 1567 w 3672"/>
              <a:gd name="T23" fmla="*/ 415 h 1407"/>
              <a:gd name="T24" fmla="*/ 1748 w 3672"/>
              <a:gd name="T25" fmla="*/ 431 h 1407"/>
              <a:gd name="T26" fmla="*/ 1748 w 3672"/>
              <a:gd name="T27" fmla="*/ 431 h 1407"/>
              <a:gd name="T28" fmla="*/ 3437 w 3672"/>
              <a:gd name="T29" fmla="*/ 586 h 1407"/>
              <a:gd name="T30" fmla="*/ 3437 w 3672"/>
              <a:gd name="T31" fmla="*/ 586 h 1407"/>
              <a:gd name="T32" fmla="*/ 3280 w 3672"/>
              <a:gd name="T33" fmla="*/ 699 h 1407"/>
              <a:gd name="T34" fmla="*/ 3280 w 3672"/>
              <a:gd name="T35" fmla="*/ 699 h 1407"/>
              <a:gd name="T36" fmla="*/ 1726 w 3672"/>
              <a:gd name="T37" fmla="*/ 441 h 1407"/>
              <a:gd name="T38" fmla="*/ 1726 w 3672"/>
              <a:gd name="T39" fmla="*/ 441 h 1407"/>
              <a:gd name="T40" fmla="*/ 926 w 3672"/>
              <a:gd name="T41" fmla="*/ 815 h 1407"/>
              <a:gd name="T42" fmla="*/ 794 w 3672"/>
              <a:gd name="T43" fmla="*/ 793 h 1407"/>
              <a:gd name="T44" fmla="*/ 944 w 3672"/>
              <a:gd name="T45" fmla="*/ 807 h 1407"/>
              <a:gd name="T46" fmla="*/ 2720 w 3672"/>
              <a:gd name="T47" fmla="*/ 969 h 1407"/>
              <a:gd name="T48" fmla="*/ 2720 w 3672"/>
              <a:gd name="T49" fmla="*/ 969 h 1407"/>
              <a:gd name="T50" fmla="*/ 2460 w 3672"/>
              <a:gd name="T51" fmla="*/ 1070 h 1407"/>
              <a:gd name="T52" fmla="*/ 2460 w 3672"/>
              <a:gd name="T53" fmla="*/ 1070 h 1407"/>
              <a:gd name="T54" fmla="*/ 926 w 3672"/>
              <a:gd name="T55" fmla="*/ 815 h 1407"/>
              <a:gd name="T56" fmla="*/ 91 w 3672"/>
              <a:gd name="T57" fmla="*/ 1206 h 1407"/>
              <a:gd name="T58" fmla="*/ 0 w 3672"/>
              <a:gd name="T59" fmla="*/ 1190 h 1407"/>
              <a:gd name="T60" fmla="*/ 103 w 3672"/>
              <a:gd name="T61" fmla="*/ 1200 h 1407"/>
              <a:gd name="T62" fmla="*/ 1597 w 3672"/>
              <a:gd name="T63" fmla="*/ 1337 h 1407"/>
              <a:gd name="T64" fmla="*/ 1297 w 3672"/>
              <a:gd name="T65" fmla="*/ 1406 h 1407"/>
              <a:gd name="T66" fmla="*/ 91 w 3672"/>
              <a:gd name="T67" fmla="*/ 1206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72" h="1407">
                <a:moveTo>
                  <a:pt x="2590" y="38"/>
                </a:moveTo>
                <a:lnTo>
                  <a:pt x="2363" y="0"/>
                </a:lnTo>
                <a:lnTo>
                  <a:pt x="2621" y="24"/>
                </a:lnTo>
                <a:lnTo>
                  <a:pt x="2621" y="24"/>
                </a:lnTo>
                <a:lnTo>
                  <a:pt x="3647" y="117"/>
                </a:lnTo>
                <a:lnTo>
                  <a:pt x="3647" y="117"/>
                </a:lnTo>
                <a:cubicBezTo>
                  <a:pt x="3662" y="148"/>
                  <a:pt x="3670" y="182"/>
                  <a:pt x="3671" y="218"/>
                </a:cubicBezTo>
                <a:lnTo>
                  <a:pt x="3671" y="218"/>
                </a:lnTo>
                <a:lnTo>
                  <a:pt x="2591" y="38"/>
                </a:lnTo>
                <a:lnTo>
                  <a:pt x="2590" y="38"/>
                </a:lnTo>
                <a:close/>
                <a:moveTo>
                  <a:pt x="1726" y="441"/>
                </a:moveTo>
                <a:lnTo>
                  <a:pt x="1567" y="415"/>
                </a:lnTo>
                <a:lnTo>
                  <a:pt x="1748" y="431"/>
                </a:lnTo>
                <a:lnTo>
                  <a:pt x="1748" y="431"/>
                </a:lnTo>
                <a:lnTo>
                  <a:pt x="3437" y="586"/>
                </a:lnTo>
                <a:lnTo>
                  <a:pt x="3437" y="586"/>
                </a:lnTo>
                <a:cubicBezTo>
                  <a:pt x="3392" y="622"/>
                  <a:pt x="3340" y="661"/>
                  <a:pt x="3280" y="699"/>
                </a:cubicBezTo>
                <a:lnTo>
                  <a:pt x="3280" y="699"/>
                </a:lnTo>
                <a:lnTo>
                  <a:pt x="1726" y="441"/>
                </a:lnTo>
                <a:lnTo>
                  <a:pt x="1726" y="441"/>
                </a:lnTo>
                <a:close/>
                <a:moveTo>
                  <a:pt x="926" y="815"/>
                </a:moveTo>
                <a:lnTo>
                  <a:pt x="794" y="793"/>
                </a:lnTo>
                <a:lnTo>
                  <a:pt x="944" y="807"/>
                </a:lnTo>
                <a:lnTo>
                  <a:pt x="2720" y="969"/>
                </a:lnTo>
                <a:lnTo>
                  <a:pt x="2720" y="969"/>
                </a:lnTo>
                <a:cubicBezTo>
                  <a:pt x="2641" y="1001"/>
                  <a:pt x="2554" y="1035"/>
                  <a:pt x="2460" y="1070"/>
                </a:cubicBezTo>
                <a:lnTo>
                  <a:pt x="2460" y="1070"/>
                </a:lnTo>
                <a:lnTo>
                  <a:pt x="926" y="815"/>
                </a:lnTo>
                <a:close/>
                <a:moveTo>
                  <a:pt x="91" y="1206"/>
                </a:moveTo>
                <a:lnTo>
                  <a:pt x="0" y="1190"/>
                </a:lnTo>
                <a:lnTo>
                  <a:pt x="103" y="1200"/>
                </a:lnTo>
                <a:lnTo>
                  <a:pt x="1597" y="1337"/>
                </a:lnTo>
                <a:lnTo>
                  <a:pt x="1297" y="1406"/>
                </a:lnTo>
                <a:lnTo>
                  <a:pt x="91" y="1206"/>
                </a:lnTo>
                <a:close/>
              </a:path>
            </a:pathLst>
          </a:custGeom>
          <a:solidFill>
            <a:schemeClr val="accent2">
              <a:lumMod val="60000"/>
              <a:lumOff val="40000"/>
            </a:schemeClr>
          </a:solidFill>
          <a:ln>
            <a:noFill/>
          </a:ln>
          <a:effectLst/>
        </p:spPr>
        <p:txBody>
          <a:bodyPr wrap="none" anchor="ctr"/>
          <a:lstStyle/>
          <a:p>
            <a:endParaRPr lang="en-GB" sz="2450" dirty="0">
              <a:latin typeface="+mj-lt"/>
            </a:endParaRPr>
          </a:p>
        </p:txBody>
      </p:sp>
      <p:sp>
        <p:nvSpPr>
          <p:cNvPr id="68" name="Freeform 16">
            <a:extLst>
              <a:ext uri="{FF2B5EF4-FFF2-40B4-BE49-F238E27FC236}">
                <a16:creationId xmlns:a16="http://schemas.microsoft.com/office/drawing/2014/main" xmlns="" id="{E73C25F8-FD5D-4973-9B5B-FB30DB8F71DD}"/>
              </a:ext>
            </a:extLst>
          </p:cNvPr>
          <p:cNvSpPr>
            <a:spLocks noChangeArrowheads="1"/>
          </p:cNvSpPr>
          <p:nvPr/>
        </p:nvSpPr>
        <p:spPr bwMode="auto">
          <a:xfrm>
            <a:off x="8868061" y="3505486"/>
            <a:ext cx="1044742" cy="433239"/>
          </a:xfrm>
          <a:custGeom>
            <a:avLst/>
            <a:gdLst>
              <a:gd name="T0" fmla="*/ 4263 w 4264"/>
              <a:gd name="T1" fmla="*/ 444 h 1767"/>
              <a:gd name="T2" fmla="*/ 4029 w 4264"/>
              <a:gd name="T3" fmla="*/ 799 h 1767"/>
              <a:gd name="T4" fmla="*/ 3872 w 4264"/>
              <a:gd name="T5" fmla="*/ 912 h 1767"/>
              <a:gd name="T6" fmla="*/ 3754 w 4264"/>
              <a:gd name="T7" fmla="*/ 985 h 1767"/>
              <a:gd name="T8" fmla="*/ 3312 w 4264"/>
              <a:gd name="T9" fmla="*/ 1182 h 1767"/>
              <a:gd name="T10" fmla="*/ 3052 w 4264"/>
              <a:gd name="T11" fmla="*/ 1283 h 1767"/>
              <a:gd name="T12" fmla="*/ 2189 w 4264"/>
              <a:gd name="T13" fmla="*/ 1550 h 1767"/>
              <a:gd name="T14" fmla="*/ 2179 w 4264"/>
              <a:gd name="T15" fmla="*/ 1552 h 1767"/>
              <a:gd name="T16" fmla="*/ 1889 w 4264"/>
              <a:gd name="T17" fmla="*/ 1619 h 1767"/>
              <a:gd name="T18" fmla="*/ 618 w 4264"/>
              <a:gd name="T19" fmla="*/ 1766 h 1767"/>
              <a:gd name="T20" fmla="*/ 475 w 4264"/>
              <a:gd name="T21" fmla="*/ 1766 h 1767"/>
              <a:gd name="T22" fmla="*/ 0 w 4264"/>
              <a:gd name="T23" fmla="*/ 1738 h 1767"/>
              <a:gd name="T24" fmla="*/ 683 w 4264"/>
              <a:gd name="T25" fmla="*/ 1419 h 1767"/>
              <a:gd name="T26" fmla="*/ 695 w 4264"/>
              <a:gd name="T27" fmla="*/ 1413 h 1767"/>
              <a:gd name="T28" fmla="*/ 1518 w 4264"/>
              <a:gd name="T29" fmla="*/ 1028 h 1767"/>
              <a:gd name="T30" fmla="*/ 1536 w 4264"/>
              <a:gd name="T31" fmla="*/ 1020 h 1767"/>
              <a:gd name="T32" fmla="*/ 2318 w 4264"/>
              <a:gd name="T33" fmla="*/ 654 h 1767"/>
              <a:gd name="T34" fmla="*/ 2340 w 4264"/>
              <a:gd name="T35" fmla="*/ 644 h 1767"/>
              <a:gd name="T36" fmla="*/ 3182 w 4264"/>
              <a:gd name="T37" fmla="*/ 251 h 1767"/>
              <a:gd name="T38" fmla="*/ 3183 w 4264"/>
              <a:gd name="T39" fmla="*/ 251 h 1767"/>
              <a:gd name="T40" fmla="*/ 3213 w 4264"/>
              <a:gd name="T41" fmla="*/ 237 h 1767"/>
              <a:gd name="T42" fmla="*/ 3720 w 4264"/>
              <a:gd name="T43" fmla="*/ 0 h 1767"/>
              <a:gd name="T44" fmla="*/ 4239 w 4264"/>
              <a:gd name="T45" fmla="*/ 330 h 1767"/>
              <a:gd name="T46" fmla="*/ 4263 w 4264"/>
              <a:gd name="T47" fmla="*/ 431 h 1767"/>
              <a:gd name="T48" fmla="*/ 4263 w 4264"/>
              <a:gd name="T49" fmla="*/ 444 h 1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264" h="1767">
                <a:moveTo>
                  <a:pt x="4263" y="444"/>
                </a:moveTo>
                <a:cubicBezTo>
                  <a:pt x="4260" y="543"/>
                  <a:pt x="4196" y="662"/>
                  <a:pt x="4029" y="799"/>
                </a:cubicBezTo>
                <a:cubicBezTo>
                  <a:pt x="3984" y="835"/>
                  <a:pt x="3932" y="874"/>
                  <a:pt x="3872" y="912"/>
                </a:cubicBezTo>
                <a:cubicBezTo>
                  <a:pt x="3835" y="936"/>
                  <a:pt x="3796" y="960"/>
                  <a:pt x="3754" y="985"/>
                </a:cubicBezTo>
                <a:cubicBezTo>
                  <a:pt x="3754" y="985"/>
                  <a:pt x="3591" y="1069"/>
                  <a:pt x="3312" y="1182"/>
                </a:cubicBezTo>
                <a:cubicBezTo>
                  <a:pt x="3233" y="1214"/>
                  <a:pt x="3146" y="1248"/>
                  <a:pt x="3052" y="1283"/>
                </a:cubicBezTo>
                <a:cubicBezTo>
                  <a:pt x="2810" y="1372"/>
                  <a:pt x="2517" y="1467"/>
                  <a:pt x="2189" y="1550"/>
                </a:cubicBezTo>
                <a:lnTo>
                  <a:pt x="2179" y="1552"/>
                </a:lnTo>
                <a:cubicBezTo>
                  <a:pt x="2085" y="1575"/>
                  <a:pt x="1988" y="1598"/>
                  <a:pt x="1889" y="1619"/>
                </a:cubicBezTo>
                <a:cubicBezTo>
                  <a:pt x="1496" y="1701"/>
                  <a:pt x="1064" y="1760"/>
                  <a:pt x="618" y="1766"/>
                </a:cubicBezTo>
                <a:lnTo>
                  <a:pt x="475" y="1766"/>
                </a:lnTo>
                <a:cubicBezTo>
                  <a:pt x="318" y="1764"/>
                  <a:pt x="159" y="1755"/>
                  <a:pt x="0" y="1738"/>
                </a:cubicBezTo>
                <a:lnTo>
                  <a:pt x="683" y="1419"/>
                </a:lnTo>
                <a:lnTo>
                  <a:pt x="695" y="1413"/>
                </a:lnTo>
                <a:lnTo>
                  <a:pt x="1518" y="1028"/>
                </a:lnTo>
                <a:lnTo>
                  <a:pt x="1536" y="1020"/>
                </a:lnTo>
                <a:lnTo>
                  <a:pt x="2318" y="654"/>
                </a:lnTo>
                <a:lnTo>
                  <a:pt x="2340" y="644"/>
                </a:lnTo>
                <a:lnTo>
                  <a:pt x="3182" y="251"/>
                </a:lnTo>
                <a:lnTo>
                  <a:pt x="3183" y="251"/>
                </a:lnTo>
                <a:lnTo>
                  <a:pt x="3213" y="237"/>
                </a:lnTo>
                <a:lnTo>
                  <a:pt x="3720" y="0"/>
                </a:lnTo>
                <a:cubicBezTo>
                  <a:pt x="3720" y="0"/>
                  <a:pt x="4133" y="106"/>
                  <a:pt x="4239" y="330"/>
                </a:cubicBezTo>
                <a:cubicBezTo>
                  <a:pt x="4254" y="361"/>
                  <a:pt x="4262" y="395"/>
                  <a:pt x="4263" y="431"/>
                </a:cubicBezTo>
                <a:lnTo>
                  <a:pt x="4263" y="444"/>
                </a:lnTo>
              </a:path>
            </a:pathLst>
          </a:custGeom>
          <a:solidFill>
            <a:schemeClr val="accent2">
              <a:lumMod val="50000"/>
            </a:schemeClr>
          </a:solidFill>
          <a:ln>
            <a:noFill/>
          </a:ln>
          <a:effectLst/>
        </p:spPr>
        <p:txBody>
          <a:bodyPr wrap="none" anchor="ctr"/>
          <a:lstStyle/>
          <a:p>
            <a:endParaRPr lang="en-GB" sz="2450" dirty="0">
              <a:latin typeface="+mj-lt"/>
            </a:endParaRPr>
          </a:p>
        </p:txBody>
      </p:sp>
      <p:sp>
        <p:nvSpPr>
          <p:cNvPr id="69" name="Freeform 17">
            <a:extLst>
              <a:ext uri="{FF2B5EF4-FFF2-40B4-BE49-F238E27FC236}">
                <a16:creationId xmlns:a16="http://schemas.microsoft.com/office/drawing/2014/main" xmlns="" id="{EBE6FB75-E9BF-41C7-BFB9-B3E7C0658EEC}"/>
              </a:ext>
            </a:extLst>
          </p:cNvPr>
          <p:cNvSpPr>
            <a:spLocks noChangeArrowheads="1"/>
          </p:cNvSpPr>
          <p:nvPr/>
        </p:nvSpPr>
        <p:spPr bwMode="auto">
          <a:xfrm>
            <a:off x="9013914" y="3558425"/>
            <a:ext cx="899968" cy="344646"/>
          </a:xfrm>
          <a:custGeom>
            <a:avLst/>
            <a:gdLst>
              <a:gd name="T0" fmla="*/ 2590 w 3672"/>
              <a:gd name="T1" fmla="*/ 38 h 1407"/>
              <a:gd name="T2" fmla="*/ 2363 w 3672"/>
              <a:gd name="T3" fmla="*/ 0 h 1407"/>
              <a:gd name="T4" fmla="*/ 2621 w 3672"/>
              <a:gd name="T5" fmla="*/ 24 h 1407"/>
              <a:gd name="T6" fmla="*/ 2621 w 3672"/>
              <a:gd name="T7" fmla="*/ 24 h 1407"/>
              <a:gd name="T8" fmla="*/ 3647 w 3672"/>
              <a:gd name="T9" fmla="*/ 117 h 1407"/>
              <a:gd name="T10" fmla="*/ 3647 w 3672"/>
              <a:gd name="T11" fmla="*/ 117 h 1407"/>
              <a:gd name="T12" fmla="*/ 3671 w 3672"/>
              <a:gd name="T13" fmla="*/ 218 h 1407"/>
              <a:gd name="T14" fmla="*/ 3671 w 3672"/>
              <a:gd name="T15" fmla="*/ 218 h 1407"/>
              <a:gd name="T16" fmla="*/ 2591 w 3672"/>
              <a:gd name="T17" fmla="*/ 38 h 1407"/>
              <a:gd name="T18" fmla="*/ 2590 w 3672"/>
              <a:gd name="T19" fmla="*/ 38 h 1407"/>
              <a:gd name="T20" fmla="*/ 1726 w 3672"/>
              <a:gd name="T21" fmla="*/ 441 h 1407"/>
              <a:gd name="T22" fmla="*/ 1567 w 3672"/>
              <a:gd name="T23" fmla="*/ 415 h 1407"/>
              <a:gd name="T24" fmla="*/ 1748 w 3672"/>
              <a:gd name="T25" fmla="*/ 431 h 1407"/>
              <a:gd name="T26" fmla="*/ 1748 w 3672"/>
              <a:gd name="T27" fmla="*/ 431 h 1407"/>
              <a:gd name="T28" fmla="*/ 3437 w 3672"/>
              <a:gd name="T29" fmla="*/ 586 h 1407"/>
              <a:gd name="T30" fmla="*/ 3437 w 3672"/>
              <a:gd name="T31" fmla="*/ 586 h 1407"/>
              <a:gd name="T32" fmla="*/ 3280 w 3672"/>
              <a:gd name="T33" fmla="*/ 699 h 1407"/>
              <a:gd name="T34" fmla="*/ 3280 w 3672"/>
              <a:gd name="T35" fmla="*/ 699 h 1407"/>
              <a:gd name="T36" fmla="*/ 1726 w 3672"/>
              <a:gd name="T37" fmla="*/ 441 h 1407"/>
              <a:gd name="T38" fmla="*/ 1726 w 3672"/>
              <a:gd name="T39" fmla="*/ 441 h 1407"/>
              <a:gd name="T40" fmla="*/ 926 w 3672"/>
              <a:gd name="T41" fmla="*/ 815 h 1407"/>
              <a:gd name="T42" fmla="*/ 794 w 3672"/>
              <a:gd name="T43" fmla="*/ 793 h 1407"/>
              <a:gd name="T44" fmla="*/ 944 w 3672"/>
              <a:gd name="T45" fmla="*/ 807 h 1407"/>
              <a:gd name="T46" fmla="*/ 2720 w 3672"/>
              <a:gd name="T47" fmla="*/ 969 h 1407"/>
              <a:gd name="T48" fmla="*/ 2720 w 3672"/>
              <a:gd name="T49" fmla="*/ 969 h 1407"/>
              <a:gd name="T50" fmla="*/ 2460 w 3672"/>
              <a:gd name="T51" fmla="*/ 1070 h 1407"/>
              <a:gd name="T52" fmla="*/ 2460 w 3672"/>
              <a:gd name="T53" fmla="*/ 1070 h 1407"/>
              <a:gd name="T54" fmla="*/ 926 w 3672"/>
              <a:gd name="T55" fmla="*/ 815 h 1407"/>
              <a:gd name="T56" fmla="*/ 91 w 3672"/>
              <a:gd name="T57" fmla="*/ 1206 h 1407"/>
              <a:gd name="T58" fmla="*/ 0 w 3672"/>
              <a:gd name="T59" fmla="*/ 1190 h 1407"/>
              <a:gd name="T60" fmla="*/ 103 w 3672"/>
              <a:gd name="T61" fmla="*/ 1200 h 1407"/>
              <a:gd name="T62" fmla="*/ 1597 w 3672"/>
              <a:gd name="T63" fmla="*/ 1337 h 1407"/>
              <a:gd name="T64" fmla="*/ 1297 w 3672"/>
              <a:gd name="T65" fmla="*/ 1406 h 1407"/>
              <a:gd name="T66" fmla="*/ 91 w 3672"/>
              <a:gd name="T67" fmla="*/ 1206 h 1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72" h="1407">
                <a:moveTo>
                  <a:pt x="2590" y="38"/>
                </a:moveTo>
                <a:lnTo>
                  <a:pt x="2363" y="0"/>
                </a:lnTo>
                <a:lnTo>
                  <a:pt x="2621" y="24"/>
                </a:lnTo>
                <a:lnTo>
                  <a:pt x="2621" y="24"/>
                </a:lnTo>
                <a:lnTo>
                  <a:pt x="3647" y="117"/>
                </a:lnTo>
                <a:lnTo>
                  <a:pt x="3647" y="117"/>
                </a:lnTo>
                <a:cubicBezTo>
                  <a:pt x="3662" y="148"/>
                  <a:pt x="3670" y="182"/>
                  <a:pt x="3671" y="218"/>
                </a:cubicBezTo>
                <a:lnTo>
                  <a:pt x="3671" y="218"/>
                </a:lnTo>
                <a:lnTo>
                  <a:pt x="2591" y="38"/>
                </a:lnTo>
                <a:lnTo>
                  <a:pt x="2590" y="38"/>
                </a:lnTo>
                <a:close/>
                <a:moveTo>
                  <a:pt x="1726" y="441"/>
                </a:moveTo>
                <a:lnTo>
                  <a:pt x="1567" y="415"/>
                </a:lnTo>
                <a:lnTo>
                  <a:pt x="1748" y="431"/>
                </a:lnTo>
                <a:lnTo>
                  <a:pt x="1748" y="431"/>
                </a:lnTo>
                <a:lnTo>
                  <a:pt x="3437" y="586"/>
                </a:lnTo>
                <a:lnTo>
                  <a:pt x="3437" y="586"/>
                </a:lnTo>
                <a:cubicBezTo>
                  <a:pt x="3392" y="622"/>
                  <a:pt x="3340" y="661"/>
                  <a:pt x="3280" y="699"/>
                </a:cubicBezTo>
                <a:lnTo>
                  <a:pt x="3280" y="699"/>
                </a:lnTo>
                <a:lnTo>
                  <a:pt x="1726" y="441"/>
                </a:lnTo>
                <a:lnTo>
                  <a:pt x="1726" y="441"/>
                </a:lnTo>
                <a:close/>
                <a:moveTo>
                  <a:pt x="926" y="815"/>
                </a:moveTo>
                <a:lnTo>
                  <a:pt x="794" y="793"/>
                </a:lnTo>
                <a:lnTo>
                  <a:pt x="944" y="807"/>
                </a:lnTo>
                <a:lnTo>
                  <a:pt x="2720" y="969"/>
                </a:lnTo>
                <a:lnTo>
                  <a:pt x="2720" y="969"/>
                </a:lnTo>
                <a:cubicBezTo>
                  <a:pt x="2641" y="1001"/>
                  <a:pt x="2554" y="1035"/>
                  <a:pt x="2460" y="1070"/>
                </a:cubicBezTo>
                <a:lnTo>
                  <a:pt x="2460" y="1070"/>
                </a:lnTo>
                <a:lnTo>
                  <a:pt x="926" y="815"/>
                </a:lnTo>
                <a:close/>
                <a:moveTo>
                  <a:pt x="91" y="1206"/>
                </a:moveTo>
                <a:lnTo>
                  <a:pt x="0" y="1190"/>
                </a:lnTo>
                <a:lnTo>
                  <a:pt x="103" y="1200"/>
                </a:lnTo>
                <a:lnTo>
                  <a:pt x="1597" y="1337"/>
                </a:lnTo>
                <a:lnTo>
                  <a:pt x="1297" y="1406"/>
                </a:lnTo>
                <a:lnTo>
                  <a:pt x="91" y="1206"/>
                </a:lnTo>
                <a:close/>
              </a:path>
            </a:pathLst>
          </a:custGeom>
          <a:solidFill>
            <a:schemeClr val="accent2">
              <a:lumMod val="60000"/>
              <a:lumOff val="40000"/>
            </a:schemeClr>
          </a:solidFill>
          <a:ln>
            <a:noFill/>
          </a:ln>
          <a:effectLst/>
        </p:spPr>
        <p:txBody>
          <a:bodyPr wrap="none" anchor="ctr"/>
          <a:lstStyle/>
          <a:p>
            <a:endParaRPr lang="en-GB" sz="2450" dirty="0">
              <a:latin typeface="+mj-lt"/>
            </a:endParaRPr>
          </a:p>
        </p:txBody>
      </p:sp>
      <p:sp>
        <p:nvSpPr>
          <p:cNvPr id="70" name="Rounded Rectangle 6">
            <a:extLst>
              <a:ext uri="{FF2B5EF4-FFF2-40B4-BE49-F238E27FC236}">
                <a16:creationId xmlns:a16="http://schemas.microsoft.com/office/drawing/2014/main" xmlns="" id="{AD5C0944-17D1-4ABE-8A6F-72E83D70E301}"/>
              </a:ext>
            </a:extLst>
          </p:cNvPr>
          <p:cNvSpPr/>
          <p:nvPr/>
        </p:nvSpPr>
        <p:spPr>
          <a:xfrm rot="20130930">
            <a:off x="7755832" y="3808237"/>
            <a:ext cx="2144392" cy="135531"/>
          </a:xfrm>
          <a:prstGeom prst="roundRect">
            <a:avLst>
              <a:gd name="adj" fmla="val 50000"/>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29" name="TextBox 28">
            <a:extLst>
              <a:ext uri="{FF2B5EF4-FFF2-40B4-BE49-F238E27FC236}">
                <a16:creationId xmlns:a16="http://schemas.microsoft.com/office/drawing/2014/main" xmlns="" id="{F0E375B2-DF2D-4885-AD92-F331C28C3374}"/>
              </a:ext>
            </a:extLst>
          </p:cNvPr>
          <p:cNvSpPr txBox="1"/>
          <p:nvPr/>
        </p:nvSpPr>
        <p:spPr>
          <a:xfrm>
            <a:off x="4024009" y="1829141"/>
            <a:ext cx="5261618" cy="1015663"/>
          </a:xfrm>
          <a:prstGeom prst="rect">
            <a:avLst/>
          </a:prstGeom>
          <a:solidFill>
            <a:srgbClr val="E64D92"/>
          </a:solidFill>
        </p:spPr>
        <p:txBody>
          <a:bodyPr wrap="square">
            <a:spAutoFit/>
          </a:bodyPr>
          <a:lstStyle/>
          <a:p>
            <a:pPr>
              <a:lnSpc>
                <a:spcPct val="100000"/>
              </a:lnSpc>
            </a:pPr>
            <a:r>
              <a:rPr lang="en-GB" sz="2000" dirty="0">
                <a:solidFill>
                  <a:schemeClr val="bg1"/>
                </a:solidFill>
                <a:latin typeface="+mj-lt"/>
                <a:ea typeface="Lato Light" panose="020F0502020204030203" pitchFamily="34" charset="0"/>
                <a:cs typeface="Mukta ExtraLight" panose="020B0000000000000000" pitchFamily="34" charset="77"/>
              </a:rPr>
              <a:t>Motivation is the process that accounts for an individual’s intensity, direction, and persistence of effort toward attaining a organizational goal</a:t>
            </a:r>
          </a:p>
        </p:txBody>
      </p:sp>
    </p:spTree>
    <p:extLst>
      <p:ext uri="{BB962C8B-B14F-4D97-AF65-F5344CB8AC3E}">
        <p14:creationId xmlns:p14="http://schemas.microsoft.com/office/powerpoint/2010/main" val="406386931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6610" y="583758"/>
            <a:ext cx="8852375" cy="697353"/>
          </a:xfrm>
        </p:spPr>
        <p:txBody>
          <a:bodyPr>
            <a:normAutofit/>
          </a:bodyPr>
          <a:lstStyle/>
          <a:p>
            <a:r>
              <a:rPr lang="en-GB" dirty="0"/>
              <a:t>Intrinsic vs. </a:t>
            </a:r>
            <a:r>
              <a:rPr lang="en-GB"/>
              <a:t>Extrinsic Motivation</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93282" y="2142491"/>
            <a:ext cx="2590250" cy="283261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endParaRPr lang="en-GB" altLang="de-DE" sz="2200" dirty="0">
              <a:latin typeface="+mj-lt"/>
            </a:endParaRPr>
          </a:p>
          <a:p>
            <a:pPr algn="l">
              <a:lnSpc>
                <a:spcPct val="100000"/>
              </a:lnSpc>
              <a:spcBef>
                <a:spcPts val="600"/>
              </a:spcBef>
            </a:pPr>
            <a:endParaRPr lang="en-GB" altLang="de-DE" sz="2200" dirty="0">
              <a:latin typeface="+mj-lt"/>
            </a:endParaRPr>
          </a:p>
          <a:p>
            <a:pPr algn="l">
              <a:lnSpc>
                <a:spcPct val="100000"/>
              </a:lnSpc>
              <a:spcBef>
                <a:spcPts val="600"/>
              </a:spcBef>
            </a:pPr>
            <a:r>
              <a:rPr lang="en-GB" altLang="de-DE" sz="2200" dirty="0">
                <a:solidFill>
                  <a:srgbClr val="245473"/>
                </a:solidFill>
                <a:latin typeface="+mj-lt"/>
              </a:rPr>
              <a:t>Fundamental distinction.  Which one do we want in organizations?</a:t>
            </a:r>
          </a:p>
          <a:p>
            <a:pPr algn="l">
              <a:lnSpc>
                <a:spcPts val="1500"/>
              </a:lnSpc>
              <a:spcBef>
                <a:spcPts val="600"/>
              </a:spcBef>
            </a:pPr>
            <a:endParaRPr lang="en-GB" sz="2200" dirty="0">
              <a:latin typeface="+mj-lt"/>
              <a:sym typeface="Wingdings" panose="05000000000000000000" pitchFamily="2" charset="2"/>
            </a:endParaRPr>
          </a:p>
          <a:p>
            <a:pPr algn="l">
              <a:lnSpc>
                <a:spcPts val="1500"/>
              </a:lnSpc>
              <a:spcBef>
                <a:spcPts val="600"/>
              </a:spcBef>
            </a:pPr>
            <a:endParaRPr lang="en-GB" sz="2200" dirty="0">
              <a:latin typeface="+mj-lt"/>
              <a:sym typeface="Wingdings" panose="05000000000000000000" pitchFamily="2" charset="2"/>
            </a:endParaRPr>
          </a:p>
        </p:txBody>
      </p:sp>
      <p:sp>
        <p:nvSpPr>
          <p:cNvPr id="39" name="Freeform 2">
            <a:extLst>
              <a:ext uri="{FF2B5EF4-FFF2-40B4-BE49-F238E27FC236}">
                <a16:creationId xmlns:a16="http://schemas.microsoft.com/office/drawing/2014/main" xmlns="" id="{832F6FE3-805D-42AC-842C-9141D49E2CCD}"/>
              </a:ext>
            </a:extLst>
          </p:cNvPr>
          <p:cNvSpPr>
            <a:spLocks/>
          </p:cNvSpPr>
          <p:nvPr/>
        </p:nvSpPr>
        <p:spPr bwMode="auto">
          <a:xfrm>
            <a:off x="2733553" y="2365771"/>
            <a:ext cx="3442097" cy="2126457"/>
          </a:xfrm>
          <a:custGeom>
            <a:avLst/>
            <a:gdLst>
              <a:gd name="T0" fmla="*/ 4117 w 4961"/>
              <a:gd name="T1" fmla="*/ 2584 h 3065"/>
              <a:gd name="T2" fmla="*/ 2794 w 4961"/>
              <a:gd name="T3" fmla="*/ 2938 h 3065"/>
              <a:gd name="T4" fmla="*/ 594 w 4961"/>
              <a:gd name="T5" fmla="*/ 995 h 3065"/>
              <a:gd name="T6" fmla="*/ 419 w 4961"/>
              <a:gd name="T7" fmla="*/ 1529 h 3065"/>
              <a:gd name="T8" fmla="*/ 0 w 4961"/>
              <a:gd name="T9" fmla="*/ 1115 h 3065"/>
              <a:gd name="T10" fmla="*/ 273 w 4961"/>
              <a:gd name="T11" fmla="*/ 281 h 3065"/>
              <a:gd name="T12" fmla="*/ 1104 w 4961"/>
              <a:gd name="T13" fmla="*/ 0 h 3065"/>
              <a:gd name="T14" fmla="*/ 1523 w 4961"/>
              <a:gd name="T15" fmla="*/ 415 h 3065"/>
              <a:gd name="T16" fmla="*/ 988 w 4961"/>
              <a:gd name="T17" fmla="*/ 596 h 3065"/>
              <a:gd name="T18" fmla="*/ 2654 w 4961"/>
              <a:gd name="T19" fmla="*/ 2210 h 3065"/>
              <a:gd name="T20" fmla="*/ 3148 w 4961"/>
              <a:gd name="T21" fmla="*/ 2377 h 3065"/>
              <a:gd name="T22" fmla="*/ 3910 w 4961"/>
              <a:gd name="T23" fmla="*/ 1615 h 3065"/>
              <a:gd name="T24" fmla="*/ 3148 w 4961"/>
              <a:gd name="T25" fmla="*/ 853 h 3065"/>
              <a:gd name="T26" fmla="*/ 2386 w 4961"/>
              <a:gd name="T27" fmla="*/ 1602 h 3065"/>
              <a:gd name="T28" fmla="*/ 1861 w 4961"/>
              <a:gd name="T29" fmla="*/ 1142 h 3065"/>
              <a:gd name="T30" fmla="*/ 3148 w 4961"/>
              <a:gd name="T31" fmla="*/ 245 h 3065"/>
              <a:gd name="T32" fmla="*/ 4117 w 4961"/>
              <a:gd name="T33" fmla="*/ 2584 h 3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1" h="3065">
                <a:moveTo>
                  <a:pt x="4117" y="2584"/>
                </a:moveTo>
                <a:cubicBezTo>
                  <a:pt x="3769" y="2931"/>
                  <a:pt x="3266" y="3065"/>
                  <a:pt x="2794" y="2938"/>
                </a:cubicBezTo>
                <a:cubicBezTo>
                  <a:pt x="2318" y="2811"/>
                  <a:pt x="1067" y="1477"/>
                  <a:pt x="594" y="995"/>
                </a:cubicBezTo>
                <a:cubicBezTo>
                  <a:pt x="419" y="1529"/>
                  <a:pt x="419" y="1529"/>
                  <a:pt x="419" y="1529"/>
                </a:cubicBezTo>
                <a:cubicBezTo>
                  <a:pt x="0" y="1115"/>
                  <a:pt x="0" y="1115"/>
                  <a:pt x="0" y="1115"/>
                </a:cubicBezTo>
                <a:cubicBezTo>
                  <a:pt x="273" y="281"/>
                  <a:pt x="273" y="281"/>
                  <a:pt x="273" y="281"/>
                </a:cubicBezTo>
                <a:cubicBezTo>
                  <a:pt x="1104" y="0"/>
                  <a:pt x="1104" y="0"/>
                  <a:pt x="1104" y="0"/>
                </a:cubicBezTo>
                <a:cubicBezTo>
                  <a:pt x="1523" y="415"/>
                  <a:pt x="1523" y="415"/>
                  <a:pt x="1523" y="415"/>
                </a:cubicBezTo>
                <a:cubicBezTo>
                  <a:pt x="988" y="596"/>
                  <a:pt x="988" y="596"/>
                  <a:pt x="988" y="596"/>
                </a:cubicBezTo>
                <a:cubicBezTo>
                  <a:pt x="2654" y="2210"/>
                  <a:pt x="2654" y="2210"/>
                  <a:pt x="2654" y="2210"/>
                </a:cubicBezTo>
                <a:cubicBezTo>
                  <a:pt x="2771" y="2314"/>
                  <a:pt x="2926" y="2377"/>
                  <a:pt x="3148" y="2377"/>
                </a:cubicBezTo>
                <a:cubicBezTo>
                  <a:pt x="3502" y="2377"/>
                  <a:pt x="3910" y="2036"/>
                  <a:pt x="3910" y="1615"/>
                </a:cubicBezTo>
                <a:cubicBezTo>
                  <a:pt x="3910" y="1194"/>
                  <a:pt x="3569" y="853"/>
                  <a:pt x="3148" y="853"/>
                </a:cubicBezTo>
                <a:cubicBezTo>
                  <a:pt x="2731" y="853"/>
                  <a:pt x="2393" y="1187"/>
                  <a:pt x="2386" y="1602"/>
                </a:cubicBezTo>
                <a:cubicBezTo>
                  <a:pt x="1861" y="1142"/>
                  <a:pt x="1861" y="1142"/>
                  <a:pt x="1861" y="1142"/>
                </a:cubicBezTo>
                <a:cubicBezTo>
                  <a:pt x="2058" y="607"/>
                  <a:pt x="2570" y="245"/>
                  <a:pt x="3148" y="245"/>
                </a:cubicBezTo>
                <a:cubicBezTo>
                  <a:pt x="4389" y="245"/>
                  <a:pt x="4961" y="1739"/>
                  <a:pt x="4117" y="2584"/>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40" name="Freeform 3">
            <a:extLst>
              <a:ext uri="{FF2B5EF4-FFF2-40B4-BE49-F238E27FC236}">
                <a16:creationId xmlns:a16="http://schemas.microsoft.com/office/drawing/2014/main" xmlns="" id="{A6F8AB3A-7CB0-4EA5-8B55-1233D80FF5B5}"/>
              </a:ext>
            </a:extLst>
          </p:cNvPr>
          <p:cNvSpPr>
            <a:spLocks/>
          </p:cNvSpPr>
          <p:nvPr/>
        </p:nvSpPr>
        <p:spPr bwMode="auto">
          <a:xfrm>
            <a:off x="2549006" y="3450431"/>
            <a:ext cx="3442097" cy="2126457"/>
          </a:xfrm>
          <a:custGeom>
            <a:avLst/>
            <a:gdLst>
              <a:gd name="T0" fmla="*/ 845 w 4962"/>
              <a:gd name="T1" fmla="*/ 481 h 3065"/>
              <a:gd name="T2" fmla="*/ 2168 w 4962"/>
              <a:gd name="T3" fmla="*/ 126 h 3065"/>
              <a:gd name="T4" fmla="*/ 4368 w 4962"/>
              <a:gd name="T5" fmla="*/ 2070 h 3065"/>
              <a:gd name="T6" fmla="*/ 4542 w 4962"/>
              <a:gd name="T7" fmla="*/ 1535 h 3065"/>
              <a:gd name="T8" fmla="*/ 4962 w 4962"/>
              <a:gd name="T9" fmla="*/ 1950 h 3065"/>
              <a:gd name="T10" fmla="*/ 4689 w 4962"/>
              <a:gd name="T11" fmla="*/ 2783 h 3065"/>
              <a:gd name="T12" fmla="*/ 3858 w 4962"/>
              <a:gd name="T13" fmla="*/ 3065 h 3065"/>
              <a:gd name="T14" fmla="*/ 3439 w 4962"/>
              <a:gd name="T15" fmla="*/ 2650 h 3065"/>
              <a:gd name="T16" fmla="*/ 3974 w 4962"/>
              <a:gd name="T17" fmla="*/ 2469 h 3065"/>
              <a:gd name="T18" fmla="*/ 2307 w 4962"/>
              <a:gd name="T19" fmla="*/ 855 h 3065"/>
              <a:gd name="T20" fmla="*/ 1814 w 4962"/>
              <a:gd name="T21" fmla="*/ 688 h 3065"/>
              <a:gd name="T22" fmla="*/ 1052 w 4962"/>
              <a:gd name="T23" fmla="*/ 1450 h 3065"/>
              <a:gd name="T24" fmla="*/ 1814 w 4962"/>
              <a:gd name="T25" fmla="*/ 2212 h 3065"/>
              <a:gd name="T26" fmla="*/ 2576 w 4962"/>
              <a:gd name="T27" fmla="*/ 1462 h 3065"/>
              <a:gd name="T28" fmla="*/ 3100 w 4962"/>
              <a:gd name="T29" fmla="*/ 1922 h 3065"/>
              <a:gd name="T30" fmla="*/ 1814 w 4962"/>
              <a:gd name="T31" fmla="*/ 2820 h 3065"/>
              <a:gd name="T32" fmla="*/ 845 w 4962"/>
              <a:gd name="T33" fmla="*/ 481 h 30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962" h="3065">
                <a:moveTo>
                  <a:pt x="845" y="481"/>
                </a:moveTo>
                <a:cubicBezTo>
                  <a:pt x="1192" y="133"/>
                  <a:pt x="1696" y="0"/>
                  <a:pt x="2168" y="126"/>
                </a:cubicBezTo>
                <a:cubicBezTo>
                  <a:pt x="2644" y="254"/>
                  <a:pt x="3895" y="1588"/>
                  <a:pt x="4368" y="2070"/>
                </a:cubicBezTo>
                <a:cubicBezTo>
                  <a:pt x="4542" y="1535"/>
                  <a:pt x="4542" y="1535"/>
                  <a:pt x="4542" y="1535"/>
                </a:cubicBezTo>
                <a:cubicBezTo>
                  <a:pt x="4962" y="1950"/>
                  <a:pt x="4962" y="1950"/>
                  <a:pt x="4962" y="1950"/>
                </a:cubicBezTo>
                <a:cubicBezTo>
                  <a:pt x="4689" y="2783"/>
                  <a:pt x="4689" y="2783"/>
                  <a:pt x="4689" y="2783"/>
                </a:cubicBezTo>
                <a:cubicBezTo>
                  <a:pt x="3858" y="3065"/>
                  <a:pt x="3858" y="3065"/>
                  <a:pt x="3858" y="3065"/>
                </a:cubicBezTo>
                <a:cubicBezTo>
                  <a:pt x="3439" y="2650"/>
                  <a:pt x="3439" y="2650"/>
                  <a:pt x="3439" y="2650"/>
                </a:cubicBezTo>
                <a:cubicBezTo>
                  <a:pt x="3974" y="2469"/>
                  <a:pt x="3974" y="2469"/>
                  <a:pt x="3974" y="2469"/>
                </a:cubicBezTo>
                <a:cubicBezTo>
                  <a:pt x="2307" y="855"/>
                  <a:pt x="2307" y="855"/>
                  <a:pt x="2307" y="855"/>
                </a:cubicBezTo>
                <a:cubicBezTo>
                  <a:pt x="2191" y="750"/>
                  <a:pt x="2035" y="688"/>
                  <a:pt x="1814" y="688"/>
                </a:cubicBezTo>
                <a:cubicBezTo>
                  <a:pt x="1459" y="688"/>
                  <a:pt x="1052" y="1029"/>
                  <a:pt x="1052" y="1450"/>
                </a:cubicBezTo>
                <a:cubicBezTo>
                  <a:pt x="1052" y="1871"/>
                  <a:pt x="1393" y="2212"/>
                  <a:pt x="1814" y="2212"/>
                </a:cubicBezTo>
                <a:cubicBezTo>
                  <a:pt x="2230" y="2212"/>
                  <a:pt x="2569" y="1877"/>
                  <a:pt x="2576" y="1462"/>
                </a:cubicBezTo>
                <a:cubicBezTo>
                  <a:pt x="3100" y="1922"/>
                  <a:pt x="3100" y="1922"/>
                  <a:pt x="3100" y="1922"/>
                </a:cubicBezTo>
                <a:cubicBezTo>
                  <a:pt x="2904" y="2458"/>
                  <a:pt x="2392" y="2820"/>
                  <a:pt x="1814" y="2820"/>
                </a:cubicBezTo>
                <a:cubicBezTo>
                  <a:pt x="573" y="2820"/>
                  <a:pt x="0" y="1325"/>
                  <a:pt x="845" y="481"/>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sz="2700" dirty="0">
              <a:latin typeface="+mj-lt"/>
            </a:endParaRPr>
          </a:p>
        </p:txBody>
      </p:sp>
      <p:sp>
        <p:nvSpPr>
          <p:cNvPr id="42" name="Subtitle 2">
            <a:extLst>
              <a:ext uri="{FF2B5EF4-FFF2-40B4-BE49-F238E27FC236}">
                <a16:creationId xmlns:a16="http://schemas.microsoft.com/office/drawing/2014/main" xmlns="" id="{93B49907-D904-4080-8CAC-72D0454404FD}"/>
              </a:ext>
            </a:extLst>
          </p:cNvPr>
          <p:cNvSpPr txBox="1">
            <a:spLocks/>
          </p:cNvSpPr>
          <p:nvPr/>
        </p:nvSpPr>
        <p:spPr>
          <a:xfrm>
            <a:off x="6346867" y="2292127"/>
            <a:ext cx="5333503" cy="168281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spc="113" dirty="0">
                <a:solidFill>
                  <a:srgbClr val="ED7D31"/>
                </a:solidFill>
                <a:latin typeface="+mj-lt"/>
                <a:ea typeface="League Spartan" charset="0"/>
                <a:cs typeface="Poppins" pitchFamily="2" charset="77"/>
              </a:rPr>
              <a:t>Intrinsic Motivation</a:t>
            </a:r>
          </a:p>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Intrinsic Motivation is seen in behaviour that is performed for its own sake or from the sense of accomplishment and achievement derived from doing the work itself (e.g., playing music).</a:t>
            </a:r>
          </a:p>
        </p:txBody>
      </p:sp>
      <p:sp>
        <p:nvSpPr>
          <p:cNvPr id="47" name="Subtitle 2">
            <a:extLst>
              <a:ext uri="{FF2B5EF4-FFF2-40B4-BE49-F238E27FC236}">
                <a16:creationId xmlns:a16="http://schemas.microsoft.com/office/drawing/2014/main" xmlns="" id="{FA64FE41-C584-4B48-8560-7AC8D7DC32F4}"/>
              </a:ext>
            </a:extLst>
          </p:cNvPr>
          <p:cNvSpPr txBox="1">
            <a:spLocks/>
          </p:cNvSpPr>
          <p:nvPr/>
        </p:nvSpPr>
        <p:spPr>
          <a:xfrm>
            <a:off x="6360196" y="4078056"/>
            <a:ext cx="5537889" cy="168281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spc="113" dirty="0">
                <a:solidFill>
                  <a:srgbClr val="4472C4"/>
                </a:solidFill>
                <a:latin typeface="+mj-lt"/>
                <a:ea typeface="League Spartan" charset="0"/>
                <a:cs typeface="Poppins" pitchFamily="2" charset="77"/>
              </a:rPr>
              <a:t>Extrinsic Motivation</a:t>
            </a:r>
          </a:p>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Extrinsic Motivation comes from consequences of behaviour - material/social rewards or avoiding punishment - and not from the behaviour itself (e.g., trash collection)</a:t>
            </a:r>
          </a:p>
        </p:txBody>
      </p:sp>
    </p:spTree>
    <p:extLst>
      <p:ext uri="{BB962C8B-B14F-4D97-AF65-F5344CB8AC3E}">
        <p14:creationId xmlns:p14="http://schemas.microsoft.com/office/powerpoint/2010/main" val="9773996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28169" y="493400"/>
            <a:ext cx="8852375" cy="697353"/>
          </a:xfrm>
        </p:spPr>
        <p:txBody>
          <a:bodyPr>
            <a:normAutofit/>
          </a:bodyPr>
          <a:lstStyle/>
          <a:p>
            <a:r>
              <a:rPr lang="en-GB" dirty="0"/>
              <a:t>Motivation in Crisis: The Role of Controlling</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55370" y="1852317"/>
            <a:ext cx="3651448" cy="522737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solidFill>
                  <a:srgbClr val="245473"/>
                </a:solidFill>
                <a:latin typeface="+mj-lt"/>
              </a:rPr>
              <a:t>Controlling extends the field of communication by enabling the department to cooperate with other functions.</a:t>
            </a:r>
          </a:p>
          <a:p>
            <a:pPr algn="l">
              <a:lnSpc>
                <a:spcPct val="100000"/>
              </a:lnSpc>
              <a:spcBef>
                <a:spcPts val="600"/>
              </a:spcBef>
            </a:pPr>
            <a:r>
              <a:rPr lang="en-GB" altLang="de-DE" sz="1800" dirty="0">
                <a:solidFill>
                  <a:srgbClr val="245473"/>
                </a:solidFill>
                <a:latin typeface="+mj-lt"/>
              </a:rPr>
              <a:t>When managers and employees of a company have - more or less - the same picture of where to "go", which paths to take, which systems and instruments to use, which framework conditions to consider, etc., communication and work can be much more targeted and efficient</a:t>
            </a:r>
          </a:p>
          <a:p>
            <a:pPr algn="l">
              <a:lnSpc>
                <a:spcPct val="100000"/>
              </a:lnSpc>
              <a:spcBef>
                <a:spcPts val="600"/>
              </a:spcBef>
            </a:pPr>
            <a:r>
              <a:rPr lang="en-GB" altLang="de-DE" sz="1800" dirty="0">
                <a:solidFill>
                  <a:srgbClr val="245473"/>
                </a:solidFill>
                <a:latin typeface="+mj-lt"/>
              </a:rPr>
              <a:t>The same picture of the management helps to recognize more easily in everyday life where deviations exist or to take the right measures without narrow/concrete instructions</a:t>
            </a:r>
          </a:p>
          <a:p>
            <a:pPr algn="l">
              <a:lnSpc>
                <a:spcPts val="1500"/>
              </a:lnSpc>
              <a:spcBef>
                <a:spcPts val="600"/>
              </a:spcBef>
            </a:pPr>
            <a:endParaRPr lang="en-GB" sz="1800" dirty="0">
              <a:latin typeface="+mj-lt"/>
              <a:sym typeface="Wingdings" panose="05000000000000000000" pitchFamily="2" charset="2"/>
            </a:endParaRPr>
          </a:p>
        </p:txBody>
      </p:sp>
      <p:sp>
        <p:nvSpPr>
          <p:cNvPr id="38" name="TextBox 10">
            <a:extLst>
              <a:ext uri="{FF2B5EF4-FFF2-40B4-BE49-F238E27FC236}">
                <a16:creationId xmlns:a16="http://schemas.microsoft.com/office/drawing/2014/main" xmlns="" id="{3A5CE3FB-C24C-4714-80AD-4C77E96268EA}"/>
              </a:ext>
            </a:extLst>
          </p:cNvPr>
          <p:cNvSpPr txBox="1"/>
          <p:nvPr/>
        </p:nvSpPr>
        <p:spPr>
          <a:xfrm>
            <a:off x="4059533" y="5831975"/>
            <a:ext cx="227948" cy="307777"/>
          </a:xfrm>
          <a:prstGeom prst="rect">
            <a:avLst/>
          </a:prstGeom>
          <a:noFill/>
        </p:spPr>
        <p:txBody>
          <a:bodyPr wrap="none" rtlCol="0" anchor="ctr">
            <a:spAutoFit/>
          </a:bodyPr>
          <a:lstStyle/>
          <a:p>
            <a:pPr algn="ctr"/>
            <a:r>
              <a:rPr lang="en-GB" sz="1400" b="1">
                <a:solidFill>
                  <a:schemeClr val="bg1"/>
                </a:solidFill>
                <a:latin typeface="+mj-lt"/>
                <a:cs typeface="Poppins" pitchFamily="2" charset="77"/>
              </a:rPr>
              <a:t>I</a:t>
            </a:r>
            <a:endParaRPr lang="en-GB" sz="1400" b="1" dirty="0">
              <a:solidFill>
                <a:schemeClr val="bg1"/>
              </a:solidFill>
              <a:latin typeface="+mj-lt"/>
              <a:cs typeface="Poppins" pitchFamily="2" charset="77"/>
            </a:endParaRPr>
          </a:p>
        </p:txBody>
      </p:sp>
      <p:sp>
        <p:nvSpPr>
          <p:cNvPr id="60" name="Freeform 61">
            <a:extLst>
              <a:ext uri="{FF2B5EF4-FFF2-40B4-BE49-F238E27FC236}">
                <a16:creationId xmlns:a16="http://schemas.microsoft.com/office/drawing/2014/main" xmlns="" id="{6BDDA5E1-A93A-4192-A092-D8650B69A7F3}"/>
              </a:ext>
            </a:extLst>
          </p:cNvPr>
          <p:cNvSpPr/>
          <p:nvPr/>
        </p:nvSpPr>
        <p:spPr>
          <a:xfrm rot="1363340">
            <a:off x="7586578" y="2051249"/>
            <a:ext cx="1186490" cy="1205011"/>
          </a:xfrm>
          <a:custGeom>
            <a:avLst/>
            <a:gdLst>
              <a:gd name="connsiteX0" fmla="*/ 1669783 w 3328700"/>
              <a:gd name="connsiteY0" fmla="*/ 0 h 3380659"/>
              <a:gd name="connsiteX1" fmla="*/ 3328700 w 3328700"/>
              <a:gd name="connsiteY1" fmla="*/ 1185230 h 3380659"/>
              <a:gd name="connsiteX2" fmla="*/ 2416872 w 3328700"/>
              <a:gd name="connsiteY2" fmla="*/ 3378978 h 3380659"/>
              <a:gd name="connsiteX3" fmla="*/ 2297921 w 3328700"/>
              <a:gd name="connsiteY3" fmla="*/ 3336751 h 3380659"/>
              <a:gd name="connsiteX4" fmla="*/ 1036334 w 3328700"/>
              <a:gd name="connsiteY4" fmla="*/ 3337495 h 3380659"/>
              <a:gd name="connsiteX5" fmla="*/ 916645 w 3328700"/>
              <a:gd name="connsiteY5" fmla="*/ 3380659 h 3380659"/>
              <a:gd name="connsiteX6" fmla="*/ 0 w 3328700"/>
              <a:gd name="connsiteY6" fmla="*/ 1192992 h 33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0659">
                <a:moveTo>
                  <a:pt x="1669783" y="0"/>
                </a:moveTo>
                <a:lnTo>
                  <a:pt x="3328700" y="1185230"/>
                </a:lnTo>
                <a:lnTo>
                  <a:pt x="2416872" y="3378978"/>
                </a:lnTo>
                <a:lnTo>
                  <a:pt x="2297921" y="3336751"/>
                </a:lnTo>
                <a:cubicBezTo>
                  <a:pt x="1896967" y="3215623"/>
                  <a:pt x="1459228" y="3208820"/>
                  <a:pt x="1036334" y="3337495"/>
                </a:cubicBezTo>
                <a:lnTo>
                  <a:pt x="916645" y="3380659"/>
                </a:lnTo>
                <a:lnTo>
                  <a:pt x="0" y="1192992"/>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61" name="Freeform 75">
            <a:extLst>
              <a:ext uri="{FF2B5EF4-FFF2-40B4-BE49-F238E27FC236}">
                <a16:creationId xmlns:a16="http://schemas.microsoft.com/office/drawing/2014/main" xmlns="" id="{AF01EBD2-D533-4D48-8477-4BBE4ADBBA71}"/>
              </a:ext>
            </a:extLst>
          </p:cNvPr>
          <p:cNvSpPr/>
          <p:nvPr/>
        </p:nvSpPr>
        <p:spPr>
          <a:xfrm rot="1363340">
            <a:off x="8276463" y="2817843"/>
            <a:ext cx="1157963" cy="1159792"/>
          </a:xfrm>
          <a:custGeom>
            <a:avLst/>
            <a:gdLst>
              <a:gd name="connsiteX0" fmla="*/ 913025 w 3248668"/>
              <a:gd name="connsiteY0" fmla="*/ 0 h 3253798"/>
              <a:gd name="connsiteX1" fmla="*/ 2912846 w 3248668"/>
              <a:gd name="connsiteY1" fmla="*/ 333074 h 3253798"/>
              <a:gd name="connsiteX2" fmla="*/ 3248668 w 3248668"/>
              <a:gd name="connsiteY2" fmla="*/ 2349394 h 3253798"/>
              <a:gd name="connsiteX3" fmla="*/ 1050625 w 3248668"/>
              <a:gd name="connsiteY3" fmla="*/ 3253798 h 3253798"/>
              <a:gd name="connsiteX4" fmla="*/ 988555 w 3248668"/>
              <a:gd name="connsiteY4" fmla="*/ 3124324 h 3253798"/>
              <a:gd name="connsiteX5" fmla="*/ 90104 w 3248668"/>
              <a:gd name="connsiteY5" fmla="*/ 2238668 h 3253798"/>
              <a:gd name="connsiteX6" fmla="*/ 0 w 3248668"/>
              <a:gd name="connsiteY6" fmla="*/ 2196630 h 325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8668" h="3253798">
                <a:moveTo>
                  <a:pt x="913025" y="0"/>
                </a:moveTo>
                <a:lnTo>
                  <a:pt x="2912846" y="333074"/>
                </a:lnTo>
                <a:lnTo>
                  <a:pt x="3248668" y="2349394"/>
                </a:lnTo>
                <a:lnTo>
                  <a:pt x="1050625" y="3253798"/>
                </a:lnTo>
                <a:lnTo>
                  <a:pt x="988555" y="3124324"/>
                </a:lnTo>
                <a:cubicBezTo>
                  <a:pt x="777490" y="2735932"/>
                  <a:pt x="460796" y="2433663"/>
                  <a:pt x="90104" y="2238668"/>
                </a:cubicBezTo>
                <a:lnTo>
                  <a:pt x="0" y="219663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62" name="Freeform 63">
            <a:extLst>
              <a:ext uri="{FF2B5EF4-FFF2-40B4-BE49-F238E27FC236}">
                <a16:creationId xmlns:a16="http://schemas.microsoft.com/office/drawing/2014/main" xmlns="" id="{032B0CA7-8A39-458C-BDAC-925E0C0E1384}"/>
              </a:ext>
            </a:extLst>
          </p:cNvPr>
          <p:cNvSpPr/>
          <p:nvPr/>
        </p:nvSpPr>
        <p:spPr>
          <a:xfrm rot="1363340">
            <a:off x="6600954" y="2116401"/>
            <a:ext cx="1155359" cy="1157443"/>
          </a:xfrm>
          <a:custGeom>
            <a:avLst/>
            <a:gdLst>
              <a:gd name="connsiteX0" fmla="*/ 334462 w 3241362"/>
              <a:gd name="connsiteY0" fmla="*/ 330874 h 3247207"/>
              <a:gd name="connsiteX1" fmla="*/ 2321077 w 3241362"/>
              <a:gd name="connsiteY1" fmla="*/ 0 h 3247207"/>
              <a:gd name="connsiteX2" fmla="*/ 3241362 w 3241362"/>
              <a:gd name="connsiteY2" fmla="*/ 2196353 h 3247207"/>
              <a:gd name="connsiteX3" fmla="*/ 3127428 w 3241362"/>
              <a:gd name="connsiteY3" fmla="*/ 2250973 h 3247207"/>
              <a:gd name="connsiteX4" fmla="*/ 2241771 w 3241362"/>
              <a:gd name="connsiteY4" fmla="*/ 3149425 h 3247207"/>
              <a:gd name="connsiteX5" fmla="*/ 2196152 w 3241362"/>
              <a:gd name="connsiteY5" fmla="*/ 3247207 h 3247207"/>
              <a:gd name="connsiteX6" fmla="*/ 0 w 3241362"/>
              <a:gd name="connsiteY6" fmla="*/ 2339029 h 32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1362" h="3247207">
                <a:moveTo>
                  <a:pt x="334462" y="330874"/>
                </a:moveTo>
                <a:lnTo>
                  <a:pt x="2321077" y="0"/>
                </a:lnTo>
                <a:lnTo>
                  <a:pt x="3241362" y="2196353"/>
                </a:lnTo>
                <a:lnTo>
                  <a:pt x="3127428" y="2250973"/>
                </a:lnTo>
                <a:cubicBezTo>
                  <a:pt x="2739036" y="2462038"/>
                  <a:pt x="2436766" y="2778733"/>
                  <a:pt x="2241771" y="3149425"/>
                </a:cubicBezTo>
                <a:lnTo>
                  <a:pt x="2196152" y="3247207"/>
                </a:lnTo>
                <a:lnTo>
                  <a:pt x="0" y="233902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63" name="Freeform 65">
            <a:extLst>
              <a:ext uri="{FF2B5EF4-FFF2-40B4-BE49-F238E27FC236}">
                <a16:creationId xmlns:a16="http://schemas.microsoft.com/office/drawing/2014/main" xmlns="" id="{DF8BD30A-0491-498C-B4DB-97B73F075174}"/>
              </a:ext>
            </a:extLst>
          </p:cNvPr>
          <p:cNvSpPr/>
          <p:nvPr/>
        </p:nvSpPr>
        <p:spPr>
          <a:xfrm rot="1363340">
            <a:off x="5836463" y="2779718"/>
            <a:ext cx="1204314" cy="1175314"/>
          </a:xfrm>
          <a:custGeom>
            <a:avLst/>
            <a:gdLst>
              <a:gd name="connsiteX0" fmla="*/ 1180319 w 3378706"/>
              <a:gd name="connsiteY0" fmla="*/ 0 h 3297346"/>
              <a:gd name="connsiteX1" fmla="*/ 3377856 w 3378706"/>
              <a:gd name="connsiteY1" fmla="*/ 908750 h 3297346"/>
              <a:gd name="connsiteX2" fmla="*/ 3338466 w 3378706"/>
              <a:gd name="connsiteY2" fmla="*/ 1019714 h 3297346"/>
              <a:gd name="connsiteX3" fmla="*/ 3339209 w 3378706"/>
              <a:gd name="connsiteY3" fmla="*/ 2281301 h 3297346"/>
              <a:gd name="connsiteX4" fmla="*/ 3378706 w 3378706"/>
              <a:gd name="connsiteY4" fmla="*/ 2390819 h 3297346"/>
              <a:gd name="connsiteX5" fmla="*/ 1175502 w 3378706"/>
              <a:gd name="connsiteY5" fmla="*/ 3297346 h 3297346"/>
              <a:gd name="connsiteX6" fmla="*/ 0 w 3378706"/>
              <a:gd name="connsiteY6" fmla="*/ 1652044 h 3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8706" h="3297346">
                <a:moveTo>
                  <a:pt x="1180319" y="0"/>
                </a:moveTo>
                <a:lnTo>
                  <a:pt x="3377856" y="908750"/>
                </a:lnTo>
                <a:lnTo>
                  <a:pt x="3338466" y="1019714"/>
                </a:lnTo>
                <a:cubicBezTo>
                  <a:pt x="3217337" y="1420667"/>
                  <a:pt x="3210534" y="1858407"/>
                  <a:pt x="3339209" y="2281301"/>
                </a:cubicBezTo>
                <a:lnTo>
                  <a:pt x="3378706" y="2390819"/>
                </a:lnTo>
                <a:lnTo>
                  <a:pt x="1175502" y="3297346"/>
                </a:lnTo>
                <a:lnTo>
                  <a:pt x="0" y="165204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64" name="Freeform 73">
            <a:extLst>
              <a:ext uri="{FF2B5EF4-FFF2-40B4-BE49-F238E27FC236}">
                <a16:creationId xmlns:a16="http://schemas.microsoft.com/office/drawing/2014/main" xmlns="" id="{C7E216F9-87BD-4F3A-BEB4-8F8D0C2481E0}"/>
              </a:ext>
            </a:extLst>
          </p:cNvPr>
          <p:cNvSpPr/>
          <p:nvPr/>
        </p:nvSpPr>
        <p:spPr>
          <a:xfrm rot="1363340">
            <a:off x="8292351" y="3811003"/>
            <a:ext cx="1205433" cy="1175314"/>
          </a:xfrm>
          <a:custGeom>
            <a:avLst/>
            <a:gdLst>
              <a:gd name="connsiteX0" fmla="*/ 2837 w 3381845"/>
              <a:gd name="connsiteY0" fmla="*/ 906652 h 3297345"/>
              <a:gd name="connsiteX1" fmla="*/ 2206344 w 3381845"/>
              <a:gd name="connsiteY1" fmla="*/ 0 h 3297345"/>
              <a:gd name="connsiteX2" fmla="*/ 3381845 w 3381845"/>
              <a:gd name="connsiteY2" fmla="*/ 1645300 h 3297345"/>
              <a:gd name="connsiteX3" fmla="*/ 2201526 w 3381845"/>
              <a:gd name="connsiteY3" fmla="*/ 3297345 h 3297345"/>
              <a:gd name="connsiteX4" fmla="*/ 0 w 3381845"/>
              <a:gd name="connsiteY4" fmla="*/ 2386946 h 3297345"/>
              <a:gd name="connsiteX5" fmla="*/ 40902 w 3381845"/>
              <a:gd name="connsiteY5" fmla="*/ 2271725 h 3297345"/>
              <a:gd name="connsiteX6" fmla="*/ 40159 w 3381845"/>
              <a:gd name="connsiteY6" fmla="*/ 1010137 h 329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845" h="3297345">
                <a:moveTo>
                  <a:pt x="2837" y="906652"/>
                </a:moveTo>
                <a:lnTo>
                  <a:pt x="2206344" y="0"/>
                </a:lnTo>
                <a:lnTo>
                  <a:pt x="3381845" y="1645300"/>
                </a:lnTo>
                <a:lnTo>
                  <a:pt x="2201526" y="3297345"/>
                </a:lnTo>
                <a:lnTo>
                  <a:pt x="0" y="2386946"/>
                </a:lnTo>
                <a:lnTo>
                  <a:pt x="40902" y="2271725"/>
                </a:lnTo>
                <a:cubicBezTo>
                  <a:pt x="162031" y="1870771"/>
                  <a:pt x="168834" y="1433031"/>
                  <a:pt x="40159" y="101013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65" name="Freeform 67">
            <a:extLst>
              <a:ext uri="{FF2B5EF4-FFF2-40B4-BE49-F238E27FC236}">
                <a16:creationId xmlns:a16="http://schemas.microsoft.com/office/drawing/2014/main" xmlns="" id="{120E5A9F-B811-4326-A88E-F213ACB5BFF9}"/>
              </a:ext>
            </a:extLst>
          </p:cNvPr>
          <p:cNvSpPr/>
          <p:nvPr/>
        </p:nvSpPr>
        <p:spPr>
          <a:xfrm rot="1363340">
            <a:off x="5899763" y="3788690"/>
            <a:ext cx="1158553" cy="1159835"/>
          </a:xfrm>
          <a:custGeom>
            <a:avLst/>
            <a:gdLst>
              <a:gd name="connsiteX0" fmla="*/ 0 w 3250323"/>
              <a:gd name="connsiteY0" fmla="*/ 904525 h 3253919"/>
              <a:gd name="connsiteX1" fmla="*/ 2198339 w 3250323"/>
              <a:gd name="connsiteY1" fmla="*/ 0 h 3253919"/>
              <a:gd name="connsiteX2" fmla="*/ 2257636 w 3250323"/>
              <a:gd name="connsiteY2" fmla="*/ 123689 h 3253919"/>
              <a:gd name="connsiteX3" fmla="*/ 3156088 w 3250323"/>
              <a:gd name="connsiteY3" fmla="*/ 1009346 h 3253919"/>
              <a:gd name="connsiteX4" fmla="*/ 3250323 w 3250323"/>
              <a:gd name="connsiteY4" fmla="*/ 1053310 h 3253919"/>
              <a:gd name="connsiteX5" fmla="*/ 2335643 w 3250323"/>
              <a:gd name="connsiteY5" fmla="*/ 3253919 h 3253919"/>
              <a:gd name="connsiteX6" fmla="*/ 335822 w 3250323"/>
              <a:gd name="connsiteY6" fmla="*/ 2920845 h 32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0323" h="3253919">
                <a:moveTo>
                  <a:pt x="0" y="904525"/>
                </a:moveTo>
                <a:lnTo>
                  <a:pt x="2198339" y="0"/>
                </a:lnTo>
                <a:lnTo>
                  <a:pt x="2257636" y="123689"/>
                </a:lnTo>
                <a:cubicBezTo>
                  <a:pt x="2468702" y="512080"/>
                  <a:pt x="2785396" y="814350"/>
                  <a:pt x="3156088" y="1009346"/>
                </a:cubicBezTo>
                <a:lnTo>
                  <a:pt x="3250323" y="1053310"/>
                </a:lnTo>
                <a:lnTo>
                  <a:pt x="2335643" y="3253919"/>
                </a:lnTo>
                <a:lnTo>
                  <a:pt x="335822" y="292084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66" name="Freeform 71">
            <a:extLst>
              <a:ext uri="{FF2B5EF4-FFF2-40B4-BE49-F238E27FC236}">
                <a16:creationId xmlns:a16="http://schemas.microsoft.com/office/drawing/2014/main" xmlns="" id="{65456EAE-E5EA-403F-A02E-AB67A3638531}"/>
              </a:ext>
            </a:extLst>
          </p:cNvPr>
          <p:cNvSpPr/>
          <p:nvPr/>
        </p:nvSpPr>
        <p:spPr>
          <a:xfrm rot="1363340">
            <a:off x="7577165" y="4491617"/>
            <a:ext cx="1156242" cy="1158089"/>
          </a:xfrm>
          <a:custGeom>
            <a:avLst/>
            <a:gdLst>
              <a:gd name="connsiteX0" fmla="*/ 1043303 w 3243838"/>
              <a:gd name="connsiteY0" fmla="*/ 0 h 3249020"/>
              <a:gd name="connsiteX1" fmla="*/ 3243838 w 3243838"/>
              <a:gd name="connsiteY1" fmla="*/ 909991 h 3249020"/>
              <a:gd name="connsiteX2" fmla="*/ 2909376 w 3243838"/>
              <a:gd name="connsiteY2" fmla="*/ 2918146 h 3249020"/>
              <a:gd name="connsiteX3" fmla="*/ 922760 w 3243838"/>
              <a:gd name="connsiteY3" fmla="*/ 3249020 h 3249020"/>
              <a:gd name="connsiteX4" fmla="*/ 0 w 3243838"/>
              <a:gd name="connsiteY4" fmla="*/ 1046760 h 3249020"/>
              <a:gd name="connsiteX5" fmla="*/ 113936 w 3243838"/>
              <a:gd name="connsiteY5" fmla="*/ 992139 h 3249020"/>
              <a:gd name="connsiteX6" fmla="*/ 999593 w 3243838"/>
              <a:gd name="connsiteY6" fmla="*/ 93687 h 324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3838" h="3249020">
                <a:moveTo>
                  <a:pt x="1043303" y="0"/>
                </a:moveTo>
                <a:lnTo>
                  <a:pt x="3243838" y="909991"/>
                </a:lnTo>
                <a:lnTo>
                  <a:pt x="2909376" y="2918146"/>
                </a:lnTo>
                <a:lnTo>
                  <a:pt x="922760" y="3249020"/>
                </a:lnTo>
                <a:lnTo>
                  <a:pt x="0" y="1046760"/>
                </a:lnTo>
                <a:lnTo>
                  <a:pt x="113936" y="992139"/>
                </a:lnTo>
                <a:cubicBezTo>
                  <a:pt x="502328" y="781074"/>
                  <a:pt x="804598" y="464379"/>
                  <a:pt x="999593" y="9368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67" name="Freeform 69">
            <a:extLst>
              <a:ext uri="{FF2B5EF4-FFF2-40B4-BE49-F238E27FC236}">
                <a16:creationId xmlns:a16="http://schemas.microsoft.com/office/drawing/2014/main" xmlns="" id="{B898853A-AFEC-43EC-9DC2-92C43A3107AB}"/>
              </a:ext>
            </a:extLst>
          </p:cNvPr>
          <p:cNvSpPr/>
          <p:nvPr/>
        </p:nvSpPr>
        <p:spPr>
          <a:xfrm rot="1363340">
            <a:off x="6561541" y="4507969"/>
            <a:ext cx="1186490" cy="1207116"/>
          </a:xfrm>
          <a:custGeom>
            <a:avLst/>
            <a:gdLst>
              <a:gd name="connsiteX0" fmla="*/ 913648 w 3328700"/>
              <a:gd name="connsiteY0" fmla="*/ 3208 h 3386565"/>
              <a:gd name="connsiteX1" fmla="*/ 1028303 w 3328700"/>
              <a:gd name="connsiteY1" fmla="*/ 43909 h 3386565"/>
              <a:gd name="connsiteX2" fmla="*/ 2289890 w 3328700"/>
              <a:gd name="connsiteY2" fmla="*/ 43165 h 3386565"/>
              <a:gd name="connsiteX3" fmla="*/ 2409580 w 3328700"/>
              <a:gd name="connsiteY3" fmla="*/ 0 h 3386565"/>
              <a:gd name="connsiteX4" fmla="*/ 3328700 w 3328700"/>
              <a:gd name="connsiteY4" fmla="*/ 2193574 h 3386565"/>
              <a:gd name="connsiteX5" fmla="*/ 1658918 w 3328700"/>
              <a:gd name="connsiteY5" fmla="*/ 3386565 h 3386565"/>
              <a:gd name="connsiteX6" fmla="*/ 0 w 3328700"/>
              <a:gd name="connsiteY6" fmla="*/ 2201336 h 338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6565">
                <a:moveTo>
                  <a:pt x="913648" y="3208"/>
                </a:moveTo>
                <a:lnTo>
                  <a:pt x="1028303" y="43909"/>
                </a:lnTo>
                <a:cubicBezTo>
                  <a:pt x="1429256" y="165037"/>
                  <a:pt x="1866996" y="171841"/>
                  <a:pt x="2289890" y="43165"/>
                </a:cubicBezTo>
                <a:lnTo>
                  <a:pt x="2409580" y="0"/>
                </a:lnTo>
                <a:lnTo>
                  <a:pt x="3328700" y="2193574"/>
                </a:lnTo>
                <a:lnTo>
                  <a:pt x="1658918" y="3386565"/>
                </a:lnTo>
                <a:lnTo>
                  <a:pt x="0" y="2201336"/>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76" name="Oval 76">
            <a:extLst>
              <a:ext uri="{FF2B5EF4-FFF2-40B4-BE49-F238E27FC236}">
                <a16:creationId xmlns:a16="http://schemas.microsoft.com/office/drawing/2014/main" xmlns="" id="{EA5EE8E4-E9C2-4C21-B8B0-D32B9F7BE0C6}"/>
              </a:ext>
            </a:extLst>
          </p:cNvPr>
          <p:cNvSpPr/>
          <p:nvPr/>
        </p:nvSpPr>
        <p:spPr>
          <a:xfrm>
            <a:off x="6889943" y="3104826"/>
            <a:ext cx="1554316" cy="15543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latin typeface="+mj-lt"/>
            </a:endParaRPr>
          </a:p>
        </p:txBody>
      </p:sp>
      <p:sp>
        <p:nvSpPr>
          <p:cNvPr id="77" name="TextBox 77">
            <a:extLst>
              <a:ext uri="{FF2B5EF4-FFF2-40B4-BE49-F238E27FC236}">
                <a16:creationId xmlns:a16="http://schemas.microsoft.com/office/drawing/2014/main" xmlns="" id="{801D96F8-57D8-438F-8E3A-ECD429C79F2F}"/>
              </a:ext>
            </a:extLst>
          </p:cNvPr>
          <p:cNvSpPr txBox="1"/>
          <p:nvPr/>
        </p:nvSpPr>
        <p:spPr>
          <a:xfrm>
            <a:off x="6384792" y="5858181"/>
            <a:ext cx="1196930" cy="307777"/>
          </a:xfrm>
          <a:prstGeom prst="rect">
            <a:avLst/>
          </a:prstGeom>
          <a:noFill/>
        </p:spPr>
        <p:txBody>
          <a:bodyPr wrap="none" rtlCol="0" anchor="b" anchorCtr="0">
            <a:spAutoFit/>
          </a:bodyPr>
          <a:lstStyle/>
          <a:p>
            <a:pPr algn="r"/>
            <a:r>
              <a:rPr lang="en-GB" sz="1400" b="1" dirty="0">
                <a:solidFill>
                  <a:schemeClr val="tx2"/>
                </a:solidFill>
                <a:latin typeface="+mj-lt"/>
                <a:ea typeface="League Spartan" charset="0"/>
                <a:cs typeface="Poppins" pitchFamily="2" charset="77"/>
              </a:rPr>
              <a:t>External Input</a:t>
            </a:r>
          </a:p>
        </p:txBody>
      </p:sp>
      <p:sp>
        <p:nvSpPr>
          <p:cNvPr id="78" name="Subtitle 2">
            <a:extLst>
              <a:ext uri="{FF2B5EF4-FFF2-40B4-BE49-F238E27FC236}">
                <a16:creationId xmlns:a16="http://schemas.microsoft.com/office/drawing/2014/main" xmlns="" id="{6126F63C-1407-4252-8941-7EAB39EF1683}"/>
              </a:ext>
            </a:extLst>
          </p:cNvPr>
          <p:cNvSpPr txBox="1">
            <a:spLocks/>
          </p:cNvSpPr>
          <p:nvPr/>
        </p:nvSpPr>
        <p:spPr>
          <a:xfrm>
            <a:off x="4583189" y="6085666"/>
            <a:ext cx="2994724" cy="68096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Which offers do we want to make available? How do we see how these offers have been used?</a:t>
            </a:r>
          </a:p>
        </p:txBody>
      </p:sp>
      <p:sp>
        <p:nvSpPr>
          <p:cNvPr id="79" name="TextBox 85">
            <a:extLst>
              <a:ext uri="{FF2B5EF4-FFF2-40B4-BE49-F238E27FC236}">
                <a16:creationId xmlns:a16="http://schemas.microsoft.com/office/drawing/2014/main" xmlns="" id="{B1574C41-7DB5-4DAA-8E1C-1E96CA720619}"/>
              </a:ext>
            </a:extLst>
          </p:cNvPr>
          <p:cNvSpPr txBox="1"/>
          <p:nvPr/>
        </p:nvSpPr>
        <p:spPr>
          <a:xfrm>
            <a:off x="8797125" y="5053072"/>
            <a:ext cx="1167051" cy="307777"/>
          </a:xfrm>
          <a:prstGeom prst="rect">
            <a:avLst/>
          </a:prstGeom>
          <a:noFill/>
        </p:spPr>
        <p:txBody>
          <a:bodyPr wrap="none" rtlCol="0" anchor="b" anchorCtr="0">
            <a:spAutoFit/>
          </a:bodyPr>
          <a:lstStyle/>
          <a:p>
            <a:r>
              <a:rPr lang="en-GB" sz="1400" b="1" dirty="0">
                <a:solidFill>
                  <a:schemeClr val="tx2"/>
                </a:solidFill>
                <a:latin typeface="+mj-lt"/>
                <a:ea typeface="League Spartan" charset="0"/>
                <a:cs typeface="Poppins" pitchFamily="2" charset="77"/>
              </a:rPr>
              <a:t>Internal Input</a:t>
            </a:r>
          </a:p>
        </p:txBody>
      </p:sp>
      <p:sp>
        <p:nvSpPr>
          <p:cNvPr id="80" name="Subtitle 2">
            <a:extLst>
              <a:ext uri="{FF2B5EF4-FFF2-40B4-BE49-F238E27FC236}">
                <a16:creationId xmlns:a16="http://schemas.microsoft.com/office/drawing/2014/main" xmlns="" id="{0D5F2556-C7A7-4134-A94E-C88AE77C8C48}"/>
              </a:ext>
            </a:extLst>
          </p:cNvPr>
          <p:cNvSpPr txBox="1">
            <a:spLocks/>
          </p:cNvSpPr>
          <p:nvPr/>
        </p:nvSpPr>
        <p:spPr>
          <a:xfrm>
            <a:off x="8619875" y="5371252"/>
            <a:ext cx="2994724" cy="68096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What do we want to create in the organization? What shows us whether we have used our resources efficiently?</a:t>
            </a:r>
          </a:p>
        </p:txBody>
      </p:sp>
      <p:sp>
        <p:nvSpPr>
          <p:cNvPr id="81" name="TextBox 79">
            <a:extLst>
              <a:ext uri="{FF2B5EF4-FFF2-40B4-BE49-F238E27FC236}">
                <a16:creationId xmlns:a16="http://schemas.microsoft.com/office/drawing/2014/main" xmlns="" id="{4F56CE7D-6B12-4A0E-BE8A-C84424E75C82}"/>
              </a:ext>
            </a:extLst>
          </p:cNvPr>
          <p:cNvSpPr txBox="1"/>
          <p:nvPr/>
        </p:nvSpPr>
        <p:spPr>
          <a:xfrm>
            <a:off x="5460018" y="1746049"/>
            <a:ext cx="765658" cy="307777"/>
          </a:xfrm>
          <a:prstGeom prst="rect">
            <a:avLst/>
          </a:prstGeom>
          <a:noFill/>
        </p:spPr>
        <p:txBody>
          <a:bodyPr wrap="none" rtlCol="0" anchor="b" anchorCtr="0">
            <a:spAutoFit/>
          </a:bodyPr>
          <a:lstStyle/>
          <a:p>
            <a:pPr algn="r"/>
            <a:r>
              <a:rPr lang="en-GB" sz="1400" b="1" dirty="0">
                <a:solidFill>
                  <a:schemeClr val="tx2"/>
                </a:solidFill>
                <a:latin typeface="+mj-lt"/>
                <a:ea typeface="League Spartan" charset="0"/>
                <a:cs typeface="Poppins" pitchFamily="2" charset="77"/>
              </a:rPr>
              <a:t>Outflow</a:t>
            </a:r>
          </a:p>
        </p:txBody>
      </p:sp>
      <p:sp>
        <p:nvSpPr>
          <p:cNvPr id="82" name="Subtitle 2">
            <a:extLst>
              <a:ext uri="{FF2B5EF4-FFF2-40B4-BE49-F238E27FC236}">
                <a16:creationId xmlns:a16="http://schemas.microsoft.com/office/drawing/2014/main" xmlns="" id="{02832155-942F-4C97-89E5-54133525D27B}"/>
              </a:ext>
            </a:extLst>
          </p:cNvPr>
          <p:cNvSpPr txBox="1">
            <a:spLocks/>
          </p:cNvSpPr>
          <p:nvPr/>
        </p:nvSpPr>
        <p:spPr>
          <a:xfrm>
            <a:off x="4513977" y="1918740"/>
            <a:ext cx="1956642" cy="68096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How do we determine whether the objectives have been achieved?</a:t>
            </a:r>
          </a:p>
        </p:txBody>
      </p:sp>
      <p:sp>
        <p:nvSpPr>
          <p:cNvPr id="83" name="TextBox 87">
            <a:extLst>
              <a:ext uri="{FF2B5EF4-FFF2-40B4-BE49-F238E27FC236}">
                <a16:creationId xmlns:a16="http://schemas.microsoft.com/office/drawing/2014/main" xmlns="" id="{BD4B3174-FB3C-4E98-9862-D158B7A01F15}"/>
              </a:ext>
            </a:extLst>
          </p:cNvPr>
          <p:cNvSpPr txBox="1"/>
          <p:nvPr/>
        </p:nvSpPr>
        <p:spPr>
          <a:xfrm>
            <a:off x="8221718" y="1764756"/>
            <a:ext cx="701154" cy="307777"/>
          </a:xfrm>
          <a:prstGeom prst="rect">
            <a:avLst/>
          </a:prstGeom>
          <a:noFill/>
        </p:spPr>
        <p:txBody>
          <a:bodyPr wrap="none" rtlCol="0" anchor="b" anchorCtr="0">
            <a:spAutoFit/>
          </a:bodyPr>
          <a:lstStyle/>
          <a:p>
            <a:r>
              <a:rPr lang="en-GB" sz="1400" b="1" dirty="0">
                <a:solidFill>
                  <a:schemeClr val="tx2"/>
                </a:solidFill>
                <a:latin typeface="+mj-lt"/>
                <a:ea typeface="League Spartan" charset="0"/>
                <a:cs typeface="Poppins" pitchFamily="2" charset="77"/>
              </a:rPr>
              <a:t>Targets</a:t>
            </a:r>
          </a:p>
        </p:txBody>
      </p:sp>
      <p:sp>
        <p:nvSpPr>
          <p:cNvPr id="84" name="Subtitle 2">
            <a:extLst>
              <a:ext uri="{FF2B5EF4-FFF2-40B4-BE49-F238E27FC236}">
                <a16:creationId xmlns:a16="http://schemas.microsoft.com/office/drawing/2014/main" xmlns="" id="{56D41A71-334F-4EEA-AB20-F99D3A639C29}"/>
              </a:ext>
            </a:extLst>
          </p:cNvPr>
          <p:cNvSpPr txBox="1">
            <a:spLocks/>
          </p:cNvSpPr>
          <p:nvPr/>
        </p:nvSpPr>
        <p:spPr>
          <a:xfrm>
            <a:off x="8667420" y="1958702"/>
            <a:ext cx="1956642" cy="68096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What do we want to achieve? How do we measure success?</a:t>
            </a:r>
          </a:p>
        </p:txBody>
      </p:sp>
      <p:sp>
        <p:nvSpPr>
          <p:cNvPr id="85" name="TextBox 81">
            <a:extLst>
              <a:ext uri="{FF2B5EF4-FFF2-40B4-BE49-F238E27FC236}">
                <a16:creationId xmlns:a16="http://schemas.microsoft.com/office/drawing/2014/main" xmlns="" id="{C59BE297-4A59-4096-B805-D8A5934F9160}"/>
              </a:ext>
            </a:extLst>
          </p:cNvPr>
          <p:cNvSpPr txBox="1"/>
          <p:nvPr/>
        </p:nvSpPr>
        <p:spPr>
          <a:xfrm>
            <a:off x="4530084" y="4493920"/>
            <a:ext cx="1324273" cy="307777"/>
          </a:xfrm>
          <a:prstGeom prst="rect">
            <a:avLst/>
          </a:prstGeom>
          <a:noFill/>
        </p:spPr>
        <p:txBody>
          <a:bodyPr wrap="none" rtlCol="0" anchor="b" anchorCtr="0">
            <a:spAutoFit/>
          </a:bodyPr>
          <a:lstStyle/>
          <a:p>
            <a:pPr algn="r"/>
            <a:r>
              <a:rPr lang="en-GB" sz="1400" b="1" dirty="0">
                <a:solidFill>
                  <a:schemeClr val="tx2"/>
                </a:solidFill>
                <a:latin typeface="+mj-lt"/>
                <a:ea typeface="League Spartan" charset="0"/>
                <a:cs typeface="Poppins" pitchFamily="2" charset="77"/>
              </a:rPr>
              <a:t>Direct Outcome</a:t>
            </a:r>
          </a:p>
        </p:txBody>
      </p:sp>
      <p:sp>
        <p:nvSpPr>
          <p:cNvPr id="86" name="Subtitle 2">
            <a:extLst>
              <a:ext uri="{FF2B5EF4-FFF2-40B4-BE49-F238E27FC236}">
                <a16:creationId xmlns:a16="http://schemas.microsoft.com/office/drawing/2014/main" xmlns="" id="{97DFE127-046C-4071-BA49-A3B5CC016FD7}"/>
              </a:ext>
            </a:extLst>
          </p:cNvPr>
          <p:cNvSpPr txBox="1">
            <a:spLocks/>
          </p:cNvSpPr>
          <p:nvPr/>
        </p:nvSpPr>
        <p:spPr>
          <a:xfrm>
            <a:off x="3643544" y="4765245"/>
            <a:ext cx="2582132" cy="72405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Which perception do we strive for?</a:t>
            </a:r>
          </a:p>
          <a:p>
            <a:pPr algn="r">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How do we recognize whether this change has taken place?</a:t>
            </a:r>
          </a:p>
        </p:txBody>
      </p:sp>
      <p:sp>
        <p:nvSpPr>
          <p:cNvPr id="87" name="TextBox 89">
            <a:extLst>
              <a:ext uri="{FF2B5EF4-FFF2-40B4-BE49-F238E27FC236}">
                <a16:creationId xmlns:a16="http://schemas.microsoft.com/office/drawing/2014/main" xmlns="" id="{85F80962-17EE-4FAD-B21A-CE8CC30893C6}"/>
              </a:ext>
            </a:extLst>
          </p:cNvPr>
          <p:cNvSpPr txBox="1"/>
          <p:nvPr/>
        </p:nvSpPr>
        <p:spPr>
          <a:xfrm>
            <a:off x="9471463" y="3960199"/>
            <a:ext cx="566181" cy="307777"/>
          </a:xfrm>
          <a:prstGeom prst="rect">
            <a:avLst/>
          </a:prstGeom>
          <a:noFill/>
        </p:spPr>
        <p:txBody>
          <a:bodyPr wrap="none" rtlCol="0" anchor="b" anchorCtr="0">
            <a:spAutoFit/>
          </a:bodyPr>
          <a:lstStyle/>
          <a:p>
            <a:r>
              <a:rPr lang="en-GB" sz="1400" b="1" dirty="0">
                <a:solidFill>
                  <a:schemeClr val="tx2"/>
                </a:solidFill>
                <a:latin typeface="+mj-lt"/>
                <a:ea typeface="League Spartan" charset="0"/>
                <a:cs typeface="Poppins" pitchFamily="2" charset="77"/>
              </a:rPr>
              <a:t>Input</a:t>
            </a:r>
          </a:p>
        </p:txBody>
      </p:sp>
      <p:sp>
        <p:nvSpPr>
          <p:cNvPr id="88" name="Subtitle 2">
            <a:extLst>
              <a:ext uri="{FF2B5EF4-FFF2-40B4-BE49-F238E27FC236}">
                <a16:creationId xmlns:a16="http://schemas.microsoft.com/office/drawing/2014/main" xmlns="" id="{2CA8EE23-D662-486D-8FA6-1BEDC90CF1DC}"/>
              </a:ext>
            </a:extLst>
          </p:cNvPr>
          <p:cNvSpPr txBox="1">
            <a:spLocks/>
          </p:cNvSpPr>
          <p:nvPr/>
        </p:nvSpPr>
        <p:spPr>
          <a:xfrm>
            <a:off x="9503653" y="4218587"/>
            <a:ext cx="2671419" cy="68096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What are our personnel and financial requirements? What do we want to use these resources for?</a:t>
            </a:r>
          </a:p>
        </p:txBody>
      </p:sp>
      <p:sp>
        <p:nvSpPr>
          <p:cNvPr id="89" name="TextBox 83">
            <a:extLst>
              <a:ext uri="{FF2B5EF4-FFF2-40B4-BE49-F238E27FC236}">
                <a16:creationId xmlns:a16="http://schemas.microsoft.com/office/drawing/2014/main" xmlns="" id="{4D8AC17F-16A3-4DC2-B780-0BE5FE94B359}"/>
              </a:ext>
            </a:extLst>
          </p:cNvPr>
          <p:cNvSpPr txBox="1"/>
          <p:nvPr/>
        </p:nvSpPr>
        <p:spPr>
          <a:xfrm>
            <a:off x="4111300" y="2749475"/>
            <a:ext cx="1444498" cy="307777"/>
          </a:xfrm>
          <a:prstGeom prst="rect">
            <a:avLst/>
          </a:prstGeom>
          <a:noFill/>
        </p:spPr>
        <p:txBody>
          <a:bodyPr wrap="none" rtlCol="0" anchor="b" anchorCtr="0">
            <a:spAutoFit/>
          </a:bodyPr>
          <a:lstStyle/>
          <a:p>
            <a:pPr algn="r"/>
            <a:r>
              <a:rPr lang="en-GB" sz="1400" b="1" dirty="0">
                <a:solidFill>
                  <a:schemeClr val="tx2"/>
                </a:solidFill>
                <a:latin typeface="+mj-lt"/>
                <a:ea typeface="League Spartan" charset="0"/>
                <a:cs typeface="Poppins" pitchFamily="2" charset="77"/>
              </a:rPr>
              <a:t>Indirect Outcome</a:t>
            </a:r>
          </a:p>
        </p:txBody>
      </p:sp>
      <p:sp>
        <p:nvSpPr>
          <p:cNvPr id="90" name="Subtitle 2">
            <a:extLst>
              <a:ext uri="{FF2B5EF4-FFF2-40B4-BE49-F238E27FC236}">
                <a16:creationId xmlns:a16="http://schemas.microsoft.com/office/drawing/2014/main" xmlns="" id="{37EFF054-3F62-4853-93AF-3455BA12BEE6}"/>
              </a:ext>
            </a:extLst>
          </p:cNvPr>
          <p:cNvSpPr txBox="1">
            <a:spLocks/>
          </p:cNvSpPr>
          <p:nvPr/>
        </p:nvSpPr>
        <p:spPr>
          <a:xfrm>
            <a:off x="3587421" y="2990886"/>
            <a:ext cx="2146290" cy="111185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What kind of behaviour/attitudes do we strive for? How do we determine whether we have come closer to these goals?</a:t>
            </a:r>
          </a:p>
        </p:txBody>
      </p:sp>
      <p:sp>
        <p:nvSpPr>
          <p:cNvPr id="91" name="TextBox 91">
            <a:extLst>
              <a:ext uri="{FF2B5EF4-FFF2-40B4-BE49-F238E27FC236}">
                <a16:creationId xmlns:a16="http://schemas.microsoft.com/office/drawing/2014/main" xmlns="" id="{F427BAC5-63C1-4F2A-BCEE-22BFE06525BD}"/>
              </a:ext>
            </a:extLst>
          </p:cNvPr>
          <p:cNvSpPr txBox="1"/>
          <p:nvPr/>
        </p:nvSpPr>
        <p:spPr>
          <a:xfrm>
            <a:off x="9430708" y="2794492"/>
            <a:ext cx="1083502" cy="307777"/>
          </a:xfrm>
          <a:prstGeom prst="rect">
            <a:avLst/>
          </a:prstGeom>
          <a:noFill/>
        </p:spPr>
        <p:txBody>
          <a:bodyPr wrap="none" rtlCol="0" anchor="b" anchorCtr="0">
            <a:spAutoFit/>
          </a:bodyPr>
          <a:lstStyle/>
          <a:p>
            <a:r>
              <a:rPr lang="en-GB" sz="1400" b="1" dirty="0">
                <a:solidFill>
                  <a:schemeClr val="tx2"/>
                </a:solidFill>
                <a:latin typeface="+mj-lt"/>
                <a:ea typeface="League Spartan" charset="0"/>
                <a:cs typeface="Poppins" pitchFamily="2" charset="77"/>
              </a:rPr>
              <a:t>Sub-Projects</a:t>
            </a:r>
          </a:p>
        </p:txBody>
      </p:sp>
      <p:sp>
        <p:nvSpPr>
          <p:cNvPr id="92" name="Subtitle 2">
            <a:extLst>
              <a:ext uri="{FF2B5EF4-FFF2-40B4-BE49-F238E27FC236}">
                <a16:creationId xmlns:a16="http://schemas.microsoft.com/office/drawing/2014/main" xmlns="" id="{8599FDD3-7F7D-4346-86CA-05FDF2717016}"/>
              </a:ext>
            </a:extLst>
          </p:cNvPr>
          <p:cNvSpPr txBox="1">
            <a:spLocks/>
          </p:cNvSpPr>
          <p:nvPr/>
        </p:nvSpPr>
        <p:spPr>
          <a:xfrm>
            <a:off x="9433509" y="2980923"/>
            <a:ext cx="2548694" cy="68096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chemeClr val="tx1"/>
                </a:solidFill>
                <a:latin typeface="+mj-lt"/>
                <a:ea typeface="Lato Light" panose="020F0502020204030203" pitchFamily="34" charset="0"/>
                <a:cs typeface="Mukta ExtraLight" panose="020B0000000000000000" pitchFamily="34" charset="77"/>
              </a:rPr>
              <a:t>What milestones are we setting? How do we know if we are on the right track?</a:t>
            </a:r>
          </a:p>
        </p:txBody>
      </p:sp>
      <p:sp>
        <p:nvSpPr>
          <p:cNvPr id="4" name="Gleichschenkliges Dreieck 3">
            <a:extLst>
              <a:ext uri="{FF2B5EF4-FFF2-40B4-BE49-F238E27FC236}">
                <a16:creationId xmlns:a16="http://schemas.microsoft.com/office/drawing/2014/main" xmlns="" id="{4A89FBAD-A732-4DD4-B362-3FEDB9A075D4}"/>
              </a:ext>
            </a:extLst>
          </p:cNvPr>
          <p:cNvSpPr/>
          <p:nvPr/>
        </p:nvSpPr>
        <p:spPr>
          <a:xfrm rot="2710436">
            <a:off x="6617579" y="2814364"/>
            <a:ext cx="544727" cy="286866"/>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3" name="Gleichschenkliges Dreieck 92">
            <a:extLst>
              <a:ext uri="{FF2B5EF4-FFF2-40B4-BE49-F238E27FC236}">
                <a16:creationId xmlns:a16="http://schemas.microsoft.com/office/drawing/2014/main" xmlns="" id="{CCBBF23E-1A05-442A-937F-605B8CE6A0EA}"/>
              </a:ext>
            </a:extLst>
          </p:cNvPr>
          <p:cNvSpPr/>
          <p:nvPr/>
        </p:nvSpPr>
        <p:spPr>
          <a:xfrm rot="5400000">
            <a:off x="7496463" y="2505268"/>
            <a:ext cx="544727" cy="286866"/>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4" name="Gleichschenkliges Dreieck 93">
            <a:extLst>
              <a:ext uri="{FF2B5EF4-FFF2-40B4-BE49-F238E27FC236}">
                <a16:creationId xmlns:a16="http://schemas.microsoft.com/office/drawing/2014/main" xmlns="" id="{607E1190-74AA-4F76-B1DC-954A67AABC40}"/>
              </a:ext>
            </a:extLst>
          </p:cNvPr>
          <p:cNvSpPr/>
          <p:nvPr/>
        </p:nvSpPr>
        <p:spPr>
          <a:xfrm rot="8087739">
            <a:off x="8334281" y="2961392"/>
            <a:ext cx="544727" cy="286867"/>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5" name="Gleichschenkliges Dreieck 94">
            <a:extLst>
              <a:ext uri="{FF2B5EF4-FFF2-40B4-BE49-F238E27FC236}">
                <a16:creationId xmlns:a16="http://schemas.microsoft.com/office/drawing/2014/main" xmlns="" id="{C87DD8D4-0930-4C24-B58D-5F3488FABBE8}"/>
              </a:ext>
            </a:extLst>
          </p:cNvPr>
          <p:cNvSpPr/>
          <p:nvPr/>
        </p:nvSpPr>
        <p:spPr>
          <a:xfrm rot="10800000">
            <a:off x="8606644" y="3848674"/>
            <a:ext cx="544727" cy="286867"/>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6" name="Gleichschenkliges Dreieck 95">
            <a:extLst>
              <a:ext uri="{FF2B5EF4-FFF2-40B4-BE49-F238E27FC236}">
                <a16:creationId xmlns:a16="http://schemas.microsoft.com/office/drawing/2014/main" xmlns="" id="{B786D9A4-8BFD-4964-959F-7467184793D9}"/>
              </a:ext>
            </a:extLst>
          </p:cNvPr>
          <p:cNvSpPr/>
          <p:nvPr/>
        </p:nvSpPr>
        <p:spPr>
          <a:xfrm rot="13537568">
            <a:off x="8165851" y="4663977"/>
            <a:ext cx="544727" cy="286867"/>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7" name="Gleichschenkliges Dreieck 96">
            <a:extLst>
              <a:ext uri="{FF2B5EF4-FFF2-40B4-BE49-F238E27FC236}">
                <a16:creationId xmlns:a16="http://schemas.microsoft.com/office/drawing/2014/main" xmlns="" id="{0C2AD5D0-A5F4-4F77-9898-53B3B1DA33C3}"/>
              </a:ext>
            </a:extLst>
          </p:cNvPr>
          <p:cNvSpPr/>
          <p:nvPr/>
        </p:nvSpPr>
        <p:spPr>
          <a:xfrm rot="16200000">
            <a:off x="7290754" y="4945052"/>
            <a:ext cx="544727" cy="286867"/>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8" name="Gleichschenkliges Dreieck 97">
            <a:extLst>
              <a:ext uri="{FF2B5EF4-FFF2-40B4-BE49-F238E27FC236}">
                <a16:creationId xmlns:a16="http://schemas.microsoft.com/office/drawing/2014/main" xmlns="" id="{56409426-3C69-4ED1-A78E-6193B1C20BED}"/>
              </a:ext>
            </a:extLst>
          </p:cNvPr>
          <p:cNvSpPr/>
          <p:nvPr/>
        </p:nvSpPr>
        <p:spPr>
          <a:xfrm rot="18901129">
            <a:off x="6442966" y="4519157"/>
            <a:ext cx="544727" cy="286867"/>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
        <p:nvSpPr>
          <p:cNvPr id="99" name="Gleichschenkliges Dreieck 98">
            <a:extLst>
              <a:ext uri="{FF2B5EF4-FFF2-40B4-BE49-F238E27FC236}">
                <a16:creationId xmlns:a16="http://schemas.microsoft.com/office/drawing/2014/main" xmlns="" id="{87CB8A62-178F-4472-9953-205AF4D39FD1}"/>
              </a:ext>
            </a:extLst>
          </p:cNvPr>
          <p:cNvSpPr/>
          <p:nvPr/>
        </p:nvSpPr>
        <p:spPr>
          <a:xfrm>
            <a:off x="6198348" y="3635708"/>
            <a:ext cx="544727" cy="286867"/>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p>
        </p:txBody>
      </p:sp>
    </p:spTree>
    <p:extLst>
      <p:ext uri="{BB962C8B-B14F-4D97-AF65-F5344CB8AC3E}">
        <p14:creationId xmlns:p14="http://schemas.microsoft.com/office/powerpoint/2010/main" val="52427588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040296" y="524626"/>
            <a:ext cx="8852375" cy="697353"/>
          </a:xfrm>
        </p:spPr>
        <p:txBody>
          <a:bodyPr>
            <a:normAutofit/>
          </a:bodyPr>
          <a:lstStyle/>
          <a:p>
            <a:r>
              <a:rPr lang="en-GB" dirty="0"/>
              <a:t>Motivation in Crisis: The Role of Controlling</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97449" y="1898115"/>
            <a:ext cx="4213294" cy="541114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Motivated employees put in their maximum effort for achieving organizational goals. Motivation improves the work performance by bridging the gap between the ability and willingness to work. Better performance results in higher productivity and consequently lower cost of production.</a:t>
            </a:r>
          </a:p>
          <a:p>
            <a:pPr algn="l">
              <a:lnSpc>
                <a:spcPct val="100000"/>
              </a:lnSpc>
              <a:spcBef>
                <a:spcPts val="600"/>
              </a:spcBef>
            </a:pPr>
            <a:r>
              <a:rPr lang="en-GB" altLang="de-DE" sz="2000" dirty="0">
                <a:solidFill>
                  <a:srgbClr val="245473"/>
                </a:solidFill>
                <a:latin typeface="+mj-lt"/>
              </a:rPr>
              <a:t>Especially during crisis, Controlling plays an important role. It provides structure and allows to explain the necessity of decisions.</a:t>
            </a:r>
          </a:p>
          <a:p>
            <a:pPr marL="285750" indent="-285750" algn="l">
              <a:lnSpc>
                <a:spcPct val="100000"/>
              </a:lnSpc>
              <a:spcBef>
                <a:spcPts val="600"/>
              </a:spcBef>
              <a:buFont typeface="Wingdings" panose="05000000000000000000" pitchFamily="2" charset="2"/>
              <a:buChar char="à"/>
            </a:pPr>
            <a:r>
              <a:rPr lang="en-GB" altLang="de-DE" sz="2000" dirty="0">
                <a:solidFill>
                  <a:srgbClr val="245473"/>
                </a:solidFill>
                <a:latin typeface="+mj-lt"/>
                <a:sym typeface="Wingdings" panose="05000000000000000000" pitchFamily="2" charset="2"/>
              </a:rPr>
              <a:t>Controlling helps to communicate during crisis and thus to motive</a:t>
            </a:r>
          </a:p>
          <a:p>
            <a:pPr algn="l">
              <a:lnSpc>
                <a:spcPts val="1500"/>
              </a:lnSpc>
              <a:spcBef>
                <a:spcPts val="600"/>
              </a:spcBef>
            </a:pPr>
            <a:endParaRPr lang="en-GB" altLang="de-DE" sz="2000" dirty="0">
              <a:latin typeface="+mj-lt"/>
            </a:endParaRPr>
          </a:p>
          <a:p>
            <a:pPr algn="l">
              <a:lnSpc>
                <a:spcPts val="1500"/>
              </a:lnSpc>
              <a:spcBef>
                <a:spcPts val="600"/>
              </a:spcBef>
            </a:pPr>
            <a:endParaRPr lang="en-GB" sz="2000" dirty="0">
              <a:latin typeface="+mj-lt"/>
              <a:sym typeface="Wingdings" panose="05000000000000000000" pitchFamily="2" charset="2"/>
            </a:endParaRPr>
          </a:p>
        </p:txBody>
      </p:sp>
      <p:sp>
        <p:nvSpPr>
          <p:cNvPr id="39" name="Freeform 34">
            <a:extLst>
              <a:ext uri="{FF2B5EF4-FFF2-40B4-BE49-F238E27FC236}">
                <a16:creationId xmlns:a16="http://schemas.microsoft.com/office/drawing/2014/main" xmlns="" id="{7A4AC857-63E2-46D8-8C76-44B9AD16D75A}"/>
              </a:ext>
            </a:extLst>
          </p:cNvPr>
          <p:cNvSpPr/>
          <p:nvPr/>
        </p:nvSpPr>
        <p:spPr>
          <a:xfrm>
            <a:off x="6349008" y="2362901"/>
            <a:ext cx="2783922" cy="1588283"/>
          </a:xfrm>
          <a:custGeom>
            <a:avLst/>
            <a:gdLst>
              <a:gd name="connsiteX0" fmla="*/ 4554247 w 7421858"/>
              <a:gd name="connsiteY0" fmla="*/ 0 h 4234318"/>
              <a:gd name="connsiteX1" fmla="*/ 6735047 w 7421858"/>
              <a:gd name="connsiteY1" fmla="*/ 552199 h 4234318"/>
              <a:gd name="connsiteX2" fmla="*/ 6749999 w 7421858"/>
              <a:gd name="connsiteY2" fmla="*/ 560796 h 4234318"/>
              <a:gd name="connsiteX3" fmla="*/ 7020479 w 7421858"/>
              <a:gd name="connsiteY3" fmla="*/ 92310 h 4234318"/>
              <a:gd name="connsiteX4" fmla="*/ 7421858 w 7421858"/>
              <a:gd name="connsiteY4" fmla="*/ 2679530 h 4234318"/>
              <a:gd name="connsiteX5" fmla="*/ 4980571 w 7421858"/>
              <a:gd name="connsiteY5" fmla="*/ 3625535 h 4234318"/>
              <a:gd name="connsiteX6" fmla="*/ 5283100 w 7421858"/>
              <a:gd name="connsiteY6" fmla="*/ 3101540 h 4234318"/>
              <a:gd name="connsiteX7" fmla="*/ 5194752 w 7421858"/>
              <a:gd name="connsiteY7" fmla="*/ 3058980 h 4234318"/>
              <a:gd name="connsiteX8" fmla="*/ 4554247 w 7421858"/>
              <a:gd name="connsiteY8" fmla="*/ 2929668 h 4234318"/>
              <a:gd name="connsiteX9" fmla="*/ 2976825 w 7421858"/>
              <a:gd name="connsiteY9" fmla="*/ 4105225 h 4234318"/>
              <a:gd name="connsiteX10" fmla="*/ 2944914 w 7421858"/>
              <a:gd name="connsiteY10" fmla="*/ 4234318 h 4234318"/>
              <a:gd name="connsiteX11" fmla="*/ 1444712 w 7421858"/>
              <a:gd name="connsiteY11" fmla="*/ 3027326 h 4234318"/>
              <a:gd name="connsiteX12" fmla="*/ 0 w 7421858"/>
              <a:gd name="connsiteY12" fmla="*/ 4189673 h 4234318"/>
              <a:gd name="connsiteX13" fmla="*/ 29641 w 7421858"/>
              <a:gd name="connsiteY13" fmla="*/ 3892627 h 4234318"/>
              <a:gd name="connsiteX14" fmla="*/ 4554247 w 7421858"/>
              <a:gd name="connsiteY14" fmla="*/ 0 h 423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21858" h="4234318">
                <a:moveTo>
                  <a:pt x="4554247" y="0"/>
                </a:moveTo>
                <a:cubicBezTo>
                  <a:pt x="5343872" y="0"/>
                  <a:pt x="6086775" y="200037"/>
                  <a:pt x="6735047" y="552199"/>
                </a:cubicBezTo>
                <a:lnTo>
                  <a:pt x="6749999" y="560796"/>
                </a:lnTo>
                <a:lnTo>
                  <a:pt x="7020479" y="92310"/>
                </a:lnTo>
                <a:lnTo>
                  <a:pt x="7421858" y="2679530"/>
                </a:lnTo>
                <a:lnTo>
                  <a:pt x="4980571" y="3625535"/>
                </a:lnTo>
                <a:lnTo>
                  <a:pt x="5283100" y="3101540"/>
                </a:lnTo>
                <a:lnTo>
                  <a:pt x="5194752" y="3058980"/>
                </a:lnTo>
                <a:cubicBezTo>
                  <a:pt x="4997887" y="2975713"/>
                  <a:pt x="4781444" y="2929668"/>
                  <a:pt x="4554247" y="2929668"/>
                </a:cubicBezTo>
                <a:cubicBezTo>
                  <a:pt x="3808757" y="2929668"/>
                  <a:pt x="3179054" y="3425416"/>
                  <a:pt x="2976825" y="4105225"/>
                </a:cubicBezTo>
                <a:lnTo>
                  <a:pt x="2944914" y="4234318"/>
                </a:lnTo>
                <a:lnTo>
                  <a:pt x="1444712" y="3027326"/>
                </a:lnTo>
                <a:lnTo>
                  <a:pt x="0" y="4189673"/>
                </a:lnTo>
                <a:lnTo>
                  <a:pt x="29641" y="3892627"/>
                </a:lnTo>
                <a:cubicBezTo>
                  <a:pt x="359173" y="1689568"/>
                  <a:pt x="2259400" y="0"/>
                  <a:pt x="455424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40" name="Freeform 36">
            <a:extLst>
              <a:ext uri="{FF2B5EF4-FFF2-40B4-BE49-F238E27FC236}">
                <a16:creationId xmlns:a16="http://schemas.microsoft.com/office/drawing/2014/main" xmlns="" id="{65F23160-AD5C-4784-9EE7-13D6801DAE10}"/>
              </a:ext>
            </a:extLst>
          </p:cNvPr>
          <p:cNvSpPr/>
          <p:nvPr/>
        </p:nvSpPr>
        <p:spPr>
          <a:xfrm>
            <a:off x="8137076" y="2660923"/>
            <a:ext cx="1636358" cy="3054156"/>
          </a:xfrm>
          <a:custGeom>
            <a:avLst/>
            <a:gdLst>
              <a:gd name="connsiteX0" fmla="*/ 2362483 w 4362485"/>
              <a:gd name="connsiteY0" fmla="*/ 0 h 8142296"/>
              <a:gd name="connsiteX1" fmla="*/ 2402074 w 4362485"/>
              <a:gd name="connsiteY1" fmla="*/ 25803 h 8142296"/>
              <a:gd name="connsiteX2" fmla="*/ 4362485 w 4362485"/>
              <a:gd name="connsiteY2" fmla="*/ 3780653 h 8142296"/>
              <a:gd name="connsiteX3" fmla="*/ 2402074 w 4362485"/>
              <a:gd name="connsiteY3" fmla="*/ 7535503 h 8142296"/>
              <a:gd name="connsiteX4" fmla="*/ 2176016 w 4362485"/>
              <a:gd name="connsiteY4" fmla="*/ 7682833 h 8142296"/>
              <a:gd name="connsiteX5" fmla="*/ 2441287 w 4362485"/>
              <a:gd name="connsiteY5" fmla="*/ 8142296 h 8142296"/>
              <a:gd name="connsiteX6" fmla="*/ 0 w 4362485"/>
              <a:gd name="connsiteY6" fmla="*/ 7196290 h 8142296"/>
              <a:gd name="connsiteX7" fmla="*/ 401379 w 4362485"/>
              <a:gd name="connsiteY7" fmla="*/ 4609071 h 8142296"/>
              <a:gd name="connsiteX8" fmla="*/ 709786 w 4362485"/>
              <a:gd name="connsiteY8" fmla="*/ 5143248 h 8142296"/>
              <a:gd name="connsiteX9" fmla="*/ 864172 w 4362485"/>
              <a:gd name="connsiteY9" fmla="*/ 5024899 h 8142296"/>
              <a:gd name="connsiteX10" fmla="*/ 1432817 w 4362485"/>
              <a:gd name="connsiteY10" fmla="*/ 3780653 h 8142296"/>
              <a:gd name="connsiteX11" fmla="*/ 1005344 w 4362485"/>
              <a:gd name="connsiteY11" fmla="*/ 2674252 h 8142296"/>
              <a:gd name="connsiteX12" fmla="*/ 895346 w 4362485"/>
              <a:gd name="connsiteY12" fmla="*/ 2566847 h 8142296"/>
              <a:gd name="connsiteX13" fmla="*/ 2654921 w 4362485"/>
              <a:gd name="connsiteY13" fmla="*/ 1885007 h 814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62485" h="8142296">
                <a:moveTo>
                  <a:pt x="2362483" y="0"/>
                </a:moveTo>
                <a:lnTo>
                  <a:pt x="2402074" y="25803"/>
                </a:lnTo>
                <a:cubicBezTo>
                  <a:pt x="3587147" y="852596"/>
                  <a:pt x="4362485" y="2226080"/>
                  <a:pt x="4362485" y="3780653"/>
                </a:cubicBezTo>
                <a:cubicBezTo>
                  <a:pt x="4362485" y="5335227"/>
                  <a:pt x="3587147" y="6708711"/>
                  <a:pt x="2402074" y="7535503"/>
                </a:cubicBezTo>
                <a:lnTo>
                  <a:pt x="2176016" y="7682833"/>
                </a:lnTo>
                <a:lnTo>
                  <a:pt x="2441287" y="8142296"/>
                </a:lnTo>
                <a:lnTo>
                  <a:pt x="0" y="7196290"/>
                </a:lnTo>
                <a:lnTo>
                  <a:pt x="401379" y="4609071"/>
                </a:lnTo>
                <a:lnTo>
                  <a:pt x="709786" y="5143248"/>
                </a:lnTo>
                <a:lnTo>
                  <a:pt x="864172" y="5024899"/>
                </a:lnTo>
                <a:cubicBezTo>
                  <a:pt x="1212485" y="4723179"/>
                  <a:pt x="1432817" y="4277647"/>
                  <a:pt x="1432817" y="3780653"/>
                </a:cubicBezTo>
                <a:cubicBezTo>
                  <a:pt x="1432817" y="3354659"/>
                  <a:pt x="1270940" y="2966473"/>
                  <a:pt x="1005344" y="2674252"/>
                </a:cubicBezTo>
                <a:lnTo>
                  <a:pt x="895346" y="2566847"/>
                </a:lnTo>
                <a:lnTo>
                  <a:pt x="2654921" y="188500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41" name="Freeform 35">
            <a:extLst>
              <a:ext uri="{FF2B5EF4-FFF2-40B4-BE49-F238E27FC236}">
                <a16:creationId xmlns:a16="http://schemas.microsoft.com/office/drawing/2014/main" xmlns="" id="{ADF1E005-EB03-4FDF-8141-238E66609F31}"/>
              </a:ext>
            </a:extLst>
          </p:cNvPr>
          <p:cNvSpPr/>
          <p:nvPr/>
        </p:nvSpPr>
        <p:spPr>
          <a:xfrm>
            <a:off x="6125752" y="3498443"/>
            <a:ext cx="2684248" cy="2296732"/>
          </a:xfrm>
          <a:custGeom>
            <a:avLst/>
            <a:gdLst>
              <a:gd name="connsiteX0" fmla="*/ 2039909 w 7156130"/>
              <a:gd name="connsiteY0" fmla="*/ 0 h 6123024"/>
              <a:gd name="connsiteX1" fmla="*/ 4079817 w 7156130"/>
              <a:gd name="connsiteY1" fmla="*/ 1641214 h 6123024"/>
              <a:gd name="connsiteX2" fmla="*/ 3508652 w 7156130"/>
              <a:gd name="connsiteY2" fmla="*/ 1641214 h 6123024"/>
              <a:gd name="connsiteX3" fmla="*/ 3512433 w 7156130"/>
              <a:gd name="connsiteY3" fmla="*/ 1716092 h 6123024"/>
              <a:gd name="connsiteX4" fmla="*/ 5149444 w 7156130"/>
              <a:gd name="connsiteY4" fmla="*/ 3193356 h 6123024"/>
              <a:gd name="connsiteX5" fmla="*/ 5638767 w 7156130"/>
              <a:gd name="connsiteY5" fmla="*/ 3119377 h 6123024"/>
              <a:gd name="connsiteX6" fmla="*/ 5648797 w 7156130"/>
              <a:gd name="connsiteY6" fmla="*/ 3115706 h 6123024"/>
              <a:gd name="connsiteX7" fmla="*/ 5362134 w 7156130"/>
              <a:gd name="connsiteY7" fmla="*/ 4963487 h 6123024"/>
              <a:gd name="connsiteX8" fmla="*/ 7156130 w 7156130"/>
              <a:gd name="connsiteY8" fmla="*/ 5658666 h 6123024"/>
              <a:gd name="connsiteX9" fmla="*/ 7082800 w 7156130"/>
              <a:gd name="connsiteY9" fmla="*/ 5695661 h 6123024"/>
              <a:gd name="connsiteX10" fmla="*/ 5149444 w 7156130"/>
              <a:gd name="connsiteY10" fmla="*/ 6123024 h 6123024"/>
              <a:gd name="connsiteX11" fmla="*/ 580222 w 7156130"/>
              <a:gd name="connsiteY11" fmla="*/ 1783287 h 6123024"/>
              <a:gd name="connsiteX12" fmla="*/ 576630 w 7156130"/>
              <a:gd name="connsiteY12" fmla="*/ 1641214 h 6123024"/>
              <a:gd name="connsiteX13" fmla="*/ 0 w 7156130"/>
              <a:gd name="connsiteY13" fmla="*/ 1641214 h 612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56130" h="6123024">
                <a:moveTo>
                  <a:pt x="2039909" y="0"/>
                </a:moveTo>
                <a:lnTo>
                  <a:pt x="4079817" y="1641214"/>
                </a:lnTo>
                <a:lnTo>
                  <a:pt x="3508652" y="1641214"/>
                </a:lnTo>
                <a:lnTo>
                  <a:pt x="3512433" y="1716092"/>
                </a:lnTo>
                <a:cubicBezTo>
                  <a:pt x="3596699" y="2545849"/>
                  <a:pt x="4297455" y="3193356"/>
                  <a:pt x="5149444" y="3193356"/>
                </a:cubicBezTo>
                <a:cubicBezTo>
                  <a:pt x="5319842" y="3193356"/>
                  <a:pt x="5484190" y="3167456"/>
                  <a:pt x="5638767" y="3119377"/>
                </a:cubicBezTo>
                <a:lnTo>
                  <a:pt x="5648797" y="3115706"/>
                </a:lnTo>
                <a:lnTo>
                  <a:pt x="5362134" y="4963487"/>
                </a:lnTo>
                <a:lnTo>
                  <a:pt x="7156130" y="5658666"/>
                </a:lnTo>
                <a:lnTo>
                  <a:pt x="7082800" y="5695661"/>
                </a:lnTo>
                <a:cubicBezTo>
                  <a:pt x="6495516" y="5969871"/>
                  <a:pt x="5840366" y="6123024"/>
                  <a:pt x="5149444" y="6123024"/>
                </a:cubicBezTo>
                <a:cubicBezTo>
                  <a:pt x="2701607" y="6123024"/>
                  <a:pt x="702760" y="4200671"/>
                  <a:pt x="580222" y="1783287"/>
                </a:cubicBezTo>
                <a:lnTo>
                  <a:pt x="576630" y="1641214"/>
                </a:lnTo>
                <a:lnTo>
                  <a:pt x="0" y="164121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567" dirty="0">
              <a:solidFill>
                <a:schemeClr val="tx1"/>
              </a:solidFill>
            </a:endParaRPr>
          </a:p>
        </p:txBody>
      </p:sp>
      <p:sp>
        <p:nvSpPr>
          <p:cNvPr id="48" name="TextBox 44">
            <a:extLst>
              <a:ext uri="{FF2B5EF4-FFF2-40B4-BE49-F238E27FC236}">
                <a16:creationId xmlns:a16="http://schemas.microsoft.com/office/drawing/2014/main" xmlns="" id="{4F2948D9-3832-4877-9E7B-EF634DF63D21}"/>
              </a:ext>
            </a:extLst>
          </p:cNvPr>
          <p:cNvSpPr txBox="1"/>
          <p:nvPr/>
        </p:nvSpPr>
        <p:spPr>
          <a:xfrm>
            <a:off x="4161368" y="1867337"/>
            <a:ext cx="2188100" cy="369332"/>
          </a:xfrm>
          <a:prstGeom prst="rect">
            <a:avLst/>
          </a:prstGeom>
          <a:noFill/>
        </p:spPr>
        <p:txBody>
          <a:bodyPr wrap="none" rtlCol="0" anchor="b" anchorCtr="0">
            <a:spAutoFit/>
          </a:bodyPr>
          <a:lstStyle/>
          <a:p>
            <a:r>
              <a:rPr lang="en-GB" b="1" dirty="0">
                <a:solidFill>
                  <a:srgbClr val="F95C2C"/>
                </a:solidFill>
                <a:latin typeface="+mj-lt"/>
                <a:ea typeface="League Spartan" charset="0"/>
                <a:cs typeface="Poppins" pitchFamily="2" charset="77"/>
              </a:rPr>
              <a:t>The world of numbers</a:t>
            </a:r>
          </a:p>
        </p:txBody>
      </p:sp>
      <p:sp>
        <p:nvSpPr>
          <p:cNvPr id="49" name="Subtitle 2">
            <a:extLst>
              <a:ext uri="{FF2B5EF4-FFF2-40B4-BE49-F238E27FC236}">
                <a16:creationId xmlns:a16="http://schemas.microsoft.com/office/drawing/2014/main" xmlns="" id="{E1501556-70F6-4CFE-A160-05D0EF7C95E1}"/>
              </a:ext>
            </a:extLst>
          </p:cNvPr>
          <p:cNvSpPr txBox="1">
            <a:spLocks/>
          </p:cNvSpPr>
          <p:nvPr/>
        </p:nvSpPr>
        <p:spPr>
          <a:xfrm>
            <a:off x="4156656" y="2154922"/>
            <a:ext cx="2279572" cy="346941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7313" indent="-8731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Structure of the key figure system - superordinate Goals and strategies as a basis</a:t>
            </a:r>
          </a:p>
          <a:p>
            <a:pPr marL="87313" indent="-8731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Process Owner: From analysis to reporting (turning data into information)</a:t>
            </a:r>
          </a:p>
          <a:p>
            <a:pPr marL="87313" indent="-8731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Understanding the world of the "customer</a:t>
            </a:r>
          </a:p>
        </p:txBody>
      </p:sp>
      <p:sp>
        <p:nvSpPr>
          <p:cNvPr id="50" name="TextBox 46">
            <a:extLst>
              <a:ext uri="{FF2B5EF4-FFF2-40B4-BE49-F238E27FC236}">
                <a16:creationId xmlns:a16="http://schemas.microsoft.com/office/drawing/2014/main" xmlns="" id="{8B57CE06-A061-47D1-9B34-DF805E8453D1}"/>
              </a:ext>
            </a:extLst>
          </p:cNvPr>
          <p:cNvSpPr txBox="1"/>
          <p:nvPr/>
        </p:nvSpPr>
        <p:spPr>
          <a:xfrm>
            <a:off x="5438840" y="5624341"/>
            <a:ext cx="2082943" cy="646331"/>
          </a:xfrm>
          <a:prstGeom prst="rect">
            <a:avLst/>
          </a:prstGeom>
          <a:noFill/>
        </p:spPr>
        <p:txBody>
          <a:bodyPr wrap="none" rtlCol="0" anchor="b" anchorCtr="0">
            <a:spAutoFit/>
          </a:bodyPr>
          <a:lstStyle/>
          <a:p>
            <a:r>
              <a:rPr lang="en-GB" b="1" dirty="0">
                <a:solidFill>
                  <a:srgbClr val="0070C0"/>
                </a:solidFill>
                <a:latin typeface="+mj-lt"/>
                <a:ea typeface="League Spartan" charset="0"/>
                <a:cs typeface="Poppins" pitchFamily="2" charset="77"/>
              </a:rPr>
              <a:t>Communication as a </a:t>
            </a:r>
            <a:br>
              <a:rPr lang="en-GB" b="1" dirty="0">
                <a:solidFill>
                  <a:srgbClr val="0070C0"/>
                </a:solidFill>
                <a:latin typeface="+mj-lt"/>
                <a:ea typeface="League Spartan" charset="0"/>
                <a:cs typeface="Poppins" pitchFamily="2" charset="77"/>
              </a:rPr>
            </a:br>
            <a:r>
              <a:rPr lang="en-GB" b="1" dirty="0">
                <a:solidFill>
                  <a:srgbClr val="0070C0"/>
                </a:solidFill>
                <a:latin typeface="+mj-lt"/>
                <a:ea typeface="League Spartan" charset="0"/>
                <a:cs typeface="Poppins" pitchFamily="2" charset="77"/>
              </a:rPr>
              <a:t>success factor</a:t>
            </a:r>
          </a:p>
        </p:txBody>
      </p:sp>
      <p:sp>
        <p:nvSpPr>
          <p:cNvPr id="51" name="Subtitle 2">
            <a:extLst>
              <a:ext uri="{FF2B5EF4-FFF2-40B4-BE49-F238E27FC236}">
                <a16:creationId xmlns:a16="http://schemas.microsoft.com/office/drawing/2014/main" xmlns="" id="{5387EF2E-C593-4CF6-A811-7372EFE379DD}"/>
              </a:ext>
            </a:extLst>
          </p:cNvPr>
          <p:cNvSpPr txBox="1">
            <a:spLocks/>
          </p:cNvSpPr>
          <p:nvPr/>
        </p:nvSpPr>
        <p:spPr>
          <a:xfrm>
            <a:off x="5466483" y="6186651"/>
            <a:ext cx="2824970" cy="31163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7313" indent="-8731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Ensuring the common image</a:t>
            </a:r>
          </a:p>
        </p:txBody>
      </p:sp>
      <p:sp>
        <p:nvSpPr>
          <p:cNvPr id="52" name="TextBox 48">
            <a:extLst>
              <a:ext uri="{FF2B5EF4-FFF2-40B4-BE49-F238E27FC236}">
                <a16:creationId xmlns:a16="http://schemas.microsoft.com/office/drawing/2014/main" xmlns="" id="{9FFE739E-27B7-4366-9945-FCFA4EAC2F05}"/>
              </a:ext>
            </a:extLst>
          </p:cNvPr>
          <p:cNvSpPr txBox="1"/>
          <p:nvPr/>
        </p:nvSpPr>
        <p:spPr>
          <a:xfrm>
            <a:off x="9650099" y="1996052"/>
            <a:ext cx="2444452" cy="584775"/>
          </a:xfrm>
          <a:prstGeom prst="rect">
            <a:avLst/>
          </a:prstGeom>
          <a:noFill/>
        </p:spPr>
        <p:txBody>
          <a:bodyPr wrap="none" rtlCol="0" anchor="b" anchorCtr="0">
            <a:spAutoFit/>
          </a:bodyPr>
          <a:lstStyle/>
          <a:p>
            <a:r>
              <a:rPr lang="en-GB" sz="1600" b="1" dirty="0">
                <a:solidFill>
                  <a:srgbClr val="245473"/>
                </a:solidFill>
                <a:latin typeface="+mj-lt"/>
                <a:ea typeface="League Spartan" charset="0"/>
                <a:cs typeface="Poppins" pitchFamily="2" charset="77"/>
              </a:rPr>
              <a:t>From the world of numbers </a:t>
            </a:r>
            <a:br>
              <a:rPr lang="en-GB" sz="1600" b="1" dirty="0">
                <a:solidFill>
                  <a:srgbClr val="245473"/>
                </a:solidFill>
                <a:latin typeface="+mj-lt"/>
                <a:ea typeface="League Spartan" charset="0"/>
                <a:cs typeface="Poppins" pitchFamily="2" charset="77"/>
              </a:rPr>
            </a:br>
            <a:r>
              <a:rPr lang="en-GB" sz="1600" b="1" dirty="0">
                <a:solidFill>
                  <a:srgbClr val="245473"/>
                </a:solidFill>
                <a:latin typeface="+mj-lt"/>
                <a:ea typeface="League Spartan" charset="0"/>
                <a:cs typeface="Poppins" pitchFamily="2" charset="77"/>
              </a:rPr>
              <a:t>into the world of action</a:t>
            </a:r>
          </a:p>
        </p:txBody>
      </p:sp>
      <p:sp>
        <p:nvSpPr>
          <p:cNvPr id="53" name="Subtitle 2">
            <a:extLst>
              <a:ext uri="{FF2B5EF4-FFF2-40B4-BE49-F238E27FC236}">
                <a16:creationId xmlns:a16="http://schemas.microsoft.com/office/drawing/2014/main" xmlns="" id="{097B918B-7DA4-441D-9476-34F39F7AB016}"/>
              </a:ext>
            </a:extLst>
          </p:cNvPr>
          <p:cNvSpPr txBox="1">
            <a:spLocks/>
          </p:cNvSpPr>
          <p:nvPr/>
        </p:nvSpPr>
        <p:spPr>
          <a:xfrm>
            <a:off x="9949592" y="2715074"/>
            <a:ext cx="1956642" cy="263842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87313" indent="-8731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Common images about values (e.g. transparency)</a:t>
            </a:r>
          </a:p>
          <a:p>
            <a:pPr marL="87313" indent="-8731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The controller is located at the side of the FK</a:t>
            </a:r>
          </a:p>
          <a:p>
            <a:pPr marL="87313" indent="-87313"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Measures and controlling of measures</a:t>
            </a:r>
          </a:p>
        </p:txBody>
      </p:sp>
    </p:spTree>
    <p:extLst>
      <p:ext uri="{BB962C8B-B14F-4D97-AF65-F5344CB8AC3E}">
        <p14:creationId xmlns:p14="http://schemas.microsoft.com/office/powerpoint/2010/main" val="30180175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10093" y="568718"/>
            <a:ext cx="8852375" cy="697353"/>
          </a:xfrm>
        </p:spPr>
        <p:txBody>
          <a:bodyPr>
            <a:normAutofit/>
          </a:bodyPr>
          <a:lstStyle/>
          <a:p>
            <a:r>
              <a:rPr lang="en-GB" dirty="0"/>
              <a:t>Myths about Business Leadership</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16564" y="1990536"/>
            <a:ext cx="3881936" cy="451769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When it comes to business leadership there is no one size fits all. Every leader has his/her own personality, style, and approach to leading teams – and there are different situations where specific leadership styles work or don’t work. </a:t>
            </a:r>
          </a:p>
          <a:p>
            <a:pPr algn="l">
              <a:lnSpc>
                <a:spcPct val="100000"/>
              </a:lnSpc>
              <a:spcBef>
                <a:spcPts val="600"/>
              </a:spcBef>
            </a:pPr>
            <a:r>
              <a:rPr lang="en-GB" altLang="de-DE" sz="2200" dirty="0">
                <a:solidFill>
                  <a:srgbClr val="245473"/>
                </a:solidFill>
                <a:latin typeface="+mj-lt"/>
              </a:rPr>
              <a:t>That said, there are leadership truths and myths that seem to surface time. Here are several that are consistently brought up</a:t>
            </a:r>
          </a:p>
          <a:p>
            <a:pPr algn="l">
              <a:lnSpc>
                <a:spcPts val="1500"/>
              </a:lnSpc>
              <a:spcBef>
                <a:spcPts val="600"/>
              </a:spcBef>
            </a:pPr>
            <a:endParaRPr lang="en-GB" sz="2200" dirty="0">
              <a:latin typeface="+mj-lt"/>
              <a:sym typeface="Wingdings" panose="05000000000000000000" pitchFamily="2" charset="2"/>
            </a:endParaRPr>
          </a:p>
        </p:txBody>
      </p:sp>
      <p:sp>
        <p:nvSpPr>
          <p:cNvPr id="82" name="Text Placeholder 33">
            <a:extLst>
              <a:ext uri="{FF2B5EF4-FFF2-40B4-BE49-F238E27FC236}">
                <a16:creationId xmlns:a16="http://schemas.microsoft.com/office/drawing/2014/main" xmlns="" id="{C91179E3-95B8-4C7E-9F7F-EC7FC116A5F8}"/>
              </a:ext>
            </a:extLst>
          </p:cNvPr>
          <p:cNvSpPr txBox="1">
            <a:spLocks/>
          </p:cNvSpPr>
          <p:nvPr/>
        </p:nvSpPr>
        <p:spPr>
          <a:xfrm>
            <a:off x="8751867" y="4713521"/>
            <a:ext cx="2409825" cy="407378"/>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GB" sz="2400" b="1">
                <a:solidFill>
                  <a:schemeClr val="bg1"/>
                </a:solidFill>
                <a:latin typeface="+mj-lt"/>
                <a:cs typeface="Roboto Regular"/>
              </a:rPr>
              <a:t>Leadership</a:t>
            </a:r>
            <a:endParaRPr lang="en-GB" sz="2400" dirty="0">
              <a:solidFill>
                <a:schemeClr val="bg1"/>
              </a:solidFill>
              <a:latin typeface="+mj-lt"/>
              <a:cs typeface="Roboto Regular"/>
            </a:endParaRPr>
          </a:p>
        </p:txBody>
      </p:sp>
      <p:sp>
        <p:nvSpPr>
          <p:cNvPr id="5" name="Textfeld 4">
            <a:extLst>
              <a:ext uri="{FF2B5EF4-FFF2-40B4-BE49-F238E27FC236}">
                <a16:creationId xmlns:a16="http://schemas.microsoft.com/office/drawing/2014/main" xmlns="" id="{0245298D-2C30-4315-BA4E-D66A401FDA67}"/>
              </a:ext>
            </a:extLst>
          </p:cNvPr>
          <p:cNvSpPr txBox="1"/>
          <p:nvPr/>
        </p:nvSpPr>
        <p:spPr>
          <a:xfrm>
            <a:off x="7862394" y="2500911"/>
            <a:ext cx="4343698" cy="3693319"/>
          </a:xfrm>
          <a:prstGeom prst="rect">
            <a:avLst/>
          </a:prstGeom>
          <a:noFill/>
        </p:spPr>
        <p:txBody>
          <a:bodyPr wrap="square" rtlCol="0">
            <a:spAutoFit/>
          </a:bodyPr>
          <a:lstStyle/>
          <a:p>
            <a:pPr marL="285750" indent="-285750">
              <a:buFont typeface="Arial" panose="020B0604020202020204" pitchFamily="34" charset="0"/>
              <a:buChar char="•"/>
            </a:pPr>
            <a:r>
              <a:rPr lang="en-GB" sz="2400" i="1" dirty="0">
                <a:solidFill>
                  <a:srgbClr val="245473"/>
                </a:solidFill>
                <a:latin typeface="+mj-lt"/>
              </a:rPr>
              <a:t>Leaders are born, not made</a:t>
            </a:r>
          </a:p>
          <a:p>
            <a:pPr marL="285750" indent="-285750">
              <a:buFont typeface="Arial" panose="020B0604020202020204" pitchFamily="34" charset="0"/>
              <a:buChar char="•"/>
            </a:pPr>
            <a:r>
              <a:rPr lang="en-GB" sz="2400" i="1" dirty="0">
                <a:solidFill>
                  <a:srgbClr val="245473"/>
                </a:solidFill>
                <a:latin typeface="+mj-lt"/>
              </a:rPr>
              <a:t>True leaders are charismatic extroverts</a:t>
            </a:r>
          </a:p>
          <a:p>
            <a:pPr marL="285750" indent="-285750">
              <a:buFont typeface="Arial" panose="020B0604020202020204" pitchFamily="34" charset="0"/>
              <a:buChar char="•"/>
            </a:pPr>
            <a:r>
              <a:rPr lang="en-GB" sz="2400" i="1" dirty="0">
                <a:solidFill>
                  <a:srgbClr val="245473"/>
                </a:solidFill>
                <a:latin typeface="+mj-lt"/>
              </a:rPr>
              <a:t>Leadership depends on your position/title</a:t>
            </a:r>
          </a:p>
          <a:p>
            <a:pPr marL="285750" indent="-285750">
              <a:buFont typeface="Arial" panose="020B0604020202020204" pitchFamily="34" charset="0"/>
              <a:buChar char="•"/>
            </a:pPr>
            <a:r>
              <a:rPr lang="en-GB" sz="2400" i="1" dirty="0">
                <a:solidFill>
                  <a:srgbClr val="245473"/>
                </a:solidFill>
                <a:latin typeface="+mj-lt"/>
              </a:rPr>
              <a:t>Leaders are always “on” </a:t>
            </a:r>
          </a:p>
          <a:p>
            <a:pPr marL="285750" indent="-285750">
              <a:buFont typeface="Arial" panose="020B0604020202020204" pitchFamily="34" charset="0"/>
              <a:buChar char="•"/>
            </a:pPr>
            <a:r>
              <a:rPr lang="en-GB" sz="2400" i="1" dirty="0">
                <a:solidFill>
                  <a:srgbClr val="245473"/>
                </a:solidFill>
                <a:latin typeface="+mj-lt"/>
              </a:rPr>
              <a:t>Leadership is about being liked</a:t>
            </a:r>
          </a:p>
          <a:p>
            <a:pPr marL="285750" indent="-285750">
              <a:buFont typeface="Arial" panose="020B0604020202020204" pitchFamily="34" charset="0"/>
              <a:buChar char="•"/>
            </a:pPr>
            <a:r>
              <a:rPr lang="en-GB" sz="2400" i="1" dirty="0">
                <a:solidFill>
                  <a:srgbClr val="245473"/>
                </a:solidFill>
                <a:latin typeface="+mj-lt"/>
              </a:rPr>
              <a:t>Leadership is a scheduled event</a:t>
            </a:r>
          </a:p>
          <a:p>
            <a:pPr marL="285750" indent="-285750">
              <a:buFont typeface="Arial" panose="020B0604020202020204" pitchFamily="34" charset="0"/>
              <a:buChar char="•"/>
            </a:pPr>
            <a:r>
              <a:rPr lang="en-GB" sz="2400" i="1" dirty="0">
                <a:solidFill>
                  <a:srgbClr val="245473"/>
                </a:solidFill>
                <a:latin typeface="+mj-lt"/>
              </a:rPr>
              <a:t>Others….?</a:t>
            </a:r>
          </a:p>
          <a:p>
            <a:pPr marL="285750" indent="-285750">
              <a:buFont typeface="Arial" panose="020B0604020202020204" pitchFamily="34" charset="0"/>
              <a:buChar char="•"/>
            </a:pPr>
            <a:endParaRPr lang="en-GB" dirty="0">
              <a:solidFill>
                <a:srgbClr val="4472C4"/>
              </a:solidFill>
            </a:endParaRPr>
          </a:p>
        </p:txBody>
      </p:sp>
      <p:grpSp>
        <p:nvGrpSpPr>
          <p:cNvPr id="11" name="Group 135">
            <a:extLst>
              <a:ext uri="{FF2B5EF4-FFF2-40B4-BE49-F238E27FC236}">
                <a16:creationId xmlns:a16="http://schemas.microsoft.com/office/drawing/2014/main" xmlns="" id="{982EE2B9-D332-4E80-9195-4ABC999F8D06}"/>
              </a:ext>
            </a:extLst>
          </p:cNvPr>
          <p:cNvGrpSpPr/>
          <p:nvPr/>
        </p:nvGrpSpPr>
        <p:grpSpPr>
          <a:xfrm>
            <a:off x="4504462" y="2257668"/>
            <a:ext cx="2839057" cy="3603641"/>
            <a:chOff x="14407368" y="4108798"/>
            <a:chExt cx="7568848" cy="9607208"/>
          </a:xfrm>
        </p:grpSpPr>
        <p:sp>
          <p:nvSpPr>
            <p:cNvPr id="12" name="Shape 10354">
              <a:extLst>
                <a:ext uri="{FF2B5EF4-FFF2-40B4-BE49-F238E27FC236}">
                  <a16:creationId xmlns:a16="http://schemas.microsoft.com/office/drawing/2014/main" xmlns="" id="{9AAF7DCD-E54E-41E1-A10A-7A55E8C4D62A}"/>
                </a:ext>
              </a:extLst>
            </p:cNvPr>
            <p:cNvSpPr/>
            <p:nvPr/>
          </p:nvSpPr>
          <p:spPr>
            <a:xfrm>
              <a:off x="14407368" y="4112415"/>
              <a:ext cx="7568848" cy="9582576"/>
            </a:xfrm>
            <a:custGeom>
              <a:avLst/>
              <a:gdLst/>
              <a:ahLst/>
              <a:cxnLst>
                <a:cxn ang="0">
                  <a:pos x="wd2" y="hd2"/>
                </a:cxn>
                <a:cxn ang="5400000">
                  <a:pos x="wd2" y="hd2"/>
                </a:cxn>
                <a:cxn ang="10800000">
                  <a:pos x="wd2" y="hd2"/>
                </a:cxn>
                <a:cxn ang="16200000">
                  <a:pos x="wd2" y="hd2"/>
                </a:cxn>
              </a:cxnLst>
              <a:rect l="0" t="0" r="r" b="b"/>
              <a:pathLst>
                <a:path w="21432" h="21116" extrusionOk="0">
                  <a:moveTo>
                    <a:pt x="1988" y="8601"/>
                  </a:moveTo>
                  <a:cubicBezTo>
                    <a:pt x="1988" y="8601"/>
                    <a:pt x="2362" y="8118"/>
                    <a:pt x="1988" y="7586"/>
                  </a:cubicBezTo>
                  <a:cubicBezTo>
                    <a:pt x="1615" y="7054"/>
                    <a:pt x="1864" y="5073"/>
                    <a:pt x="2736" y="3720"/>
                  </a:cubicBezTo>
                  <a:cubicBezTo>
                    <a:pt x="3608" y="2367"/>
                    <a:pt x="4355" y="1352"/>
                    <a:pt x="9026" y="434"/>
                  </a:cubicBezTo>
                  <a:cubicBezTo>
                    <a:pt x="13697" y="-484"/>
                    <a:pt x="16126" y="96"/>
                    <a:pt x="18368" y="1787"/>
                  </a:cubicBezTo>
                  <a:cubicBezTo>
                    <a:pt x="20610" y="3478"/>
                    <a:pt x="21357" y="5895"/>
                    <a:pt x="20672" y="8311"/>
                  </a:cubicBezTo>
                  <a:cubicBezTo>
                    <a:pt x="19987" y="10727"/>
                    <a:pt x="17558" y="11065"/>
                    <a:pt x="17745" y="13530"/>
                  </a:cubicBezTo>
                  <a:cubicBezTo>
                    <a:pt x="17932" y="15994"/>
                    <a:pt x="21432" y="21116"/>
                    <a:pt x="21432" y="21116"/>
                  </a:cubicBezTo>
                  <a:lnTo>
                    <a:pt x="9088" y="21116"/>
                  </a:lnTo>
                  <a:cubicBezTo>
                    <a:pt x="9088" y="21116"/>
                    <a:pt x="9618" y="19642"/>
                    <a:pt x="8964" y="18265"/>
                  </a:cubicBezTo>
                  <a:cubicBezTo>
                    <a:pt x="8964" y="18265"/>
                    <a:pt x="7959" y="16507"/>
                    <a:pt x="7189" y="16544"/>
                  </a:cubicBezTo>
                  <a:cubicBezTo>
                    <a:pt x="6418" y="16580"/>
                    <a:pt x="4083" y="16779"/>
                    <a:pt x="3452" y="16707"/>
                  </a:cubicBezTo>
                  <a:cubicBezTo>
                    <a:pt x="2821" y="16634"/>
                    <a:pt x="2214" y="16471"/>
                    <a:pt x="2261" y="15619"/>
                  </a:cubicBezTo>
                  <a:cubicBezTo>
                    <a:pt x="2308" y="14768"/>
                    <a:pt x="2238" y="14623"/>
                    <a:pt x="1887" y="14442"/>
                  </a:cubicBezTo>
                  <a:cubicBezTo>
                    <a:pt x="1537" y="14260"/>
                    <a:pt x="1397" y="13916"/>
                    <a:pt x="1677" y="13735"/>
                  </a:cubicBezTo>
                  <a:cubicBezTo>
                    <a:pt x="1957" y="13554"/>
                    <a:pt x="1957" y="13554"/>
                    <a:pt x="1957" y="13554"/>
                  </a:cubicBezTo>
                  <a:cubicBezTo>
                    <a:pt x="1957" y="13554"/>
                    <a:pt x="1747" y="13445"/>
                    <a:pt x="1420" y="13282"/>
                  </a:cubicBezTo>
                  <a:cubicBezTo>
                    <a:pt x="1093" y="13119"/>
                    <a:pt x="1163" y="12883"/>
                    <a:pt x="1257" y="12702"/>
                  </a:cubicBezTo>
                  <a:cubicBezTo>
                    <a:pt x="1350" y="12521"/>
                    <a:pt x="1537" y="12104"/>
                    <a:pt x="1327" y="12031"/>
                  </a:cubicBezTo>
                  <a:cubicBezTo>
                    <a:pt x="1117" y="11959"/>
                    <a:pt x="743" y="11778"/>
                    <a:pt x="416" y="11633"/>
                  </a:cubicBezTo>
                  <a:cubicBezTo>
                    <a:pt x="89" y="11488"/>
                    <a:pt x="-168" y="11234"/>
                    <a:pt x="136" y="10817"/>
                  </a:cubicBezTo>
                  <a:cubicBezTo>
                    <a:pt x="439" y="10401"/>
                    <a:pt x="1988" y="8601"/>
                    <a:pt x="1988" y="8601"/>
                  </a:cubicBezTo>
                  <a:close/>
                </a:path>
              </a:pathLst>
            </a:custGeom>
            <a:solidFill>
              <a:schemeClr val="bg1"/>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13" name="Shape 10355">
              <a:extLst>
                <a:ext uri="{FF2B5EF4-FFF2-40B4-BE49-F238E27FC236}">
                  <a16:creationId xmlns:a16="http://schemas.microsoft.com/office/drawing/2014/main" xmlns="" id="{6059663D-7225-4200-A80F-485124C9283F}"/>
                </a:ext>
              </a:extLst>
            </p:cNvPr>
            <p:cNvSpPr/>
            <p:nvPr/>
          </p:nvSpPr>
          <p:spPr>
            <a:xfrm>
              <a:off x="15175975" y="5793015"/>
              <a:ext cx="1056103" cy="924500"/>
            </a:xfrm>
            <a:custGeom>
              <a:avLst/>
              <a:gdLst/>
              <a:ahLst/>
              <a:cxnLst>
                <a:cxn ang="0">
                  <a:pos x="wd2" y="hd2"/>
                </a:cxn>
                <a:cxn ang="5400000">
                  <a:pos x="wd2" y="hd2"/>
                </a:cxn>
                <a:cxn ang="10800000">
                  <a:pos x="wd2" y="hd2"/>
                </a:cxn>
                <a:cxn ang="16200000">
                  <a:pos x="wd2" y="hd2"/>
                </a:cxn>
              </a:cxnLst>
              <a:rect l="0" t="0" r="r" b="b"/>
              <a:pathLst>
                <a:path w="20856" h="21029" extrusionOk="0">
                  <a:moveTo>
                    <a:pt x="20115" y="12466"/>
                  </a:moveTo>
                  <a:cubicBezTo>
                    <a:pt x="19732" y="10390"/>
                    <a:pt x="17957" y="9059"/>
                    <a:pt x="16157" y="9500"/>
                  </a:cubicBezTo>
                  <a:cubicBezTo>
                    <a:pt x="15676" y="9618"/>
                    <a:pt x="15243" y="9853"/>
                    <a:pt x="14872" y="10171"/>
                  </a:cubicBezTo>
                  <a:lnTo>
                    <a:pt x="17218" y="12800"/>
                  </a:lnTo>
                  <a:cubicBezTo>
                    <a:pt x="17383" y="12986"/>
                    <a:pt x="17387" y="13290"/>
                    <a:pt x="17227" y="13481"/>
                  </a:cubicBezTo>
                  <a:cubicBezTo>
                    <a:pt x="17066" y="13671"/>
                    <a:pt x="16803" y="13676"/>
                    <a:pt x="16637" y="13490"/>
                  </a:cubicBezTo>
                  <a:lnTo>
                    <a:pt x="14268" y="10834"/>
                  </a:lnTo>
                  <a:cubicBezTo>
                    <a:pt x="13652" y="11707"/>
                    <a:pt x="13371" y="12880"/>
                    <a:pt x="13589" y="14063"/>
                  </a:cubicBezTo>
                  <a:cubicBezTo>
                    <a:pt x="13972" y="16139"/>
                    <a:pt x="15747" y="17470"/>
                    <a:pt x="17547" y="17029"/>
                  </a:cubicBezTo>
                  <a:cubicBezTo>
                    <a:pt x="19346" y="16589"/>
                    <a:pt x="20498" y="14541"/>
                    <a:pt x="20115" y="12466"/>
                  </a:cubicBezTo>
                  <a:close/>
                  <a:moveTo>
                    <a:pt x="12445" y="7390"/>
                  </a:moveTo>
                  <a:lnTo>
                    <a:pt x="10862" y="7777"/>
                  </a:lnTo>
                  <a:cubicBezTo>
                    <a:pt x="10683" y="7821"/>
                    <a:pt x="10443" y="7721"/>
                    <a:pt x="10330" y="7554"/>
                  </a:cubicBezTo>
                  <a:lnTo>
                    <a:pt x="9382" y="6156"/>
                  </a:lnTo>
                  <a:lnTo>
                    <a:pt x="7858" y="9354"/>
                  </a:lnTo>
                  <a:cubicBezTo>
                    <a:pt x="7858" y="9354"/>
                    <a:pt x="8237" y="9436"/>
                    <a:pt x="8700" y="9536"/>
                  </a:cubicBezTo>
                  <a:lnTo>
                    <a:pt x="12662" y="8566"/>
                  </a:lnTo>
                  <a:cubicBezTo>
                    <a:pt x="12662" y="8566"/>
                    <a:pt x="12445" y="7390"/>
                    <a:pt x="12445" y="7390"/>
                  </a:cubicBezTo>
                  <a:close/>
                  <a:moveTo>
                    <a:pt x="12276" y="9645"/>
                  </a:moveTo>
                  <a:lnTo>
                    <a:pt x="10649" y="10043"/>
                  </a:lnTo>
                  <a:cubicBezTo>
                    <a:pt x="10837" y="10188"/>
                    <a:pt x="10975" y="10413"/>
                    <a:pt x="11024" y="10676"/>
                  </a:cubicBezTo>
                  <a:lnTo>
                    <a:pt x="11025" y="10675"/>
                  </a:lnTo>
                  <a:cubicBezTo>
                    <a:pt x="11025" y="10675"/>
                    <a:pt x="11166" y="11451"/>
                    <a:pt x="11342" y="12416"/>
                  </a:cubicBezTo>
                  <a:cubicBezTo>
                    <a:pt x="11342" y="12416"/>
                    <a:pt x="12276" y="9645"/>
                    <a:pt x="12276" y="9645"/>
                  </a:cubicBezTo>
                  <a:close/>
                  <a:moveTo>
                    <a:pt x="9392" y="11587"/>
                  </a:moveTo>
                  <a:cubicBezTo>
                    <a:pt x="9392" y="11587"/>
                    <a:pt x="7390" y="11287"/>
                    <a:pt x="6435" y="11138"/>
                  </a:cubicBezTo>
                  <a:lnTo>
                    <a:pt x="5956" y="12381"/>
                  </a:lnTo>
                  <a:cubicBezTo>
                    <a:pt x="6790" y="12920"/>
                    <a:pt x="7454" y="13798"/>
                    <a:pt x="7783" y="14892"/>
                  </a:cubicBezTo>
                  <a:lnTo>
                    <a:pt x="9906" y="14373"/>
                  </a:lnTo>
                  <a:cubicBezTo>
                    <a:pt x="9906" y="14373"/>
                    <a:pt x="9392" y="11587"/>
                    <a:pt x="9392" y="11587"/>
                  </a:cubicBezTo>
                  <a:close/>
                  <a:moveTo>
                    <a:pt x="7320" y="15990"/>
                  </a:moveTo>
                  <a:lnTo>
                    <a:pt x="4073" y="16785"/>
                  </a:lnTo>
                  <a:cubicBezTo>
                    <a:pt x="3848" y="16840"/>
                    <a:pt x="3626" y="16674"/>
                    <a:pt x="3578" y="16414"/>
                  </a:cubicBezTo>
                  <a:cubicBezTo>
                    <a:pt x="3557" y="16296"/>
                    <a:pt x="3576" y="16181"/>
                    <a:pt x="3622" y="16083"/>
                  </a:cubicBezTo>
                  <a:lnTo>
                    <a:pt x="3621" y="16082"/>
                  </a:lnTo>
                  <a:lnTo>
                    <a:pt x="4917" y="12711"/>
                  </a:lnTo>
                  <a:cubicBezTo>
                    <a:pt x="4410" y="12543"/>
                    <a:pt x="3861" y="12510"/>
                    <a:pt x="3309" y="12645"/>
                  </a:cubicBezTo>
                  <a:cubicBezTo>
                    <a:pt x="1510" y="13086"/>
                    <a:pt x="358" y="15133"/>
                    <a:pt x="741" y="17209"/>
                  </a:cubicBezTo>
                  <a:cubicBezTo>
                    <a:pt x="1124" y="19285"/>
                    <a:pt x="2899" y="20615"/>
                    <a:pt x="4699" y="20175"/>
                  </a:cubicBezTo>
                  <a:cubicBezTo>
                    <a:pt x="6388" y="19761"/>
                    <a:pt x="7507" y="17930"/>
                    <a:pt x="7320" y="15990"/>
                  </a:cubicBezTo>
                  <a:close/>
                  <a:moveTo>
                    <a:pt x="4700" y="15647"/>
                  </a:moveTo>
                  <a:lnTo>
                    <a:pt x="7121" y="15055"/>
                  </a:lnTo>
                  <a:cubicBezTo>
                    <a:pt x="6845" y="14210"/>
                    <a:pt x="6329" y="13528"/>
                    <a:pt x="5683" y="13093"/>
                  </a:cubicBezTo>
                  <a:cubicBezTo>
                    <a:pt x="5683" y="13093"/>
                    <a:pt x="4700" y="15647"/>
                    <a:pt x="4700" y="15647"/>
                  </a:cubicBezTo>
                  <a:close/>
                  <a:moveTo>
                    <a:pt x="20768" y="12306"/>
                  </a:moveTo>
                  <a:cubicBezTo>
                    <a:pt x="21228" y="14801"/>
                    <a:pt x="19848" y="17253"/>
                    <a:pt x="17686" y="17782"/>
                  </a:cubicBezTo>
                  <a:cubicBezTo>
                    <a:pt x="15523" y="18311"/>
                    <a:pt x="13397" y="16718"/>
                    <a:pt x="12936" y="14223"/>
                  </a:cubicBezTo>
                  <a:cubicBezTo>
                    <a:pt x="12670" y="12777"/>
                    <a:pt x="13022" y="11346"/>
                    <a:pt x="13786" y="10295"/>
                  </a:cubicBezTo>
                  <a:lnTo>
                    <a:pt x="13180" y="9616"/>
                  </a:lnTo>
                  <a:lnTo>
                    <a:pt x="11655" y="14141"/>
                  </a:lnTo>
                  <a:cubicBezTo>
                    <a:pt x="11845" y="15192"/>
                    <a:pt x="12003" y="16082"/>
                    <a:pt x="12002" y="16116"/>
                  </a:cubicBezTo>
                  <a:cubicBezTo>
                    <a:pt x="11988" y="16676"/>
                    <a:pt x="11582" y="17117"/>
                    <a:pt x="11096" y="17100"/>
                  </a:cubicBezTo>
                  <a:cubicBezTo>
                    <a:pt x="10682" y="17085"/>
                    <a:pt x="10344" y="16743"/>
                    <a:pt x="10261" y="16295"/>
                  </a:cubicBezTo>
                  <a:lnTo>
                    <a:pt x="10260" y="16295"/>
                  </a:lnTo>
                  <a:lnTo>
                    <a:pt x="10079" y="15314"/>
                  </a:lnTo>
                  <a:lnTo>
                    <a:pt x="7974" y="15829"/>
                  </a:lnTo>
                  <a:cubicBezTo>
                    <a:pt x="8237" y="18189"/>
                    <a:pt x="6891" y="20425"/>
                    <a:pt x="4838" y="20928"/>
                  </a:cubicBezTo>
                  <a:cubicBezTo>
                    <a:pt x="2675" y="21457"/>
                    <a:pt x="549" y="19863"/>
                    <a:pt x="88" y="17369"/>
                  </a:cubicBezTo>
                  <a:cubicBezTo>
                    <a:pt x="-372" y="14874"/>
                    <a:pt x="1008" y="12422"/>
                    <a:pt x="3170" y="11892"/>
                  </a:cubicBezTo>
                  <a:cubicBezTo>
                    <a:pt x="3866" y="11722"/>
                    <a:pt x="4557" y="11772"/>
                    <a:pt x="5191" y="12001"/>
                  </a:cubicBezTo>
                  <a:lnTo>
                    <a:pt x="5611" y="10908"/>
                  </a:lnTo>
                  <a:cubicBezTo>
                    <a:pt x="5188" y="10637"/>
                    <a:pt x="4908" y="10111"/>
                    <a:pt x="4924" y="9516"/>
                  </a:cubicBezTo>
                  <a:cubicBezTo>
                    <a:pt x="4931" y="9235"/>
                    <a:pt x="5004" y="8976"/>
                    <a:pt x="5123" y="8753"/>
                  </a:cubicBezTo>
                  <a:lnTo>
                    <a:pt x="5122" y="8753"/>
                  </a:lnTo>
                  <a:lnTo>
                    <a:pt x="7375" y="4249"/>
                  </a:lnTo>
                  <a:lnTo>
                    <a:pt x="7375" y="4250"/>
                  </a:lnTo>
                  <a:cubicBezTo>
                    <a:pt x="7591" y="3700"/>
                    <a:pt x="8076" y="3326"/>
                    <a:pt x="8631" y="3346"/>
                  </a:cubicBezTo>
                  <a:cubicBezTo>
                    <a:pt x="9070" y="3361"/>
                    <a:pt x="9452" y="3620"/>
                    <a:pt x="9685" y="4006"/>
                  </a:cubicBezTo>
                  <a:lnTo>
                    <a:pt x="9686" y="4006"/>
                  </a:lnTo>
                  <a:lnTo>
                    <a:pt x="11018" y="6165"/>
                  </a:lnTo>
                  <a:lnTo>
                    <a:pt x="12915" y="5701"/>
                  </a:lnTo>
                  <a:cubicBezTo>
                    <a:pt x="13275" y="5613"/>
                    <a:pt x="13630" y="5878"/>
                    <a:pt x="13706" y="6294"/>
                  </a:cubicBezTo>
                  <a:cubicBezTo>
                    <a:pt x="13778" y="6683"/>
                    <a:pt x="13580" y="7062"/>
                    <a:pt x="13259" y="7182"/>
                  </a:cubicBezTo>
                  <a:lnTo>
                    <a:pt x="13534" y="8671"/>
                  </a:lnTo>
                  <a:lnTo>
                    <a:pt x="14385" y="9625"/>
                  </a:lnTo>
                  <a:cubicBezTo>
                    <a:pt x="14850" y="9205"/>
                    <a:pt x="15402" y="8898"/>
                    <a:pt x="16018" y="8747"/>
                  </a:cubicBezTo>
                  <a:cubicBezTo>
                    <a:pt x="18181" y="8217"/>
                    <a:pt x="20307" y="9811"/>
                    <a:pt x="20768" y="12306"/>
                  </a:cubicBezTo>
                  <a:close/>
                  <a:moveTo>
                    <a:pt x="8795" y="1859"/>
                  </a:moveTo>
                  <a:cubicBezTo>
                    <a:pt x="8642" y="1027"/>
                    <a:pt x="9102" y="210"/>
                    <a:pt x="9823" y="34"/>
                  </a:cubicBezTo>
                  <a:cubicBezTo>
                    <a:pt x="10543" y="-143"/>
                    <a:pt x="11252" y="388"/>
                    <a:pt x="11406" y="1220"/>
                  </a:cubicBezTo>
                  <a:cubicBezTo>
                    <a:pt x="11559" y="2051"/>
                    <a:pt x="11099" y="2869"/>
                    <a:pt x="10378" y="3045"/>
                  </a:cubicBezTo>
                  <a:cubicBezTo>
                    <a:pt x="9658" y="3222"/>
                    <a:pt x="8949" y="2690"/>
                    <a:pt x="8795" y="185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4" name="Shape 10356">
              <a:extLst>
                <a:ext uri="{FF2B5EF4-FFF2-40B4-BE49-F238E27FC236}">
                  <a16:creationId xmlns:a16="http://schemas.microsoft.com/office/drawing/2014/main" xmlns="" id="{AC4AFD80-3F72-4123-8A50-C3D3E0530D4B}"/>
                </a:ext>
              </a:extLst>
            </p:cNvPr>
            <p:cNvSpPr/>
            <p:nvPr/>
          </p:nvSpPr>
          <p:spPr>
            <a:xfrm>
              <a:off x="17978664" y="7053490"/>
              <a:ext cx="567697" cy="676949"/>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5" name="Shape 10357">
              <a:extLst>
                <a:ext uri="{FF2B5EF4-FFF2-40B4-BE49-F238E27FC236}">
                  <a16:creationId xmlns:a16="http://schemas.microsoft.com/office/drawing/2014/main" xmlns="" id="{D28CDEBC-4683-403C-8948-900103AB8F3F}"/>
                </a:ext>
              </a:extLst>
            </p:cNvPr>
            <p:cNvSpPr/>
            <p:nvPr/>
          </p:nvSpPr>
          <p:spPr>
            <a:xfrm>
              <a:off x="19346002" y="5826856"/>
              <a:ext cx="524618" cy="1049238"/>
            </a:xfrm>
            <a:custGeom>
              <a:avLst/>
              <a:gdLst/>
              <a:ahLst/>
              <a:cxnLst>
                <a:cxn ang="0">
                  <a:pos x="wd2" y="hd2"/>
                </a:cxn>
                <a:cxn ang="5400000">
                  <a:pos x="wd2" y="hd2"/>
                </a:cxn>
                <a:cxn ang="10800000">
                  <a:pos x="wd2" y="hd2"/>
                </a:cxn>
                <a:cxn ang="16200000">
                  <a:pos x="wd2" y="hd2"/>
                </a:cxn>
              </a:cxnLst>
              <a:rect l="0" t="0" r="r" b="b"/>
              <a:pathLst>
                <a:path w="21600" h="21600" extrusionOk="0">
                  <a:moveTo>
                    <a:pt x="20250" y="4050"/>
                  </a:moveTo>
                  <a:lnTo>
                    <a:pt x="1618" y="4050"/>
                  </a:lnTo>
                  <a:lnTo>
                    <a:pt x="1618" y="17550"/>
                  </a:lnTo>
                  <a:lnTo>
                    <a:pt x="20250" y="17550"/>
                  </a:lnTo>
                  <a:lnTo>
                    <a:pt x="20250" y="4050"/>
                  </a:lnTo>
                  <a:close/>
                  <a:moveTo>
                    <a:pt x="14175" y="2025"/>
                  </a:moveTo>
                  <a:lnTo>
                    <a:pt x="7425" y="2025"/>
                  </a:lnTo>
                  <a:cubicBezTo>
                    <a:pt x="7052" y="2025"/>
                    <a:pt x="6750" y="2176"/>
                    <a:pt x="6750" y="2363"/>
                  </a:cubicBezTo>
                  <a:cubicBezTo>
                    <a:pt x="6750" y="2549"/>
                    <a:pt x="7052" y="2700"/>
                    <a:pt x="7425" y="2700"/>
                  </a:cubicBezTo>
                  <a:lnTo>
                    <a:pt x="14175" y="2700"/>
                  </a:lnTo>
                  <a:cubicBezTo>
                    <a:pt x="14548" y="2700"/>
                    <a:pt x="14850" y="2549"/>
                    <a:pt x="14850" y="2363"/>
                  </a:cubicBezTo>
                  <a:cubicBezTo>
                    <a:pt x="14850" y="2176"/>
                    <a:pt x="14548" y="2025"/>
                    <a:pt x="14175" y="2025"/>
                  </a:cubicBezTo>
                  <a:close/>
                  <a:moveTo>
                    <a:pt x="11475" y="20250"/>
                  </a:moveTo>
                  <a:cubicBezTo>
                    <a:pt x="12593" y="20250"/>
                    <a:pt x="13500" y="19797"/>
                    <a:pt x="13500" y="19238"/>
                  </a:cubicBezTo>
                  <a:cubicBezTo>
                    <a:pt x="13500" y="18678"/>
                    <a:pt x="12593" y="18225"/>
                    <a:pt x="11475" y="18225"/>
                  </a:cubicBezTo>
                  <a:cubicBezTo>
                    <a:pt x="10357" y="18225"/>
                    <a:pt x="9450" y="18678"/>
                    <a:pt x="9450" y="19238"/>
                  </a:cubicBezTo>
                  <a:cubicBezTo>
                    <a:pt x="9450" y="19797"/>
                    <a:pt x="10357" y="20250"/>
                    <a:pt x="11475" y="20250"/>
                  </a:cubicBezTo>
                  <a:close/>
                  <a:moveTo>
                    <a:pt x="18900" y="21600"/>
                  </a:moveTo>
                  <a:lnTo>
                    <a:pt x="2700" y="21600"/>
                  </a:lnTo>
                  <a:cubicBezTo>
                    <a:pt x="1954" y="21600"/>
                    <a:pt x="1279" y="21449"/>
                    <a:pt x="791" y="21205"/>
                  </a:cubicBezTo>
                  <a:cubicBezTo>
                    <a:pt x="302" y="20960"/>
                    <a:pt x="0" y="20623"/>
                    <a:pt x="0" y="20250"/>
                  </a:cubicBezTo>
                  <a:lnTo>
                    <a:pt x="0" y="1350"/>
                  </a:lnTo>
                  <a:cubicBezTo>
                    <a:pt x="0" y="977"/>
                    <a:pt x="302" y="640"/>
                    <a:pt x="791" y="395"/>
                  </a:cubicBezTo>
                  <a:cubicBezTo>
                    <a:pt x="1279" y="151"/>
                    <a:pt x="1954" y="0"/>
                    <a:pt x="2700" y="0"/>
                  </a:cubicBezTo>
                  <a:lnTo>
                    <a:pt x="18900" y="0"/>
                  </a:lnTo>
                  <a:cubicBezTo>
                    <a:pt x="19646" y="0"/>
                    <a:pt x="20321" y="151"/>
                    <a:pt x="20809" y="395"/>
                  </a:cubicBezTo>
                  <a:cubicBezTo>
                    <a:pt x="21298" y="640"/>
                    <a:pt x="21600" y="977"/>
                    <a:pt x="21600" y="1350"/>
                  </a:cubicBezTo>
                  <a:lnTo>
                    <a:pt x="21600" y="20250"/>
                  </a:lnTo>
                  <a:cubicBezTo>
                    <a:pt x="21600" y="20623"/>
                    <a:pt x="21298" y="20960"/>
                    <a:pt x="20809" y="21205"/>
                  </a:cubicBezTo>
                  <a:cubicBezTo>
                    <a:pt x="20321" y="21449"/>
                    <a:pt x="19646" y="21600"/>
                    <a:pt x="1890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7" name="Shape 10358">
              <a:extLst>
                <a:ext uri="{FF2B5EF4-FFF2-40B4-BE49-F238E27FC236}">
                  <a16:creationId xmlns:a16="http://schemas.microsoft.com/office/drawing/2014/main" xmlns="" id="{3559FC19-5C99-4EF6-943B-6022C13AAC04}"/>
                </a:ext>
              </a:extLst>
            </p:cNvPr>
            <p:cNvSpPr/>
            <p:nvPr/>
          </p:nvSpPr>
          <p:spPr>
            <a:xfrm>
              <a:off x="18888390" y="7193820"/>
              <a:ext cx="1013871" cy="761612"/>
            </a:xfrm>
            <a:custGeom>
              <a:avLst/>
              <a:gdLst/>
              <a:ahLst/>
              <a:cxnLst>
                <a:cxn ang="0">
                  <a:pos x="wd2" y="hd2"/>
                </a:cxn>
                <a:cxn ang="5400000">
                  <a:pos x="wd2" y="hd2"/>
                </a:cxn>
                <a:cxn ang="10800000">
                  <a:pos x="wd2" y="hd2"/>
                </a:cxn>
                <a:cxn ang="16200000">
                  <a:pos x="wd2" y="hd2"/>
                </a:cxn>
              </a:cxnLst>
              <a:rect l="0" t="0" r="r" b="b"/>
              <a:pathLst>
                <a:path w="21600" h="21600" extrusionOk="0">
                  <a:moveTo>
                    <a:pt x="14377" y="10069"/>
                  </a:moveTo>
                  <a:cubicBezTo>
                    <a:pt x="13591" y="10069"/>
                    <a:pt x="12956" y="9222"/>
                    <a:pt x="12956" y="8178"/>
                  </a:cubicBezTo>
                  <a:cubicBezTo>
                    <a:pt x="12956" y="7133"/>
                    <a:pt x="13591" y="6286"/>
                    <a:pt x="14377" y="6286"/>
                  </a:cubicBezTo>
                  <a:cubicBezTo>
                    <a:pt x="15161" y="6286"/>
                    <a:pt x="15797" y="7133"/>
                    <a:pt x="15797" y="8178"/>
                  </a:cubicBezTo>
                  <a:cubicBezTo>
                    <a:pt x="15797" y="9222"/>
                    <a:pt x="15161" y="10069"/>
                    <a:pt x="14377" y="10069"/>
                  </a:cubicBezTo>
                  <a:close/>
                  <a:moveTo>
                    <a:pt x="9355" y="17542"/>
                  </a:moveTo>
                  <a:lnTo>
                    <a:pt x="6514" y="17542"/>
                  </a:lnTo>
                  <a:lnTo>
                    <a:pt x="6514" y="13759"/>
                  </a:lnTo>
                  <a:lnTo>
                    <a:pt x="9355" y="13759"/>
                  </a:lnTo>
                  <a:cubicBezTo>
                    <a:pt x="9355" y="13759"/>
                    <a:pt x="9355" y="17542"/>
                    <a:pt x="9355" y="17542"/>
                  </a:cubicBezTo>
                  <a:close/>
                  <a:moveTo>
                    <a:pt x="4885" y="17542"/>
                  </a:moveTo>
                  <a:lnTo>
                    <a:pt x="2045" y="17542"/>
                  </a:lnTo>
                  <a:lnTo>
                    <a:pt x="2045" y="13759"/>
                  </a:lnTo>
                  <a:lnTo>
                    <a:pt x="4885" y="13759"/>
                  </a:lnTo>
                  <a:cubicBezTo>
                    <a:pt x="4885" y="13759"/>
                    <a:pt x="4885" y="17542"/>
                    <a:pt x="4885" y="17542"/>
                  </a:cubicBezTo>
                  <a:close/>
                  <a:moveTo>
                    <a:pt x="14377" y="1737"/>
                  </a:moveTo>
                  <a:lnTo>
                    <a:pt x="7198" y="11684"/>
                  </a:lnTo>
                  <a:lnTo>
                    <a:pt x="624" y="11684"/>
                  </a:lnTo>
                  <a:lnTo>
                    <a:pt x="624" y="21600"/>
                  </a:lnTo>
                  <a:lnTo>
                    <a:pt x="12488" y="21600"/>
                  </a:lnTo>
                  <a:lnTo>
                    <a:pt x="12488" y="13750"/>
                  </a:lnTo>
                  <a:lnTo>
                    <a:pt x="16265" y="13750"/>
                  </a:lnTo>
                  <a:lnTo>
                    <a:pt x="16265" y="21600"/>
                  </a:lnTo>
                  <a:lnTo>
                    <a:pt x="20961" y="21600"/>
                  </a:lnTo>
                  <a:lnTo>
                    <a:pt x="20961" y="11747"/>
                  </a:lnTo>
                  <a:lnTo>
                    <a:pt x="21600" y="11747"/>
                  </a:lnTo>
                  <a:cubicBezTo>
                    <a:pt x="21600" y="11747"/>
                    <a:pt x="14377" y="1737"/>
                    <a:pt x="14377" y="1737"/>
                  </a:cubicBezTo>
                  <a:close/>
                  <a:moveTo>
                    <a:pt x="21585" y="9988"/>
                  </a:moveTo>
                  <a:lnTo>
                    <a:pt x="21585" y="10640"/>
                  </a:lnTo>
                  <a:lnTo>
                    <a:pt x="14376" y="652"/>
                  </a:lnTo>
                  <a:lnTo>
                    <a:pt x="6905" y="11004"/>
                  </a:lnTo>
                  <a:lnTo>
                    <a:pt x="0" y="11004"/>
                  </a:lnTo>
                  <a:lnTo>
                    <a:pt x="4124" y="5099"/>
                  </a:lnTo>
                  <a:lnTo>
                    <a:pt x="10696" y="5099"/>
                  </a:lnTo>
                  <a:lnTo>
                    <a:pt x="14376" y="0"/>
                  </a:lnTo>
                  <a:cubicBezTo>
                    <a:pt x="14376" y="0"/>
                    <a:pt x="21585" y="9988"/>
                    <a:pt x="21585" y="998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8" name="Shape 10359">
              <a:extLst>
                <a:ext uri="{FF2B5EF4-FFF2-40B4-BE49-F238E27FC236}">
                  <a16:creationId xmlns:a16="http://schemas.microsoft.com/office/drawing/2014/main" xmlns="" id="{70559A85-91ED-4498-B0AC-334229BAC6BB}"/>
                </a:ext>
              </a:extLst>
            </p:cNvPr>
            <p:cNvSpPr/>
            <p:nvPr/>
          </p:nvSpPr>
          <p:spPr>
            <a:xfrm>
              <a:off x="19929794" y="6617313"/>
              <a:ext cx="835507" cy="736694"/>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9" name="Shape 10360">
              <a:extLst>
                <a:ext uri="{FF2B5EF4-FFF2-40B4-BE49-F238E27FC236}">
                  <a16:creationId xmlns:a16="http://schemas.microsoft.com/office/drawing/2014/main" xmlns="" id="{F25AAED6-BD08-454A-9403-D887FFF09394}"/>
                </a:ext>
              </a:extLst>
            </p:cNvPr>
            <p:cNvSpPr/>
            <p:nvPr/>
          </p:nvSpPr>
          <p:spPr>
            <a:xfrm>
              <a:off x="16246750" y="8337717"/>
              <a:ext cx="1090495" cy="724856"/>
            </a:xfrm>
            <a:custGeom>
              <a:avLst/>
              <a:gdLst/>
              <a:ahLst/>
              <a:cxnLst>
                <a:cxn ang="0">
                  <a:pos x="wd2" y="hd2"/>
                </a:cxn>
                <a:cxn ang="5400000">
                  <a:pos x="wd2" y="hd2"/>
                </a:cxn>
                <a:cxn ang="10800000">
                  <a:pos x="wd2" y="hd2"/>
                </a:cxn>
                <a:cxn ang="16200000">
                  <a:pos x="wd2" y="hd2"/>
                </a:cxn>
              </a:cxnLst>
              <a:rect l="0" t="0" r="r" b="b"/>
              <a:pathLst>
                <a:path w="21600" h="21423" extrusionOk="0">
                  <a:moveTo>
                    <a:pt x="17523" y="7527"/>
                  </a:moveTo>
                  <a:lnTo>
                    <a:pt x="16892" y="5510"/>
                  </a:lnTo>
                  <a:lnTo>
                    <a:pt x="16892" y="5510"/>
                  </a:lnTo>
                  <a:cubicBezTo>
                    <a:pt x="16891" y="5509"/>
                    <a:pt x="16891" y="5507"/>
                    <a:pt x="16891" y="5505"/>
                  </a:cubicBezTo>
                  <a:cubicBezTo>
                    <a:pt x="16543" y="4391"/>
                    <a:pt x="13689" y="5277"/>
                    <a:pt x="10517" y="7484"/>
                  </a:cubicBezTo>
                  <a:cubicBezTo>
                    <a:pt x="7344" y="9692"/>
                    <a:pt x="5056" y="12384"/>
                    <a:pt x="5404" y="13498"/>
                  </a:cubicBezTo>
                  <a:cubicBezTo>
                    <a:pt x="5404" y="13499"/>
                    <a:pt x="5405" y="13501"/>
                    <a:pt x="5405" y="13502"/>
                  </a:cubicBezTo>
                  <a:lnTo>
                    <a:pt x="5405" y="13503"/>
                  </a:lnTo>
                  <a:lnTo>
                    <a:pt x="5495" y="13791"/>
                  </a:lnTo>
                  <a:lnTo>
                    <a:pt x="0" y="14107"/>
                  </a:lnTo>
                  <a:lnTo>
                    <a:pt x="8178" y="0"/>
                  </a:lnTo>
                  <a:lnTo>
                    <a:pt x="21600" y="1182"/>
                  </a:lnTo>
                  <a:cubicBezTo>
                    <a:pt x="21600" y="1182"/>
                    <a:pt x="17523" y="7527"/>
                    <a:pt x="17523" y="7527"/>
                  </a:cubicBezTo>
                  <a:close/>
                  <a:moveTo>
                    <a:pt x="5685" y="19621"/>
                  </a:moveTo>
                  <a:cubicBezTo>
                    <a:pt x="5884" y="20257"/>
                    <a:pt x="5703" y="21011"/>
                    <a:pt x="5280" y="21306"/>
                  </a:cubicBezTo>
                  <a:cubicBezTo>
                    <a:pt x="4857" y="21600"/>
                    <a:pt x="4353" y="21323"/>
                    <a:pt x="4154" y="20686"/>
                  </a:cubicBezTo>
                  <a:cubicBezTo>
                    <a:pt x="4021" y="20261"/>
                    <a:pt x="4061" y="19785"/>
                    <a:pt x="4227" y="19427"/>
                  </a:cubicBezTo>
                  <a:lnTo>
                    <a:pt x="2645" y="14366"/>
                  </a:lnTo>
                  <a:lnTo>
                    <a:pt x="3561" y="14314"/>
                  </a:lnTo>
                  <a:lnTo>
                    <a:pt x="4992" y="18894"/>
                  </a:lnTo>
                  <a:cubicBezTo>
                    <a:pt x="5283" y="18935"/>
                    <a:pt x="5552" y="19195"/>
                    <a:pt x="5685" y="19621"/>
                  </a:cubicBezTo>
                  <a:close/>
                  <a:moveTo>
                    <a:pt x="17927" y="11804"/>
                  </a:moveTo>
                  <a:lnTo>
                    <a:pt x="16207" y="6303"/>
                  </a:lnTo>
                  <a:cubicBezTo>
                    <a:pt x="15632" y="6170"/>
                    <a:pt x="13695" y="6675"/>
                    <a:pt x="10877" y="8636"/>
                  </a:cubicBezTo>
                  <a:cubicBezTo>
                    <a:pt x="8057" y="10598"/>
                    <a:pt x="6553" y="12487"/>
                    <a:pt x="6252" y="13230"/>
                  </a:cubicBezTo>
                  <a:lnTo>
                    <a:pt x="7971" y="18731"/>
                  </a:lnTo>
                  <a:cubicBezTo>
                    <a:pt x="7971" y="18731"/>
                    <a:pt x="17927" y="11804"/>
                    <a:pt x="17927" y="11804"/>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0" name="Shape 10361">
              <a:extLst>
                <a:ext uri="{FF2B5EF4-FFF2-40B4-BE49-F238E27FC236}">
                  <a16:creationId xmlns:a16="http://schemas.microsoft.com/office/drawing/2014/main" xmlns="" id="{076CDD5F-7FEC-4CE5-BE43-091F19B16A07}"/>
                </a:ext>
              </a:extLst>
            </p:cNvPr>
            <p:cNvSpPr/>
            <p:nvPr/>
          </p:nvSpPr>
          <p:spPr>
            <a:xfrm>
              <a:off x="18047762" y="8576521"/>
              <a:ext cx="779626" cy="51003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1" name="Shape 10362">
              <a:extLst>
                <a:ext uri="{FF2B5EF4-FFF2-40B4-BE49-F238E27FC236}">
                  <a16:creationId xmlns:a16="http://schemas.microsoft.com/office/drawing/2014/main" xmlns="" id="{F8E8D15A-D210-46F2-81D4-C6B23857BDB0}"/>
                </a:ext>
              </a:extLst>
            </p:cNvPr>
            <p:cNvSpPr/>
            <p:nvPr/>
          </p:nvSpPr>
          <p:spPr>
            <a:xfrm>
              <a:off x="18185036" y="7888290"/>
              <a:ext cx="532340" cy="532367"/>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8"/>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accent3"/>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2" name="Shape 10363">
              <a:extLst>
                <a:ext uri="{FF2B5EF4-FFF2-40B4-BE49-F238E27FC236}">
                  <a16:creationId xmlns:a16="http://schemas.microsoft.com/office/drawing/2014/main" xmlns="" id="{60A7FEE5-AA03-4AC9-B8BF-81C403C28DA8}"/>
                </a:ext>
              </a:extLst>
            </p:cNvPr>
            <p:cNvSpPr/>
            <p:nvPr/>
          </p:nvSpPr>
          <p:spPr>
            <a:xfrm>
              <a:off x="16563190" y="8572964"/>
              <a:ext cx="1358814" cy="1170611"/>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3" name="Shape 10364">
              <a:extLst>
                <a:ext uri="{FF2B5EF4-FFF2-40B4-BE49-F238E27FC236}">
                  <a16:creationId xmlns:a16="http://schemas.microsoft.com/office/drawing/2014/main" xmlns="" id="{85791F36-5EC7-4740-BB53-8C83398700C0}"/>
                </a:ext>
              </a:extLst>
            </p:cNvPr>
            <p:cNvSpPr/>
            <p:nvPr/>
          </p:nvSpPr>
          <p:spPr>
            <a:xfrm>
              <a:off x="20342604" y="4919807"/>
              <a:ext cx="795139" cy="828529"/>
            </a:xfrm>
            <a:custGeom>
              <a:avLst/>
              <a:gdLst/>
              <a:ahLst/>
              <a:cxnLst>
                <a:cxn ang="0">
                  <a:pos x="wd2" y="hd2"/>
                </a:cxn>
                <a:cxn ang="5400000">
                  <a:pos x="wd2" y="hd2"/>
                </a:cxn>
                <a:cxn ang="10800000">
                  <a:pos x="wd2" y="hd2"/>
                </a:cxn>
                <a:cxn ang="16200000">
                  <a:pos x="wd2" y="hd2"/>
                </a:cxn>
              </a:cxnLst>
              <a:rect l="0" t="0" r="r" b="b"/>
              <a:pathLst>
                <a:path w="21600" h="21458" extrusionOk="0">
                  <a:moveTo>
                    <a:pt x="0" y="2367"/>
                  </a:moveTo>
                  <a:lnTo>
                    <a:pt x="8951" y="11157"/>
                  </a:lnTo>
                  <a:lnTo>
                    <a:pt x="11078" y="9188"/>
                  </a:lnTo>
                  <a:lnTo>
                    <a:pt x="6437" y="4635"/>
                  </a:lnTo>
                  <a:cubicBezTo>
                    <a:pt x="6796" y="4533"/>
                    <a:pt x="7134" y="4350"/>
                    <a:pt x="7402" y="4069"/>
                  </a:cubicBezTo>
                  <a:cubicBezTo>
                    <a:pt x="7936" y="3511"/>
                    <a:pt x="8097" y="2728"/>
                    <a:pt x="7933" y="1987"/>
                  </a:cubicBezTo>
                  <a:cubicBezTo>
                    <a:pt x="7919" y="1921"/>
                    <a:pt x="7902" y="1856"/>
                    <a:pt x="7882" y="1792"/>
                  </a:cubicBezTo>
                  <a:cubicBezTo>
                    <a:pt x="9084" y="1420"/>
                    <a:pt x="10285" y="1313"/>
                    <a:pt x="11432" y="1512"/>
                  </a:cubicBezTo>
                  <a:cubicBezTo>
                    <a:pt x="13324" y="1841"/>
                    <a:pt x="14949" y="2953"/>
                    <a:pt x="16131" y="4728"/>
                  </a:cubicBezTo>
                  <a:cubicBezTo>
                    <a:pt x="17973" y="7495"/>
                    <a:pt x="17832" y="11043"/>
                    <a:pt x="15877" y="13613"/>
                  </a:cubicBezTo>
                  <a:lnTo>
                    <a:pt x="14455" y="12303"/>
                  </a:lnTo>
                  <a:lnTo>
                    <a:pt x="15915" y="10862"/>
                  </a:lnTo>
                  <a:lnTo>
                    <a:pt x="15206" y="10209"/>
                  </a:lnTo>
                  <a:lnTo>
                    <a:pt x="9882" y="15464"/>
                  </a:lnTo>
                  <a:lnTo>
                    <a:pt x="10592" y="16118"/>
                  </a:lnTo>
                  <a:lnTo>
                    <a:pt x="12054" y="14674"/>
                  </a:lnTo>
                  <a:lnTo>
                    <a:pt x="14365" y="16801"/>
                  </a:lnTo>
                  <a:lnTo>
                    <a:pt x="11305" y="19822"/>
                  </a:lnTo>
                  <a:lnTo>
                    <a:pt x="13081" y="21458"/>
                  </a:lnTo>
                  <a:lnTo>
                    <a:pt x="21600" y="13048"/>
                  </a:lnTo>
                  <a:lnTo>
                    <a:pt x="19823" y="11412"/>
                  </a:lnTo>
                  <a:lnTo>
                    <a:pt x="17690" y="13518"/>
                  </a:lnTo>
                  <a:cubicBezTo>
                    <a:pt x="19379" y="10601"/>
                    <a:pt x="19335" y="6908"/>
                    <a:pt x="17380" y="3973"/>
                  </a:cubicBezTo>
                  <a:cubicBezTo>
                    <a:pt x="15971" y="1856"/>
                    <a:pt x="14006" y="526"/>
                    <a:pt x="11697" y="124"/>
                  </a:cubicBezTo>
                  <a:cubicBezTo>
                    <a:pt x="10165" y="-142"/>
                    <a:pt x="8574" y="24"/>
                    <a:pt x="7002" y="585"/>
                  </a:cubicBezTo>
                  <a:cubicBezTo>
                    <a:pt x="6059" y="-12"/>
                    <a:pt x="4773" y="95"/>
                    <a:pt x="3959" y="899"/>
                  </a:cubicBezTo>
                  <a:cubicBezTo>
                    <a:pt x="3722" y="1133"/>
                    <a:pt x="3552" y="1402"/>
                    <a:pt x="3440" y="1690"/>
                  </a:cubicBezTo>
                  <a:lnTo>
                    <a:pt x="2124" y="401"/>
                  </a:lnTo>
                  <a:lnTo>
                    <a:pt x="0" y="2367"/>
                  </a:lnTo>
                  <a:close/>
                  <a:moveTo>
                    <a:pt x="5023" y="1879"/>
                  </a:moveTo>
                  <a:cubicBezTo>
                    <a:pt x="5331" y="1567"/>
                    <a:pt x="5827" y="1505"/>
                    <a:pt x="6199" y="1742"/>
                  </a:cubicBezTo>
                  <a:cubicBezTo>
                    <a:pt x="6584" y="1986"/>
                    <a:pt x="6712" y="2467"/>
                    <a:pt x="6498" y="2857"/>
                  </a:cubicBezTo>
                  <a:cubicBezTo>
                    <a:pt x="6457" y="2939"/>
                    <a:pt x="6405" y="3017"/>
                    <a:pt x="6335" y="3086"/>
                  </a:cubicBezTo>
                  <a:cubicBezTo>
                    <a:pt x="5986" y="3431"/>
                    <a:pt x="5406" y="3440"/>
                    <a:pt x="5046" y="3108"/>
                  </a:cubicBezTo>
                  <a:cubicBezTo>
                    <a:pt x="4686" y="2775"/>
                    <a:pt x="4679" y="2227"/>
                    <a:pt x="5023" y="187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4" name="Shape 10365">
              <a:extLst>
                <a:ext uri="{FF2B5EF4-FFF2-40B4-BE49-F238E27FC236}">
                  <a16:creationId xmlns:a16="http://schemas.microsoft.com/office/drawing/2014/main" xmlns="" id="{FECB004C-DEF8-4707-88B1-3A0A26774175}"/>
                </a:ext>
              </a:extLst>
            </p:cNvPr>
            <p:cNvSpPr/>
            <p:nvPr/>
          </p:nvSpPr>
          <p:spPr>
            <a:xfrm>
              <a:off x="20885051" y="8052596"/>
              <a:ext cx="644759" cy="45701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5" name="Shape 10366">
              <a:extLst>
                <a:ext uri="{FF2B5EF4-FFF2-40B4-BE49-F238E27FC236}">
                  <a16:creationId xmlns:a16="http://schemas.microsoft.com/office/drawing/2014/main" xmlns="" id="{F54C433B-FBA8-40EC-9B7E-D2203CA88205}"/>
                </a:ext>
              </a:extLst>
            </p:cNvPr>
            <p:cNvSpPr/>
            <p:nvPr/>
          </p:nvSpPr>
          <p:spPr>
            <a:xfrm>
              <a:off x="20024892" y="5668206"/>
              <a:ext cx="715283" cy="791812"/>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6" name="Shape 10367">
              <a:extLst>
                <a:ext uri="{FF2B5EF4-FFF2-40B4-BE49-F238E27FC236}">
                  <a16:creationId xmlns:a16="http://schemas.microsoft.com/office/drawing/2014/main" xmlns="" id="{B5060470-BBD7-4D23-803B-4A9C0AA7C587}"/>
                </a:ext>
              </a:extLst>
            </p:cNvPr>
            <p:cNvSpPr/>
            <p:nvPr/>
          </p:nvSpPr>
          <p:spPr>
            <a:xfrm>
              <a:off x="19982176" y="8448786"/>
              <a:ext cx="979708" cy="1152637"/>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accent3"/>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7" name="Shape 10368">
              <a:extLst>
                <a:ext uri="{FF2B5EF4-FFF2-40B4-BE49-F238E27FC236}">
                  <a16:creationId xmlns:a16="http://schemas.microsoft.com/office/drawing/2014/main" xmlns="" id="{257D6D2E-D6FF-416A-8024-316A339DBB52}"/>
                </a:ext>
              </a:extLst>
            </p:cNvPr>
            <p:cNvSpPr/>
            <p:nvPr/>
          </p:nvSpPr>
          <p:spPr>
            <a:xfrm>
              <a:off x="18752832" y="6832014"/>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8" name="Shape 10369">
              <a:extLst>
                <a:ext uri="{FF2B5EF4-FFF2-40B4-BE49-F238E27FC236}">
                  <a16:creationId xmlns:a16="http://schemas.microsoft.com/office/drawing/2014/main" xmlns="" id="{BB39663E-ADC5-4448-B799-7CD06634D3EB}"/>
                </a:ext>
              </a:extLst>
            </p:cNvPr>
            <p:cNvSpPr/>
            <p:nvPr/>
          </p:nvSpPr>
          <p:spPr>
            <a:xfrm>
              <a:off x="20044209" y="7524991"/>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29" name="Shape 10370">
              <a:extLst>
                <a:ext uri="{FF2B5EF4-FFF2-40B4-BE49-F238E27FC236}">
                  <a16:creationId xmlns:a16="http://schemas.microsoft.com/office/drawing/2014/main" xmlns="" id="{6C25B3C6-DB51-4179-87DA-5037FBCB84DA}"/>
                </a:ext>
              </a:extLst>
            </p:cNvPr>
            <p:cNvSpPr/>
            <p:nvPr/>
          </p:nvSpPr>
          <p:spPr>
            <a:xfrm>
              <a:off x="17425322" y="6394160"/>
              <a:ext cx="534329"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0" name="Shape 10371">
              <a:extLst>
                <a:ext uri="{FF2B5EF4-FFF2-40B4-BE49-F238E27FC236}">
                  <a16:creationId xmlns:a16="http://schemas.microsoft.com/office/drawing/2014/main" xmlns="" id="{1B84560C-4532-4548-B7E3-F81B96E4152E}"/>
                </a:ext>
              </a:extLst>
            </p:cNvPr>
            <p:cNvSpPr/>
            <p:nvPr/>
          </p:nvSpPr>
          <p:spPr>
            <a:xfrm>
              <a:off x="17176640" y="7642515"/>
              <a:ext cx="745364" cy="625834"/>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1" name="Shape 10372">
              <a:extLst>
                <a:ext uri="{FF2B5EF4-FFF2-40B4-BE49-F238E27FC236}">
                  <a16:creationId xmlns:a16="http://schemas.microsoft.com/office/drawing/2014/main" xmlns="" id="{ADF61F09-CC59-49E7-B382-7143DB5A4AFB}"/>
                </a:ext>
              </a:extLst>
            </p:cNvPr>
            <p:cNvSpPr/>
            <p:nvPr/>
          </p:nvSpPr>
          <p:spPr>
            <a:xfrm>
              <a:off x="18332159" y="5376375"/>
              <a:ext cx="863654" cy="789237"/>
            </a:xfrm>
            <a:custGeom>
              <a:avLst/>
              <a:gdLst/>
              <a:ahLst/>
              <a:cxnLst>
                <a:cxn ang="0">
                  <a:pos x="wd2" y="hd2"/>
                </a:cxn>
                <a:cxn ang="5400000">
                  <a:pos x="wd2" y="hd2"/>
                </a:cxn>
                <a:cxn ang="10800000">
                  <a:pos x="wd2" y="hd2"/>
                </a:cxn>
                <a:cxn ang="16200000">
                  <a:pos x="wd2" y="hd2"/>
                </a:cxn>
              </a:cxnLst>
              <a:rect l="0" t="0" r="r" b="b"/>
              <a:pathLst>
                <a:path w="20409" h="20716" extrusionOk="0">
                  <a:moveTo>
                    <a:pt x="19071" y="18146"/>
                  </a:moveTo>
                  <a:cubicBezTo>
                    <a:pt x="20183" y="16314"/>
                    <a:pt x="19749" y="13820"/>
                    <a:pt x="18102" y="12586"/>
                  </a:cubicBezTo>
                  <a:cubicBezTo>
                    <a:pt x="17662" y="12256"/>
                    <a:pt x="17178" y="12053"/>
                    <a:pt x="16685" y="11962"/>
                  </a:cubicBezTo>
                  <a:lnTo>
                    <a:pt x="16672" y="15889"/>
                  </a:lnTo>
                  <a:cubicBezTo>
                    <a:pt x="16671" y="16166"/>
                    <a:pt x="16469" y="16390"/>
                    <a:pt x="16220" y="16389"/>
                  </a:cubicBezTo>
                  <a:cubicBezTo>
                    <a:pt x="15971" y="16388"/>
                    <a:pt x="15770" y="16164"/>
                    <a:pt x="15771" y="15887"/>
                  </a:cubicBezTo>
                  <a:lnTo>
                    <a:pt x="15784" y="11921"/>
                  </a:lnTo>
                  <a:cubicBezTo>
                    <a:pt x="14735" y="12022"/>
                    <a:pt x="13732" y="12627"/>
                    <a:pt x="13098" y="13672"/>
                  </a:cubicBezTo>
                  <a:cubicBezTo>
                    <a:pt x="11985" y="15504"/>
                    <a:pt x="12420" y="17998"/>
                    <a:pt x="14067" y="19232"/>
                  </a:cubicBezTo>
                  <a:cubicBezTo>
                    <a:pt x="15713" y="20465"/>
                    <a:pt x="17958" y="19979"/>
                    <a:pt x="19071" y="18146"/>
                  </a:cubicBezTo>
                  <a:close/>
                  <a:moveTo>
                    <a:pt x="16740" y="7857"/>
                  </a:moveTo>
                  <a:lnTo>
                    <a:pt x="15291" y="6772"/>
                  </a:lnTo>
                  <a:cubicBezTo>
                    <a:pt x="15127" y="6649"/>
                    <a:pt x="15015" y="6369"/>
                    <a:pt x="15043" y="6151"/>
                  </a:cubicBezTo>
                  <a:lnTo>
                    <a:pt x="15275" y="4322"/>
                  </a:lnTo>
                  <a:lnTo>
                    <a:pt x="11975" y="5321"/>
                  </a:lnTo>
                  <a:cubicBezTo>
                    <a:pt x="11975" y="5321"/>
                    <a:pt x="12203" y="5706"/>
                    <a:pt x="12483" y="6179"/>
                  </a:cubicBezTo>
                  <a:lnTo>
                    <a:pt x="16109" y="8895"/>
                  </a:lnTo>
                  <a:cubicBezTo>
                    <a:pt x="16109" y="8895"/>
                    <a:pt x="16740" y="7857"/>
                    <a:pt x="16740" y="7857"/>
                  </a:cubicBezTo>
                  <a:close/>
                  <a:moveTo>
                    <a:pt x="15093" y="9342"/>
                  </a:moveTo>
                  <a:lnTo>
                    <a:pt x="13604" y="8227"/>
                  </a:lnTo>
                  <a:cubicBezTo>
                    <a:pt x="13647" y="8494"/>
                    <a:pt x="13599" y="8776"/>
                    <a:pt x="13458" y="9008"/>
                  </a:cubicBezTo>
                  <a:lnTo>
                    <a:pt x="13459" y="9008"/>
                  </a:lnTo>
                  <a:cubicBezTo>
                    <a:pt x="13459" y="9008"/>
                    <a:pt x="13042" y="9692"/>
                    <a:pt x="12523" y="10542"/>
                  </a:cubicBezTo>
                  <a:cubicBezTo>
                    <a:pt x="12523" y="10542"/>
                    <a:pt x="15093" y="9342"/>
                    <a:pt x="15093" y="9342"/>
                  </a:cubicBezTo>
                  <a:close/>
                  <a:moveTo>
                    <a:pt x="11619" y="8259"/>
                  </a:moveTo>
                  <a:cubicBezTo>
                    <a:pt x="11619" y="8259"/>
                    <a:pt x="10321" y="6315"/>
                    <a:pt x="9704" y="5383"/>
                  </a:cubicBezTo>
                  <a:lnTo>
                    <a:pt x="8507" y="5869"/>
                  </a:lnTo>
                  <a:cubicBezTo>
                    <a:pt x="8769" y="6978"/>
                    <a:pt x="8675" y="8186"/>
                    <a:pt x="8184" y="9262"/>
                  </a:cubicBezTo>
                  <a:lnTo>
                    <a:pt x="10126" y="10718"/>
                  </a:lnTo>
                  <a:cubicBezTo>
                    <a:pt x="10126" y="10718"/>
                    <a:pt x="11619" y="8259"/>
                    <a:pt x="11619" y="8259"/>
                  </a:cubicBezTo>
                  <a:close/>
                  <a:moveTo>
                    <a:pt x="7096" y="9656"/>
                  </a:moveTo>
                  <a:lnTo>
                    <a:pt x="4125" y="7430"/>
                  </a:lnTo>
                  <a:cubicBezTo>
                    <a:pt x="3919" y="7275"/>
                    <a:pt x="3865" y="6964"/>
                    <a:pt x="4004" y="6735"/>
                  </a:cubicBezTo>
                  <a:cubicBezTo>
                    <a:pt x="4067" y="6631"/>
                    <a:pt x="4159" y="6564"/>
                    <a:pt x="4260" y="6533"/>
                  </a:cubicBezTo>
                  <a:lnTo>
                    <a:pt x="4259" y="6531"/>
                  </a:lnTo>
                  <a:lnTo>
                    <a:pt x="7505" y="5212"/>
                  </a:lnTo>
                  <a:cubicBezTo>
                    <a:pt x="7238" y="4652"/>
                    <a:pt x="6848" y="4155"/>
                    <a:pt x="6343" y="3777"/>
                  </a:cubicBezTo>
                  <a:cubicBezTo>
                    <a:pt x="4697" y="2543"/>
                    <a:pt x="2452" y="3030"/>
                    <a:pt x="1339" y="4862"/>
                  </a:cubicBezTo>
                  <a:cubicBezTo>
                    <a:pt x="227" y="6694"/>
                    <a:pt x="661" y="9188"/>
                    <a:pt x="2308" y="10422"/>
                  </a:cubicBezTo>
                  <a:cubicBezTo>
                    <a:pt x="3854" y="11580"/>
                    <a:pt x="5928" y="11221"/>
                    <a:pt x="7096" y="9656"/>
                  </a:cubicBezTo>
                  <a:close/>
                  <a:moveTo>
                    <a:pt x="5362" y="7148"/>
                  </a:moveTo>
                  <a:lnTo>
                    <a:pt x="7578" y="8808"/>
                  </a:lnTo>
                  <a:cubicBezTo>
                    <a:pt x="7940" y="7960"/>
                    <a:pt x="8013" y="7021"/>
                    <a:pt x="7822" y="6148"/>
                  </a:cubicBezTo>
                  <a:cubicBezTo>
                    <a:pt x="7822" y="6148"/>
                    <a:pt x="5362" y="7148"/>
                    <a:pt x="5362" y="7148"/>
                  </a:cubicBezTo>
                  <a:close/>
                  <a:moveTo>
                    <a:pt x="19668" y="18594"/>
                  </a:moveTo>
                  <a:cubicBezTo>
                    <a:pt x="18331" y="20796"/>
                    <a:pt x="15642" y="21379"/>
                    <a:pt x="13663" y="19896"/>
                  </a:cubicBezTo>
                  <a:cubicBezTo>
                    <a:pt x="11684" y="18413"/>
                    <a:pt x="11164" y="15426"/>
                    <a:pt x="12501" y="13224"/>
                  </a:cubicBezTo>
                  <a:cubicBezTo>
                    <a:pt x="13276" y="11948"/>
                    <a:pt x="14505" y="11216"/>
                    <a:pt x="15787" y="11115"/>
                  </a:cubicBezTo>
                  <a:lnTo>
                    <a:pt x="15791" y="10101"/>
                  </a:lnTo>
                  <a:lnTo>
                    <a:pt x="11595" y="12059"/>
                  </a:lnTo>
                  <a:cubicBezTo>
                    <a:pt x="11028" y="12983"/>
                    <a:pt x="10547" y="13764"/>
                    <a:pt x="10524" y="13787"/>
                  </a:cubicBezTo>
                  <a:cubicBezTo>
                    <a:pt x="10135" y="14180"/>
                    <a:pt x="9533" y="14149"/>
                    <a:pt x="9180" y="13717"/>
                  </a:cubicBezTo>
                  <a:cubicBezTo>
                    <a:pt x="8879" y="13349"/>
                    <a:pt x="8857" y="12810"/>
                    <a:pt x="9097" y="12415"/>
                  </a:cubicBezTo>
                  <a:lnTo>
                    <a:pt x="9096" y="12414"/>
                  </a:lnTo>
                  <a:lnTo>
                    <a:pt x="9622" y="11548"/>
                  </a:lnTo>
                  <a:lnTo>
                    <a:pt x="7695" y="10105"/>
                  </a:lnTo>
                  <a:cubicBezTo>
                    <a:pt x="6301" y="12039"/>
                    <a:pt x="3783" y="12494"/>
                    <a:pt x="1904" y="11086"/>
                  </a:cubicBezTo>
                  <a:cubicBezTo>
                    <a:pt x="-75" y="9603"/>
                    <a:pt x="-595" y="6616"/>
                    <a:pt x="742" y="4414"/>
                  </a:cubicBezTo>
                  <a:cubicBezTo>
                    <a:pt x="2079" y="2212"/>
                    <a:pt x="4768" y="1629"/>
                    <a:pt x="6747" y="3112"/>
                  </a:cubicBezTo>
                  <a:cubicBezTo>
                    <a:pt x="7383" y="3589"/>
                    <a:pt x="7868" y="4222"/>
                    <a:pt x="8189" y="4933"/>
                  </a:cubicBezTo>
                  <a:lnTo>
                    <a:pt x="9242" y="4506"/>
                  </a:lnTo>
                  <a:cubicBezTo>
                    <a:pt x="9107" y="3945"/>
                    <a:pt x="9252" y="3323"/>
                    <a:pt x="9665" y="2905"/>
                  </a:cubicBezTo>
                  <a:cubicBezTo>
                    <a:pt x="9859" y="2709"/>
                    <a:pt x="10089" y="2584"/>
                    <a:pt x="10328" y="2526"/>
                  </a:cubicBezTo>
                  <a:lnTo>
                    <a:pt x="10328" y="2525"/>
                  </a:lnTo>
                  <a:lnTo>
                    <a:pt x="15055" y="1211"/>
                  </a:lnTo>
                  <a:lnTo>
                    <a:pt x="15055" y="1211"/>
                  </a:lnTo>
                  <a:cubicBezTo>
                    <a:pt x="15587" y="1000"/>
                    <a:pt x="16204" y="1148"/>
                    <a:pt x="16607" y="1641"/>
                  </a:cubicBezTo>
                  <a:cubicBezTo>
                    <a:pt x="16925" y="2031"/>
                    <a:pt x="17037" y="2548"/>
                    <a:pt x="16952" y="3028"/>
                  </a:cubicBezTo>
                  <a:lnTo>
                    <a:pt x="16953" y="3029"/>
                  </a:lnTo>
                  <a:lnTo>
                    <a:pt x="16496" y="5740"/>
                  </a:lnTo>
                  <a:lnTo>
                    <a:pt x="18231" y="7041"/>
                  </a:lnTo>
                  <a:cubicBezTo>
                    <a:pt x="18561" y="7288"/>
                    <a:pt x="18648" y="7786"/>
                    <a:pt x="18425" y="8153"/>
                  </a:cubicBezTo>
                  <a:cubicBezTo>
                    <a:pt x="18217" y="8496"/>
                    <a:pt x="17812" y="8599"/>
                    <a:pt x="17491" y="8409"/>
                  </a:cubicBezTo>
                  <a:lnTo>
                    <a:pt x="16693" y="9723"/>
                  </a:lnTo>
                  <a:lnTo>
                    <a:pt x="16688" y="11148"/>
                  </a:lnTo>
                  <a:cubicBezTo>
                    <a:pt x="17320" y="11245"/>
                    <a:pt x="17941" y="11499"/>
                    <a:pt x="18505" y="11922"/>
                  </a:cubicBezTo>
                  <a:cubicBezTo>
                    <a:pt x="20485" y="13405"/>
                    <a:pt x="21005" y="16392"/>
                    <a:pt x="19668" y="18594"/>
                  </a:cubicBezTo>
                  <a:close/>
                  <a:moveTo>
                    <a:pt x="17732" y="707"/>
                  </a:moveTo>
                  <a:cubicBezTo>
                    <a:pt x="18178" y="-27"/>
                    <a:pt x="19074" y="-221"/>
                    <a:pt x="19734" y="273"/>
                  </a:cubicBezTo>
                  <a:cubicBezTo>
                    <a:pt x="20394" y="767"/>
                    <a:pt x="20567" y="1763"/>
                    <a:pt x="20121" y="2497"/>
                  </a:cubicBezTo>
                  <a:cubicBezTo>
                    <a:pt x="19676" y="3231"/>
                    <a:pt x="18780" y="3426"/>
                    <a:pt x="18120" y="2931"/>
                  </a:cubicBezTo>
                  <a:cubicBezTo>
                    <a:pt x="17460" y="2437"/>
                    <a:pt x="17287" y="1441"/>
                    <a:pt x="17732"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2" name="Shape 10373">
              <a:extLst>
                <a:ext uri="{FF2B5EF4-FFF2-40B4-BE49-F238E27FC236}">
                  <a16:creationId xmlns:a16="http://schemas.microsoft.com/office/drawing/2014/main" xmlns="" id="{A00718F8-C8CA-4A2A-A731-B0F48881C486}"/>
                </a:ext>
              </a:extLst>
            </p:cNvPr>
            <p:cNvSpPr/>
            <p:nvPr/>
          </p:nvSpPr>
          <p:spPr>
            <a:xfrm>
              <a:off x="16553258" y="7552786"/>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3" name="Shape 10374">
              <a:extLst>
                <a:ext uri="{FF2B5EF4-FFF2-40B4-BE49-F238E27FC236}">
                  <a16:creationId xmlns:a16="http://schemas.microsoft.com/office/drawing/2014/main" xmlns="" id="{AAE38B2F-04DE-431E-81BB-BE8DE349E666}"/>
                </a:ext>
              </a:extLst>
            </p:cNvPr>
            <p:cNvSpPr/>
            <p:nvPr/>
          </p:nvSpPr>
          <p:spPr>
            <a:xfrm>
              <a:off x="16997004" y="6816973"/>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4" name="Shape 10375">
              <a:extLst>
                <a:ext uri="{FF2B5EF4-FFF2-40B4-BE49-F238E27FC236}">
                  <a16:creationId xmlns:a16="http://schemas.microsoft.com/office/drawing/2014/main" xmlns="" id="{A796769C-B3E2-4552-A10F-F662E49DDB61}"/>
                </a:ext>
              </a:extLst>
            </p:cNvPr>
            <p:cNvSpPr/>
            <p:nvPr/>
          </p:nvSpPr>
          <p:spPr>
            <a:xfrm>
              <a:off x="17636354" y="4813021"/>
              <a:ext cx="520971" cy="676949"/>
            </a:xfrm>
            <a:custGeom>
              <a:avLst/>
              <a:gdLst/>
              <a:ahLst/>
              <a:cxnLst>
                <a:cxn ang="0">
                  <a:pos x="wd2" y="hd2"/>
                </a:cxn>
                <a:cxn ang="5400000">
                  <a:pos x="wd2" y="hd2"/>
                </a:cxn>
                <a:cxn ang="10800000">
                  <a:pos x="wd2" y="hd2"/>
                </a:cxn>
                <a:cxn ang="16200000">
                  <a:pos x="wd2" y="hd2"/>
                </a:cxn>
              </a:cxnLst>
              <a:rect l="0" t="0" r="r" b="b"/>
              <a:pathLst>
                <a:path w="20438" h="21519" extrusionOk="0">
                  <a:moveTo>
                    <a:pt x="9842" y="0"/>
                  </a:moveTo>
                  <a:cubicBezTo>
                    <a:pt x="7324" y="0"/>
                    <a:pt x="4803" y="774"/>
                    <a:pt x="2881" y="2331"/>
                  </a:cubicBezTo>
                  <a:cubicBezTo>
                    <a:pt x="-961" y="5445"/>
                    <a:pt x="-961" y="10493"/>
                    <a:pt x="2881" y="13607"/>
                  </a:cubicBezTo>
                  <a:cubicBezTo>
                    <a:pt x="6005" y="16138"/>
                    <a:pt x="10709" y="16613"/>
                    <a:pt x="14423" y="15030"/>
                  </a:cubicBezTo>
                  <a:cubicBezTo>
                    <a:pt x="14434" y="15103"/>
                    <a:pt x="14466" y="15175"/>
                    <a:pt x="14515" y="15243"/>
                  </a:cubicBezTo>
                  <a:lnTo>
                    <a:pt x="18781" y="21235"/>
                  </a:lnTo>
                  <a:cubicBezTo>
                    <a:pt x="18974" y="21506"/>
                    <a:pt x="19402" y="21600"/>
                    <a:pt x="19736" y="21444"/>
                  </a:cubicBezTo>
                  <a:lnTo>
                    <a:pt x="20091" y="21277"/>
                  </a:lnTo>
                  <a:cubicBezTo>
                    <a:pt x="20425" y="21121"/>
                    <a:pt x="20535" y="20774"/>
                    <a:pt x="20343" y="20503"/>
                  </a:cubicBezTo>
                  <a:lnTo>
                    <a:pt x="16076" y="14515"/>
                  </a:lnTo>
                  <a:cubicBezTo>
                    <a:pt x="16007" y="14419"/>
                    <a:pt x="15903" y="14355"/>
                    <a:pt x="15790" y="14307"/>
                  </a:cubicBezTo>
                  <a:cubicBezTo>
                    <a:pt x="16138" y="14092"/>
                    <a:pt x="16479" y="13864"/>
                    <a:pt x="16797" y="13607"/>
                  </a:cubicBezTo>
                  <a:cubicBezTo>
                    <a:pt x="20639" y="10493"/>
                    <a:pt x="20639" y="5445"/>
                    <a:pt x="16797" y="2331"/>
                  </a:cubicBezTo>
                  <a:cubicBezTo>
                    <a:pt x="14875" y="774"/>
                    <a:pt x="12360" y="0"/>
                    <a:pt x="9842" y="0"/>
                  </a:cubicBezTo>
                  <a:close/>
                  <a:moveTo>
                    <a:pt x="9842" y="1251"/>
                  </a:moveTo>
                  <a:cubicBezTo>
                    <a:pt x="11963" y="1251"/>
                    <a:pt x="14085" y="1909"/>
                    <a:pt x="15704" y="3221"/>
                  </a:cubicBezTo>
                  <a:cubicBezTo>
                    <a:pt x="18942" y="5844"/>
                    <a:pt x="18942" y="10098"/>
                    <a:pt x="15704" y="12722"/>
                  </a:cubicBezTo>
                  <a:cubicBezTo>
                    <a:pt x="12467" y="15345"/>
                    <a:pt x="7217" y="15345"/>
                    <a:pt x="3980" y="12722"/>
                  </a:cubicBezTo>
                  <a:cubicBezTo>
                    <a:pt x="742" y="10098"/>
                    <a:pt x="742" y="5844"/>
                    <a:pt x="3980" y="3221"/>
                  </a:cubicBezTo>
                  <a:cubicBezTo>
                    <a:pt x="5598" y="1909"/>
                    <a:pt x="7720" y="1251"/>
                    <a:pt x="9842" y="12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5" name="Shape 10376">
              <a:extLst>
                <a:ext uri="{FF2B5EF4-FFF2-40B4-BE49-F238E27FC236}">
                  <a16:creationId xmlns:a16="http://schemas.microsoft.com/office/drawing/2014/main" xmlns="" id="{9896B7E8-323F-4F12-BAE3-2FCD45D325F4}"/>
                </a:ext>
              </a:extLst>
            </p:cNvPr>
            <p:cNvSpPr/>
            <p:nvPr/>
          </p:nvSpPr>
          <p:spPr>
            <a:xfrm>
              <a:off x="16445562" y="5853037"/>
              <a:ext cx="1109876" cy="786703"/>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6" name="Shape 10377">
              <a:extLst>
                <a:ext uri="{FF2B5EF4-FFF2-40B4-BE49-F238E27FC236}">
                  <a16:creationId xmlns:a16="http://schemas.microsoft.com/office/drawing/2014/main" xmlns="" id="{C9566ECD-760E-43E1-B904-4C0E3700646A}"/>
                </a:ext>
              </a:extLst>
            </p:cNvPr>
            <p:cNvSpPr/>
            <p:nvPr/>
          </p:nvSpPr>
          <p:spPr>
            <a:xfrm>
              <a:off x="20790043" y="5991818"/>
              <a:ext cx="864563" cy="744816"/>
            </a:xfrm>
            <a:custGeom>
              <a:avLst/>
              <a:gdLst/>
              <a:ahLst/>
              <a:cxnLst>
                <a:cxn ang="0">
                  <a:pos x="wd2" y="hd2"/>
                </a:cxn>
                <a:cxn ang="5400000">
                  <a:pos x="wd2" y="hd2"/>
                </a:cxn>
                <a:cxn ang="10800000">
                  <a:pos x="wd2" y="hd2"/>
                </a:cxn>
                <a:cxn ang="16200000">
                  <a:pos x="wd2" y="hd2"/>
                </a:cxn>
              </a:cxnLst>
              <a:rect l="0" t="0" r="r" b="b"/>
              <a:pathLst>
                <a:path w="21600" h="21600" extrusionOk="0">
                  <a:moveTo>
                    <a:pt x="4937" y="21600"/>
                  </a:moveTo>
                  <a:cubicBezTo>
                    <a:pt x="7087" y="19915"/>
                    <a:pt x="7254" y="17403"/>
                    <a:pt x="7225" y="15022"/>
                  </a:cubicBezTo>
                  <a:cubicBezTo>
                    <a:pt x="9087" y="15916"/>
                    <a:pt x="11129" y="16612"/>
                    <a:pt x="13235" y="14961"/>
                  </a:cubicBezTo>
                  <a:cubicBezTo>
                    <a:pt x="15319" y="13326"/>
                    <a:pt x="15547" y="10891"/>
                    <a:pt x="15533" y="8574"/>
                  </a:cubicBezTo>
                  <a:cubicBezTo>
                    <a:pt x="17412" y="9482"/>
                    <a:pt x="19470" y="10214"/>
                    <a:pt x="21600" y="8543"/>
                  </a:cubicBezTo>
                  <a:lnTo>
                    <a:pt x="20969" y="7441"/>
                  </a:lnTo>
                  <a:cubicBezTo>
                    <a:pt x="19165" y="8855"/>
                    <a:pt x="17455" y="8115"/>
                    <a:pt x="15526" y="7147"/>
                  </a:cubicBezTo>
                  <a:cubicBezTo>
                    <a:pt x="15470" y="4670"/>
                    <a:pt x="15489" y="2522"/>
                    <a:pt x="17315" y="1092"/>
                  </a:cubicBezTo>
                  <a:lnTo>
                    <a:pt x="16670" y="0"/>
                  </a:lnTo>
                  <a:cubicBezTo>
                    <a:pt x="14521" y="1685"/>
                    <a:pt x="14346" y="4208"/>
                    <a:pt x="14375" y="6589"/>
                  </a:cubicBezTo>
                  <a:cubicBezTo>
                    <a:pt x="12514" y="5696"/>
                    <a:pt x="10476" y="5018"/>
                    <a:pt x="8371" y="6668"/>
                  </a:cubicBezTo>
                  <a:cubicBezTo>
                    <a:pt x="6282" y="8306"/>
                    <a:pt x="6070" y="10724"/>
                    <a:pt x="6085" y="13045"/>
                  </a:cubicBezTo>
                  <a:cubicBezTo>
                    <a:pt x="4204" y="12134"/>
                    <a:pt x="2134" y="11396"/>
                    <a:pt x="0" y="13068"/>
                  </a:cubicBezTo>
                  <a:cubicBezTo>
                    <a:pt x="0" y="13068"/>
                    <a:pt x="641" y="14162"/>
                    <a:pt x="641" y="14162"/>
                  </a:cubicBezTo>
                  <a:cubicBezTo>
                    <a:pt x="2449" y="12745"/>
                    <a:pt x="4156" y="13499"/>
                    <a:pt x="6093" y="14471"/>
                  </a:cubicBezTo>
                  <a:cubicBezTo>
                    <a:pt x="6148" y="16943"/>
                    <a:pt x="6117" y="19084"/>
                    <a:pt x="4295" y="20512"/>
                  </a:cubicBezTo>
                  <a:lnTo>
                    <a:pt x="4937" y="21600"/>
                  </a:lnTo>
                  <a:close/>
                  <a:moveTo>
                    <a:pt x="4054" y="19679"/>
                  </a:moveTo>
                  <a:cubicBezTo>
                    <a:pt x="4369" y="19426"/>
                    <a:pt x="4614" y="19148"/>
                    <a:pt x="4809" y="18844"/>
                  </a:cubicBezTo>
                  <a:cubicBezTo>
                    <a:pt x="4809" y="18844"/>
                    <a:pt x="2134" y="14221"/>
                    <a:pt x="2134" y="14221"/>
                  </a:cubicBezTo>
                  <a:cubicBezTo>
                    <a:pt x="1820" y="14319"/>
                    <a:pt x="1507" y="14483"/>
                    <a:pt x="1188" y="14730"/>
                  </a:cubicBezTo>
                  <a:lnTo>
                    <a:pt x="4054" y="19679"/>
                  </a:lnTo>
                  <a:close/>
                  <a:moveTo>
                    <a:pt x="5303" y="17641"/>
                  </a:moveTo>
                  <a:cubicBezTo>
                    <a:pt x="5447" y="17150"/>
                    <a:pt x="5511" y="16611"/>
                    <a:pt x="5534" y="16026"/>
                  </a:cubicBezTo>
                  <a:lnTo>
                    <a:pt x="4636" y="14466"/>
                  </a:lnTo>
                  <a:cubicBezTo>
                    <a:pt x="4164" y="14273"/>
                    <a:pt x="3712" y="14138"/>
                    <a:pt x="3269" y="14112"/>
                  </a:cubicBezTo>
                  <a:lnTo>
                    <a:pt x="5303" y="17641"/>
                  </a:lnTo>
                  <a:close/>
                  <a:moveTo>
                    <a:pt x="7218" y="13596"/>
                  </a:moveTo>
                  <a:cubicBezTo>
                    <a:pt x="7170" y="11212"/>
                    <a:pt x="7244" y="9148"/>
                    <a:pt x="9015" y="7760"/>
                  </a:cubicBezTo>
                  <a:cubicBezTo>
                    <a:pt x="10800" y="6360"/>
                    <a:pt x="12484" y="7073"/>
                    <a:pt x="14389" y="8027"/>
                  </a:cubicBezTo>
                  <a:cubicBezTo>
                    <a:pt x="14437" y="10403"/>
                    <a:pt x="14371" y="12473"/>
                    <a:pt x="12604" y="13859"/>
                  </a:cubicBezTo>
                  <a:cubicBezTo>
                    <a:pt x="10819" y="15258"/>
                    <a:pt x="9123" y="14549"/>
                    <a:pt x="7218" y="13596"/>
                  </a:cubicBezTo>
                  <a:close/>
                  <a:moveTo>
                    <a:pt x="9128" y="13531"/>
                  </a:moveTo>
                  <a:cubicBezTo>
                    <a:pt x="9683" y="13753"/>
                    <a:pt x="10215" y="13899"/>
                    <a:pt x="10736" y="13922"/>
                  </a:cubicBezTo>
                  <a:lnTo>
                    <a:pt x="8270" y="9693"/>
                  </a:lnTo>
                  <a:cubicBezTo>
                    <a:pt x="8094" y="10262"/>
                    <a:pt x="8018" y="10890"/>
                    <a:pt x="7988" y="11570"/>
                  </a:cubicBezTo>
                  <a:lnTo>
                    <a:pt x="9128" y="13531"/>
                  </a:lnTo>
                  <a:close/>
                  <a:moveTo>
                    <a:pt x="11711" y="13445"/>
                  </a:moveTo>
                  <a:cubicBezTo>
                    <a:pt x="11906" y="13348"/>
                    <a:pt x="12100" y="13226"/>
                    <a:pt x="12298" y="13067"/>
                  </a:cubicBezTo>
                  <a:cubicBezTo>
                    <a:pt x="12398" y="12988"/>
                    <a:pt x="12489" y="12904"/>
                    <a:pt x="12577" y="12819"/>
                  </a:cubicBezTo>
                  <a:lnTo>
                    <a:pt x="9787" y="7934"/>
                  </a:lnTo>
                  <a:cubicBezTo>
                    <a:pt x="9688" y="7998"/>
                    <a:pt x="9589" y="8069"/>
                    <a:pt x="9488" y="8149"/>
                  </a:cubicBezTo>
                  <a:cubicBezTo>
                    <a:pt x="9290" y="8307"/>
                    <a:pt x="9121" y="8474"/>
                    <a:pt x="8972" y="8652"/>
                  </a:cubicBezTo>
                  <a:lnTo>
                    <a:pt x="11711" y="13445"/>
                  </a:lnTo>
                  <a:close/>
                  <a:moveTo>
                    <a:pt x="13407" y="12000"/>
                  </a:moveTo>
                  <a:cubicBezTo>
                    <a:pt x="13611" y="11527"/>
                    <a:pt x="13723" y="11008"/>
                    <a:pt x="13784" y="10444"/>
                  </a:cubicBezTo>
                  <a:lnTo>
                    <a:pt x="12283" y="7830"/>
                  </a:lnTo>
                  <a:cubicBezTo>
                    <a:pt x="11815" y="7685"/>
                    <a:pt x="11363" y="7615"/>
                    <a:pt x="10913" y="7660"/>
                  </a:cubicBezTo>
                  <a:lnTo>
                    <a:pt x="13407" y="12000"/>
                  </a:lnTo>
                  <a:close/>
                  <a:moveTo>
                    <a:pt x="16965" y="7123"/>
                  </a:moveTo>
                  <a:cubicBezTo>
                    <a:pt x="17421" y="7289"/>
                    <a:pt x="17855" y="7394"/>
                    <a:pt x="18279" y="7398"/>
                  </a:cubicBezTo>
                  <a:lnTo>
                    <a:pt x="16261" y="4044"/>
                  </a:lnTo>
                  <a:cubicBezTo>
                    <a:pt x="16133" y="4533"/>
                    <a:pt x="16081" y="5067"/>
                    <a:pt x="16071" y="5642"/>
                  </a:cubicBezTo>
                  <a:lnTo>
                    <a:pt x="16965" y="7123"/>
                  </a:lnTo>
                  <a:close/>
                  <a:moveTo>
                    <a:pt x="19610" y="7085"/>
                  </a:moveTo>
                  <a:cubicBezTo>
                    <a:pt x="19909" y="6982"/>
                    <a:pt x="20208" y="6817"/>
                    <a:pt x="20510" y="6570"/>
                  </a:cubicBezTo>
                  <a:lnTo>
                    <a:pt x="17721" y="1845"/>
                  </a:lnTo>
                  <a:cubicBezTo>
                    <a:pt x="17423" y="2098"/>
                    <a:pt x="17191" y="2376"/>
                    <a:pt x="17007" y="2675"/>
                  </a:cubicBezTo>
                  <a:cubicBezTo>
                    <a:pt x="17007" y="2675"/>
                    <a:pt x="19610" y="7085"/>
                    <a:pt x="19610" y="7085"/>
                  </a:cubicBezTo>
                  <a:close/>
                </a:path>
              </a:pathLst>
            </a:custGeom>
            <a:solidFill>
              <a:schemeClr val="accent3"/>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7" name="Shape 10378">
              <a:extLst>
                <a:ext uri="{FF2B5EF4-FFF2-40B4-BE49-F238E27FC236}">
                  <a16:creationId xmlns:a16="http://schemas.microsoft.com/office/drawing/2014/main" xmlns="" id="{16992405-4F1C-4C52-B124-6D38E06FADD6}"/>
                </a:ext>
              </a:extLst>
            </p:cNvPr>
            <p:cNvSpPr/>
            <p:nvPr/>
          </p:nvSpPr>
          <p:spPr>
            <a:xfrm>
              <a:off x="19313512" y="496652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8" name="Shape 10379">
              <a:extLst>
                <a:ext uri="{FF2B5EF4-FFF2-40B4-BE49-F238E27FC236}">
                  <a16:creationId xmlns:a16="http://schemas.microsoft.com/office/drawing/2014/main" xmlns="" id="{D9A6D358-7927-495B-8108-EB51F7635A53}"/>
                </a:ext>
              </a:extLst>
            </p:cNvPr>
            <p:cNvSpPr/>
            <p:nvPr/>
          </p:nvSpPr>
          <p:spPr>
            <a:xfrm>
              <a:off x="18944723" y="8111996"/>
              <a:ext cx="642360" cy="720761"/>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39" name="Shape 10380">
              <a:extLst>
                <a:ext uri="{FF2B5EF4-FFF2-40B4-BE49-F238E27FC236}">
                  <a16:creationId xmlns:a16="http://schemas.microsoft.com/office/drawing/2014/main" xmlns="" id="{B4A74456-8BBA-4DED-9D2E-E686F36DB423}"/>
                </a:ext>
              </a:extLst>
            </p:cNvPr>
            <p:cNvSpPr/>
            <p:nvPr/>
          </p:nvSpPr>
          <p:spPr>
            <a:xfrm>
              <a:off x="15975644" y="5388220"/>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0" name="Shape 10381">
              <a:extLst>
                <a:ext uri="{FF2B5EF4-FFF2-40B4-BE49-F238E27FC236}">
                  <a16:creationId xmlns:a16="http://schemas.microsoft.com/office/drawing/2014/main" xmlns="" id="{7290C049-B71D-4470-82DE-CDD81ED9798D}"/>
                </a:ext>
              </a:extLst>
            </p:cNvPr>
            <p:cNvSpPr/>
            <p:nvPr/>
          </p:nvSpPr>
          <p:spPr>
            <a:xfrm>
              <a:off x="19403393" y="8407637"/>
              <a:ext cx="524619" cy="750132"/>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1" name="Shape 10382">
              <a:extLst>
                <a:ext uri="{FF2B5EF4-FFF2-40B4-BE49-F238E27FC236}">
                  <a16:creationId xmlns:a16="http://schemas.microsoft.com/office/drawing/2014/main" xmlns="" id="{EFBA02BA-99D2-475F-A6AD-06C52058740F}"/>
                </a:ext>
              </a:extLst>
            </p:cNvPr>
            <p:cNvSpPr/>
            <p:nvPr/>
          </p:nvSpPr>
          <p:spPr>
            <a:xfrm>
              <a:off x="16734120" y="4497805"/>
              <a:ext cx="706825" cy="831589"/>
            </a:xfrm>
            <a:custGeom>
              <a:avLst/>
              <a:gdLst/>
              <a:ahLst/>
              <a:cxnLst>
                <a:cxn ang="0">
                  <a:pos x="wd2" y="hd2"/>
                </a:cxn>
                <a:cxn ang="5400000">
                  <a:pos x="wd2" y="hd2"/>
                </a:cxn>
                <a:cxn ang="10800000">
                  <a:pos x="wd2" y="hd2"/>
                </a:cxn>
                <a:cxn ang="16200000">
                  <a:pos x="wd2" y="hd2"/>
                </a:cxn>
              </a:cxnLst>
              <a:rect l="0" t="0" r="r" b="b"/>
              <a:pathLst>
                <a:path w="19201" h="21329" extrusionOk="0">
                  <a:moveTo>
                    <a:pt x="9479" y="69"/>
                  </a:moveTo>
                  <a:cubicBezTo>
                    <a:pt x="11124" y="274"/>
                    <a:pt x="12739" y="925"/>
                    <a:pt x="14086" y="2032"/>
                  </a:cubicBezTo>
                  <a:cubicBezTo>
                    <a:pt x="15976" y="3586"/>
                    <a:pt x="17010" y="5836"/>
                    <a:pt x="16935" y="8190"/>
                  </a:cubicBezTo>
                  <a:cubicBezTo>
                    <a:pt x="16907" y="10081"/>
                    <a:pt x="16182" y="11891"/>
                    <a:pt x="14858" y="13324"/>
                  </a:cubicBezTo>
                  <a:cubicBezTo>
                    <a:pt x="12857" y="15491"/>
                    <a:pt x="9835" y="16494"/>
                    <a:pt x="6856" y="15992"/>
                  </a:cubicBezTo>
                  <a:cubicBezTo>
                    <a:pt x="491" y="14715"/>
                    <a:pt x="-2156" y="7496"/>
                    <a:pt x="2011" y="2776"/>
                  </a:cubicBezTo>
                  <a:cubicBezTo>
                    <a:pt x="3901" y="635"/>
                    <a:pt x="6739" y="-271"/>
                    <a:pt x="9479" y="69"/>
                  </a:cubicBezTo>
                  <a:close/>
                  <a:moveTo>
                    <a:pt x="16811" y="1700"/>
                  </a:moveTo>
                  <a:cubicBezTo>
                    <a:pt x="18616" y="3812"/>
                    <a:pt x="19444" y="6467"/>
                    <a:pt x="19139" y="9165"/>
                  </a:cubicBezTo>
                  <a:cubicBezTo>
                    <a:pt x="18834" y="11863"/>
                    <a:pt x="17427" y="14284"/>
                    <a:pt x="15191" y="15988"/>
                  </a:cubicBezTo>
                  <a:cubicBezTo>
                    <a:pt x="12662" y="17916"/>
                    <a:pt x="9407" y="18600"/>
                    <a:pt x="6359" y="18040"/>
                  </a:cubicBezTo>
                  <a:cubicBezTo>
                    <a:pt x="5749" y="17929"/>
                    <a:pt x="5143" y="17767"/>
                    <a:pt x="4558" y="17555"/>
                  </a:cubicBezTo>
                  <a:lnTo>
                    <a:pt x="4164" y="19468"/>
                  </a:lnTo>
                  <a:lnTo>
                    <a:pt x="7063" y="20000"/>
                  </a:lnTo>
                  <a:lnTo>
                    <a:pt x="6790" y="21329"/>
                  </a:lnTo>
                  <a:lnTo>
                    <a:pt x="227" y="20124"/>
                  </a:lnTo>
                  <a:lnTo>
                    <a:pt x="500" y="18796"/>
                  </a:lnTo>
                  <a:lnTo>
                    <a:pt x="2757" y="19210"/>
                  </a:lnTo>
                  <a:lnTo>
                    <a:pt x="3219" y="16965"/>
                  </a:lnTo>
                  <a:cubicBezTo>
                    <a:pt x="2951" y="16825"/>
                    <a:pt x="2688" y="16674"/>
                    <a:pt x="2431" y="16511"/>
                  </a:cubicBezTo>
                  <a:cubicBezTo>
                    <a:pt x="2174" y="16349"/>
                    <a:pt x="1928" y="16168"/>
                    <a:pt x="1684" y="15982"/>
                  </a:cubicBezTo>
                  <a:lnTo>
                    <a:pt x="2580" y="14934"/>
                  </a:lnTo>
                  <a:cubicBezTo>
                    <a:pt x="5970" y="17523"/>
                    <a:pt x="10902" y="17523"/>
                    <a:pt x="14300" y="14933"/>
                  </a:cubicBezTo>
                  <a:cubicBezTo>
                    <a:pt x="16239" y="13456"/>
                    <a:pt x="17444" y="11360"/>
                    <a:pt x="17708" y="9021"/>
                  </a:cubicBezTo>
                  <a:cubicBezTo>
                    <a:pt x="17973" y="6682"/>
                    <a:pt x="17267" y="4385"/>
                    <a:pt x="15703" y="2555"/>
                  </a:cubicBezTo>
                  <a:lnTo>
                    <a:pt x="16811" y="1700"/>
                  </a:lnTo>
                  <a:close/>
                  <a:moveTo>
                    <a:pt x="9715" y="1064"/>
                  </a:moveTo>
                  <a:cubicBezTo>
                    <a:pt x="9278" y="996"/>
                    <a:pt x="8832" y="968"/>
                    <a:pt x="8387" y="974"/>
                  </a:cubicBezTo>
                  <a:cubicBezTo>
                    <a:pt x="8460" y="1222"/>
                    <a:pt x="8544" y="1461"/>
                    <a:pt x="8641" y="1699"/>
                  </a:cubicBezTo>
                  <a:cubicBezTo>
                    <a:pt x="8737" y="1936"/>
                    <a:pt x="8846" y="2172"/>
                    <a:pt x="8962" y="2399"/>
                  </a:cubicBezTo>
                  <a:cubicBezTo>
                    <a:pt x="9289" y="2208"/>
                    <a:pt x="9627" y="2028"/>
                    <a:pt x="9967" y="1859"/>
                  </a:cubicBezTo>
                  <a:cubicBezTo>
                    <a:pt x="10307" y="1689"/>
                    <a:pt x="10645" y="1529"/>
                    <a:pt x="10997" y="1382"/>
                  </a:cubicBezTo>
                  <a:cubicBezTo>
                    <a:pt x="10579" y="1244"/>
                    <a:pt x="10153" y="1132"/>
                    <a:pt x="9715" y="1064"/>
                  </a:cubicBezTo>
                  <a:close/>
                  <a:moveTo>
                    <a:pt x="12202" y="1889"/>
                  </a:moveTo>
                  <a:cubicBezTo>
                    <a:pt x="11715" y="2060"/>
                    <a:pt x="11237" y="2254"/>
                    <a:pt x="10773" y="2470"/>
                  </a:cubicBezTo>
                  <a:cubicBezTo>
                    <a:pt x="10309" y="2687"/>
                    <a:pt x="9856" y="2925"/>
                    <a:pt x="9417" y="3184"/>
                  </a:cubicBezTo>
                  <a:cubicBezTo>
                    <a:pt x="9617" y="3488"/>
                    <a:pt x="9841" y="3788"/>
                    <a:pt x="10079" y="4067"/>
                  </a:cubicBezTo>
                  <a:cubicBezTo>
                    <a:pt x="10318" y="4345"/>
                    <a:pt x="10571" y="4610"/>
                    <a:pt x="10847" y="4861"/>
                  </a:cubicBezTo>
                  <a:lnTo>
                    <a:pt x="13083" y="2442"/>
                  </a:lnTo>
                  <a:cubicBezTo>
                    <a:pt x="12944" y="2342"/>
                    <a:pt x="12798" y="2240"/>
                    <a:pt x="12652" y="2149"/>
                  </a:cubicBezTo>
                  <a:cubicBezTo>
                    <a:pt x="12506" y="2059"/>
                    <a:pt x="12354" y="1969"/>
                    <a:pt x="12202" y="1889"/>
                  </a:cubicBezTo>
                  <a:close/>
                  <a:moveTo>
                    <a:pt x="7362" y="1000"/>
                  </a:moveTo>
                  <a:cubicBezTo>
                    <a:pt x="6540" y="1111"/>
                    <a:pt x="5754" y="1343"/>
                    <a:pt x="5029" y="1689"/>
                  </a:cubicBezTo>
                  <a:cubicBezTo>
                    <a:pt x="4305" y="2035"/>
                    <a:pt x="3644" y="2485"/>
                    <a:pt x="3064" y="3041"/>
                  </a:cubicBezTo>
                  <a:lnTo>
                    <a:pt x="5529" y="5074"/>
                  </a:lnTo>
                  <a:cubicBezTo>
                    <a:pt x="5922" y="4671"/>
                    <a:pt x="6339" y="4283"/>
                    <a:pt x="6773" y="3923"/>
                  </a:cubicBezTo>
                  <a:cubicBezTo>
                    <a:pt x="7206" y="3564"/>
                    <a:pt x="7655" y="3227"/>
                    <a:pt x="8126" y="2912"/>
                  </a:cubicBezTo>
                  <a:cubicBezTo>
                    <a:pt x="7964" y="2608"/>
                    <a:pt x="7819" y="2296"/>
                    <a:pt x="7690" y="1976"/>
                  </a:cubicBezTo>
                  <a:cubicBezTo>
                    <a:pt x="7561" y="1655"/>
                    <a:pt x="7454" y="1336"/>
                    <a:pt x="7362" y="1000"/>
                  </a:cubicBezTo>
                  <a:close/>
                  <a:moveTo>
                    <a:pt x="13806" y="3027"/>
                  </a:moveTo>
                  <a:lnTo>
                    <a:pt x="11570" y="5446"/>
                  </a:lnTo>
                  <a:cubicBezTo>
                    <a:pt x="11852" y="5649"/>
                    <a:pt x="12144" y="5840"/>
                    <a:pt x="12449" y="6011"/>
                  </a:cubicBezTo>
                  <a:cubicBezTo>
                    <a:pt x="12752" y="6182"/>
                    <a:pt x="13064" y="6332"/>
                    <a:pt x="13387" y="6469"/>
                  </a:cubicBezTo>
                  <a:cubicBezTo>
                    <a:pt x="13602" y="6013"/>
                    <a:pt x="13798" y="5550"/>
                    <a:pt x="13963" y="5077"/>
                  </a:cubicBezTo>
                  <a:cubicBezTo>
                    <a:pt x="14128" y="4603"/>
                    <a:pt x="14273" y="4122"/>
                    <a:pt x="14386" y="3633"/>
                  </a:cubicBezTo>
                  <a:cubicBezTo>
                    <a:pt x="14296" y="3528"/>
                    <a:pt x="14195" y="3418"/>
                    <a:pt x="14098" y="3318"/>
                  </a:cubicBezTo>
                  <a:cubicBezTo>
                    <a:pt x="14001" y="3218"/>
                    <a:pt x="13909" y="3123"/>
                    <a:pt x="13806" y="3027"/>
                  </a:cubicBezTo>
                  <a:close/>
                  <a:moveTo>
                    <a:pt x="15097" y="4643"/>
                  </a:moveTo>
                  <a:cubicBezTo>
                    <a:pt x="14989" y="5011"/>
                    <a:pt x="14872" y="5369"/>
                    <a:pt x="14735" y="5729"/>
                  </a:cubicBezTo>
                  <a:cubicBezTo>
                    <a:pt x="14598" y="6089"/>
                    <a:pt x="14440" y="6449"/>
                    <a:pt x="14276" y="6798"/>
                  </a:cubicBezTo>
                  <a:cubicBezTo>
                    <a:pt x="14551" y="6884"/>
                    <a:pt x="14842" y="6953"/>
                    <a:pt x="15125" y="7013"/>
                  </a:cubicBezTo>
                  <a:cubicBezTo>
                    <a:pt x="15409" y="7074"/>
                    <a:pt x="15688" y="7122"/>
                    <a:pt x="15977" y="7158"/>
                  </a:cubicBezTo>
                  <a:cubicBezTo>
                    <a:pt x="15915" y="6710"/>
                    <a:pt x="15813" y="6274"/>
                    <a:pt x="15666" y="5853"/>
                  </a:cubicBezTo>
                  <a:cubicBezTo>
                    <a:pt x="15519" y="5432"/>
                    <a:pt x="15324" y="5029"/>
                    <a:pt x="15097" y="4643"/>
                  </a:cubicBezTo>
                  <a:close/>
                  <a:moveTo>
                    <a:pt x="8606" y="3701"/>
                  </a:moveTo>
                  <a:cubicBezTo>
                    <a:pt x="8180" y="3989"/>
                    <a:pt x="7775" y="4303"/>
                    <a:pt x="7382" y="4630"/>
                  </a:cubicBezTo>
                  <a:cubicBezTo>
                    <a:pt x="6990" y="4957"/>
                    <a:pt x="6609" y="5294"/>
                    <a:pt x="6252" y="5658"/>
                  </a:cubicBezTo>
                  <a:lnTo>
                    <a:pt x="8448" y="7464"/>
                  </a:lnTo>
                  <a:lnTo>
                    <a:pt x="10216" y="5542"/>
                  </a:lnTo>
                  <a:cubicBezTo>
                    <a:pt x="9905" y="5266"/>
                    <a:pt x="9620" y="4976"/>
                    <a:pt x="9351" y="4670"/>
                  </a:cubicBezTo>
                  <a:cubicBezTo>
                    <a:pt x="9081" y="4363"/>
                    <a:pt x="8831" y="4036"/>
                    <a:pt x="8606" y="3701"/>
                  </a:cubicBezTo>
                  <a:close/>
                  <a:moveTo>
                    <a:pt x="2433" y="3721"/>
                  </a:moveTo>
                  <a:cubicBezTo>
                    <a:pt x="1932" y="4341"/>
                    <a:pt x="1546" y="5031"/>
                    <a:pt x="1284" y="5757"/>
                  </a:cubicBezTo>
                  <a:cubicBezTo>
                    <a:pt x="1022" y="6483"/>
                    <a:pt x="879" y="7253"/>
                    <a:pt x="878" y="8036"/>
                  </a:cubicBezTo>
                  <a:cubicBezTo>
                    <a:pt x="1138" y="8064"/>
                    <a:pt x="1405" y="8097"/>
                    <a:pt x="1661" y="8144"/>
                  </a:cubicBezTo>
                  <a:cubicBezTo>
                    <a:pt x="2118" y="8228"/>
                    <a:pt x="2562" y="8343"/>
                    <a:pt x="3001" y="8485"/>
                  </a:cubicBezTo>
                  <a:cubicBezTo>
                    <a:pt x="3265" y="8000"/>
                    <a:pt x="3553" y="7531"/>
                    <a:pt x="3870" y="7076"/>
                  </a:cubicBezTo>
                  <a:cubicBezTo>
                    <a:pt x="4187" y="6619"/>
                    <a:pt x="4542" y="6181"/>
                    <a:pt x="4910" y="5757"/>
                  </a:cubicBezTo>
                  <a:lnTo>
                    <a:pt x="2433" y="3721"/>
                  </a:lnTo>
                  <a:close/>
                  <a:moveTo>
                    <a:pt x="10939" y="6126"/>
                  </a:moveTo>
                  <a:lnTo>
                    <a:pt x="9169" y="8060"/>
                  </a:lnTo>
                  <a:lnTo>
                    <a:pt x="11249" y="9761"/>
                  </a:lnTo>
                  <a:cubicBezTo>
                    <a:pt x="11579" y="9378"/>
                    <a:pt x="11885" y="8986"/>
                    <a:pt x="12172" y="8576"/>
                  </a:cubicBezTo>
                  <a:cubicBezTo>
                    <a:pt x="12459" y="8166"/>
                    <a:pt x="12721" y="7741"/>
                    <a:pt x="12963" y="7306"/>
                  </a:cubicBezTo>
                  <a:cubicBezTo>
                    <a:pt x="12603" y="7149"/>
                    <a:pt x="12253" y="6964"/>
                    <a:pt x="11915" y="6769"/>
                  </a:cubicBezTo>
                  <a:cubicBezTo>
                    <a:pt x="11577" y="6573"/>
                    <a:pt x="11251" y="6358"/>
                    <a:pt x="10939" y="6126"/>
                  </a:cubicBezTo>
                  <a:close/>
                  <a:moveTo>
                    <a:pt x="13849" y="7647"/>
                  </a:moveTo>
                  <a:cubicBezTo>
                    <a:pt x="13586" y="8127"/>
                    <a:pt x="13297" y="8593"/>
                    <a:pt x="12982" y="9045"/>
                  </a:cubicBezTo>
                  <a:cubicBezTo>
                    <a:pt x="12667" y="9497"/>
                    <a:pt x="12334" y="9936"/>
                    <a:pt x="11969" y="10357"/>
                  </a:cubicBezTo>
                  <a:lnTo>
                    <a:pt x="14436" y="12379"/>
                  </a:lnTo>
                  <a:cubicBezTo>
                    <a:pt x="14933" y="11764"/>
                    <a:pt x="15319" y="11085"/>
                    <a:pt x="15581" y="10366"/>
                  </a:cubicBezTo>
                  <a:cubicBezTo>
                    <a:pt x="15842" y="9647"/>
                    <a:pt x="15976" y="8886"/>
                    <a:pt x="15982" y="8110"/>
                  </a:cubicBezTo>
                  <a:cubicBezTo>
                    <a:pt x="15743" y="8082"/>
                    <a:pt x="15506" y="8058"/>
                    <a:pt x="15271" y="8015"/>
                  </a:cubicBezTo>
                  <a:cubicBezTo>
                    <a:pt x="15030" y="7970"/>
                    <a:pt x="14788" y="7908"/>
                    <a:pt x="14551" y="7847"/>
                  </a:cubicBezTo>
                  <a:cubicBezTo>
                    <a:pt x="14314" y="7786"/>
                    <a:pt x="14080" y="7724"/>
                    <a:pt x="13849" y="7647"/>
                  </a:cubicBezTo>
                  <a:close/>
                  <a:moveTo>
                    <a:pt x="5621" y="6339"/>
                  </a:moveTo>
                  <a:cubicBezTo>
                    <a:pt x="5287" y="6724"/>
                    <a:pt x="4981" y="7134"/>
                    <a:pt x="4692" y="7547"/>
                  </a:cubicBezTo>
                  <a:cubicBezTo>
                    <a:pt x="4403" y="7961"/>
                    <a:pt x="4130" y="8387"/>
                    <a:pt x="3887" y="8826"/>
                  </a:cubicBezTo>
                  <a:cubicBezTo>
                    <a:pt x="4272" y="8990"/>
                    <a:pt x="4648" y="9168"/>
                    <a:pt x="5008" y="9376"/>
                  </a:cubicBezTo>
                  <a:cubicBezTo>
                    <a:pt x="5368" y="9585"/>
                    <a:pt x="5718" y="9817"/>
                    <a:pt x="6049" y="10067"/>
                  </a:cubicBezTo>
                  <a:lnTo>
                    <a:pt x="7817" y="8145"/>
                  </a:lnTo>
                  <a:lnTo>
                    <a:pt x="5621" y="6339"/>
                  </a:lnTo>
                  <a:close/>
                  <a:moveTo>
                    <a:pt x="8538" y="8741"/>
                  </a:moveTo>
                  <a:lnTo>
                    <a:pt x="6770" y="10663"/>
                  </a:lnTo>
                  <a:cubicBezTo>
                    <a:pt x="7059" y="10924"/>
                    <a:pt x="7330" y="11201"/>
                    <a:pt x="7582" y="11489"/>
                  </a:cubicBezTo>
                  <a:cubicBezTo>
                    <a:pt x="7834" y="11777"/>
                    <a:pt x="8064" y="12076"/>
                    <a:pt x="8278" y="12390"/>
                  </a:cubicBezTo>
                  <a:cubicBezTo>
                    <a:pt x="8700" y="12103"/>
                    <a:pt x="9109" y="11798"/>
                    <a:pt x="9499" y="11473"/>
                  </a:cubicBezTo>
                  <a:cubicBezTo>
                    <a:pt x="9889" y="11147"/>
                    <a:pt x="10262" y="10804"/>
                    <a:pt x="10617" y="10442"/>
                  </a:cubicBezTo>
                  <a:lnTo>
                    <a:pt x="8538" y="8741"/>
                  </a:lnTo>
                  <a:close/>
                  <a:moveTo>
                    <a:pt x="1798" y="9132"/>
                  </a:moveTo>
                  <a:cubicBezTo>
                    <a:pt x="1535" y="9075"/>
                    <a:pt x="1275" y="9033"/>
                    <a:pt x="1007" y="8999"/>
                  </a:cubicBezTo>
                  <a:cubicBezTo>
                    <a:pt x="1062" y="9423"/>
                    <a:pt x="1148" y="9837"/>
                    <a:pt x="1280" y="10238"/>
                  </a:cubicBezTo>
                  <a:cubicBezTo>
                    <a:pt x="1412" y="10638"/>
                    <a:pt x="1583" y="11018"/>
                    <a:pt x="1786" y="11388"/>
                  </a:cubicBezTo>
                  <a:cubicBezTo>
                    <a:pt x="1891" y="11037"/>
                    <a:pt x="2008" y="10691"/>
                    <a:pt x="2139" y="10348"/>
                  </a:cubicBezTo>
                  <a:cubicBezTo>
                    <a:pt x="2270" y="10005"/>
                    <a:pt x="2418" y="9667"/>
                    <a:pt x="2574" y="9334"/>
                  </a:cubicBezTo>
                  <a:cubicBezTo>
                    <a:pt x="2319" y="9257"/>
                    <a:pt x="2059" y="9189"/>
                    <a:pt x="1798" y="9132"/>
                  </a:cubicBezTo>
                  <a:close/>
                  <a:moveTo>
                    <a:pt x="11338" y="11038"/>
                  </a:moveTo>
                  <a:cubicBezTo>
                    <a:pt x="10948" y="11437"/>
                    <a:pt x="10541" y="11810"/>
                    <a:pt x="10111" y="12167"/>
                  </a:cubicBezTo>
                  <a:cubicBezTo>
                    <a:pt x="9681" y="12525"/>
                    <a:pt x="9224" y="12866"/>
                    <a:pt x="8757" y="13179"/>
                  </a:cubicBezTo>
                  <a:cubicBezTo>
                    <a:pt x="8923" y="13483"/>
                    <a:pt x="9075" y="13796"/>
                    <a:pt x="9206" y="14117"/>
                  </a:cubicBezTo>
                  <a:cubicBezTo>
                    <a:pt x="9337" y="14439"/>
                    <a:pt x="9449" y="14769"/>
                    <a:pt x="9544" y="15106"/>
                  </a:cubicBezTo>
                  <a:cubicBezTo>
                    <a:pt x="10358" y="14993"/>
                    <a:pt x="11133" y="14757"/>
                    <a:pt x="11852" y="14413"/>
                  </a:cubicBezTo>
                  <a:cubicBezTo>
                    <a:pt x="12571" y="14068"/>
                    <a:pt x="13229" y="13610"/>
                    <a:pt x="13805" y="13059"/>
                  </a:cubicBezTo>
                  <a:lnTo>
                    <a:pt x="11338" y="11038"/>
                  </a:lnTo>
                  <a:close/>
                  <a:moveTo>
                    <a:pt x="3466" y="9652"/>
                  </a:moveTo>
                  <a:cubicBezTo>
                    <a:pt x="3255" y="10099"/>
                    <a:pt x="3068" y="10559"/>
                    <a:pt x="2906" y="11023"/>
                  </a:cubicBezTo>
                  <a:cubicBezTo>
                    <a:pt x="2744" y="11488"/>
                    <a:pt x="2612" y="11967"/>
                    <a:pt x="2500" y="12447"/>
                  </a:cubicBezTo>
                  <a:cubicBezTo>
                    <a:pt x="2606" y="12576"/>
                    <a:pt x="2712" y="12693"/>
                    <a:pt x="2827" y="12816"/>
                  </a:cubicBezTo>
                  <a:cubicBezTo>
                    <a:pt x="2943" y="12939"/>
                    <a:pt x="3067" y="13064"/>
                    <a:pt x="3192" y="13180"/>
                  </a:cubicBezTo>
                  <a:lnTo>
                    <a:pt x="5416" y="10759"/>
                  </a:lnTo>
                  <a:cubicBezTo>
                    <a:pt x="5115" y="10538"/>
                    <a:pt x="4810" y="10332"/>
                    <a:pt x="4484" y="10148"/>
                  </a:cubicBezTo>
                  <a:cubicBezTo>
                    <a:pt x="4158" y="9964"/>
                    <a:pt x="3813" y="9796"/>
                    <a:pt x="3466" y="9652"/>
                  </a:cubicBezTo>
                  <a:close/>
                  <a:moveTo>
                    <a:pt x="6136" y="11355"/>
                  </a:moveTo>
                  <a:lnTo>
                    <a:pt x="3901" y="13774"/>
                  </a:lnTo>
                  <a:cubicBezTo>
                    <a:pt x="4016" y="13856"/>
                    <a:pt x="4137" y="13929"/>
                    <a:pt x="4256" y="14005"/>
                  </a:cubicBezTo>
                  <a:cubicBezTo>
                    <a:pt x="4376" y="14081"/>
                    <a:pt x="4502" y="14158"/>
                    <a:pt x="4626" y="14228"/>
                  </a:cubicBezTo>
                  <a:cubicBezTo>
                    <a:pt x="5123" y="14054"/>
                    <a:pt x="5608" y="13859"/>
                    <a:pt x="6082" y="13639"/>
                  </a:cubicBezTo>
                  <a:cubicBezTo>
                    <a:pt x="6556" y="13419"/>
                    <a:pt x="7019" y="13171"/>
                    <a:pt x="7466" y="12906"/>
                  </a:cubicBezTo>
                  <a:cubicBezTo>
                    <a:pt x="7279" y="12625"/>
                    <a:pt x="7074" y="12352"/>
                    <a:pt x="6853" y="12093"/>
                  </a:cubicBezTo>
                  <a:cubicBezTo>
                    <a:pt x="6632" y="11833"/>
                    <a:pt x="6391" y="11591"/>
                    <a:pt x="6136" y="11355"/>
                  </a:cubicBezTo>
                  <a:close/>
                  <a:moveTo>
                    <a:pt x="7934" y="13694"/>
                  </a:moveTo>
                  <a:cubicBezTo>
                    <a:pt x="7591" y="13896"/>
                    <a:pt x="7243" y="14084"/>
                    <a:pt x="6885" y="14262"/>
                  </a:cubicBezTo>
                  <a:cubicBezTo>
                    <a:pt x="6527" y="14440"/>
                    <a:pt x="6160" y="14609"/>
                    <a:pt x="5788" y="14762"/>
                  </a:cubicBezTo>
                  <a:cubicBezTo>
                    <a:pt x="6191" y="14908"/>
                    <a:pt x="6614" y="15020"/>
                    <a:pt x="7040" y="15099"/>
                  </a:cubicBezTo>
                  <a:cubicBezTo>
                    <a:pt x="7538" y="15190"/>
                    <a:pt x="8041" y="15236"/>
                    <a:pt x="8548" y="15233"/>
                  </a:cubicBezTo>
                  <a:cubicBezTo>
                    <a:pt x="8471" y="14966"/>
                    <a:pt x="8384" y="14704"/>
                    <a:pt x="8282" y="14447"/>
                  </a:cubicBezTo>
                  <a:cubicBezTo>
                    <a:pt x="8181" y="14190"/>
                    <a:pt x="8061" y="13938"/>
                    <a:pt x="7934" y="1369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2" name="Shape 10383">
              <a:extLst>
                <a:ext uri="{FF2B5EF4-FFF2-40B4-BE49-F238E27FC236}">
                  <a16:creationId xmlns:a16="http://schemas.microsoft.com/office/drawing/2014/main" xmlns="" id="{59B67077-F88E-4FDD-9F6A-42348F2FAAAB}"/>
                </a:ext>
              </a:extLst>
            </p:cNvPr>
            <p:cNvSpPr/>
            <p:nvPr/>
          </p:nvSpPr>
          <p:spPr>
            <a:xfrm>
              <a:off x="18326100" y="4525793"/>
              <a:ext cx="707796" cy="707799"/>
            </a:xfrm>
            <a:custGeom>
              <a:avLst/>
              <a:gdLst/>
              <a:ahLst/>
              <a:cxnLst>
                <a:cxn ang="0">
                  <a:pos x="wd2" y="hd2"/>
                </a:cxn>
                <a:cxn ang="5400000">
                  <a:pos x="wd2" y="hd2"/>
                </a:cxn>
                <a:cxn ang="10800000">
                  <a:pos x="wd2" y="hd2"/>
                </a:cxn>
                <a:cxn ang="16200000">
                  <a:pos x="wd2" y="hd2"/>
                </a:cxn>
              </a:cxnLst>
              <a:rect l="0" t="0" r="r" b="b"/>
              <a:pathLst>
                <a:path w="20113" h="20113" extrusionOk="0">
                  <a:moveTo>
                    <a:pt x="8483" y="125"/>
                  </a:moveTo>
                  <a:cubicBezTo>
                    <a:pt x="2996" y="994"/>
                    <a:pt x="-744" y="6142"/>
                    <a:pt x="125" y="11629"/>
                  </a:cubicBezTo>
                  <a:cubicBezTo>
                    <a:pt x="994" y="17116"/>
                    <a:pt x="6142" y="20856"/>
                    <a:pt x="11629" y="19987"/>
                  </a:cubicBezTo>
                  <a:cubicBezTo>
                    <a:pt x="17116" y="19118"/>
                    <a:pt x="20856" y="13970"/>
                    <a:pt x="19987" y="8483"/>
                  </a:cubicBezTo>
                  <a:cubicBezTo>
                    <a:pt x="19118" y="2996"/>
                    <a:pt x="13970" y="-744"/>
                    <a:pt x="8483" y="125"/>
                  </a:cubicBezTo>
                  <a:close/>
                  <a:moveTo>
                    <a:pt x="8760" y="1873"/>
                  </a:moveTo>
                  <a:cubicBezTo>
                    <a:pt x="8956" y="1842"/>
                    <a:pt x="9163" y="1878"/>
                    <a:pt x="9336" y="2004"/>
                  </a:cubicBezTo>
                  <a:cubicBezTo>
                    <a:pt x="9681" y="2255"/>
                    <a:pt x="9758" y="2741"/>
                    <a:pt x="9507" y="3087"/>
                  </a:cubicBezTo>
                  <a:cubicBezTo>
                    <a:pt x="9256" y="3432"/>
                    <a:pt x="8770" y="3509"/>
                    <a:pt x="8424" y="3258"/>
                  </a:cubicBezTo>
                  <a:cubicBezTo>
                    <a:pt x="8079" y="3007"/>
                    <a:pt x="8002" y="2521"/>
                    <a:pt x="8253" y="2175"/>
                  </a:cubicBezTo>
                  <a:cubicBezTo>
                    <a:pt x="8378" y="2002"/>
                    <a:pt x="8564" y="1904"/>
                    <a:pt x="8760" y="1873"/>
                  </a:cubicBezTo>
                  <a:close/>
                  <a:moveTo>
                    <a:pt x="9098" y="4008"/>
                  </a:moveTo>
                  <a:cubicBezTo>
                    <a:pt x="9327" y="3971"/>
                    <a:pt x="9546" y="4130"/>
                    <a:pt x="9582" y="4359"/>
                  </a:cubicBezTo>
                  <a:lnTo>
                    <a:pt x="10314" y="8984"/>
                  </a:lnTo>
                  <a:cubicBezTo>
                    <a:pt x="10465" y="9019"/>
                    <a:pt x="10626" y="8992"/>
                    <a:pt x="10759" y="9088"/>
                  </a:cubicBezTo>
                  <a:cubicBezTo>
                    <a:pt x="10893" y="9186"/>
                    <a:pt x="10931" y="9343"/>
                    <a:pt x="11011" y="9477"/>
                  </a:cubicBezTo>
                  <a:lnTo>
                    <a:pt x="14460" y="8930"/>
                  </a:lnTo>
                  <a:cubicBezTo>
                    <a:pt x="14689" y="8894"/>
                    <a:pt x="14908" y="9053"/>
                    <a:pt x="14944" y="9282"/>
                  </a:cubicBezTo>
                  <a:cubicBezTo>
                    <a:pt x="14980" y="9511"/>
                    <a:pt x="14822" y="9729"/>
                    <a:pt x="14593" y="9766"/>
                  </a:cubicBezTo>
                  <a:lnTo>
                    <a:pt x="11143" y="10312"/>
                  </a:lnTo>
                  <a:cubicBezTo>
                    <a:pt x="11108" y="10464"/>
                    <a:pt x="11121" y="10625"/>
                    <a:pt x="11024" y="10759"/>
                  </a:cubicBezTo>
                  <a:cubicBezTo>
                    <a:pt x="10636" y="11292"/>
                    <a:pt x="9886" y="11411"/>
                    <a:pt x="9353" y="11024"/>
                  </a:cubicBezTo>
                  <a:cubicBezTo>
                    <a:pt x="8820" y="10636"/>
                    <a:pt x="8701" y="9886"/>
                    <a:pt x="9088" y="9353"/>
                  </a:cubicBezTo>
                  <a:cubicBezTo>
                    <a:pt x="9188" y="9215"/>
                    <a:pt x="9357" y="9195"/>
                    <a:pt x="9495" y="9114"/>
                  </a:cubicBezTo>
                  <a:lnTo>
                    <a:pt x="8762" y="4489"/>
                  </a:lnTo>
                  <a:cubicBezTo>
                    <a:pt x="8726" y="4260"/>
                    <a:pt x="8869" y="4044"/>
                    <a:pt x="9098" y="4008"/>
                  </a:cubicBezTo>
                  <a:close/>
                  <a:moveTo>
                    <a:pt x="2495" y="10476"/>
                  </a:moveTo>
                  <a:cubicBezTo>
                    <a:pt x="2691" y="10446"/>
                    <a:pt x="2898" y="10482"/>
                    <a:pt x="3071" y="10607"/>
                  </a:cubicBezTo>
                  <a:cubicBezTo>
                    <a:pt x="3417" y="10859"/>
                    <a:pt x="3494" y="11345"/>
                    <a:pt x="3243" y="11690"/>
                  </a:cubicBezTo>
                  <a:cubicBezTo>
                    <a:pt x="2992" y="12035"/>
                    <a:pt x="2505" y="12113"/>
                    <a:pt x="2160" y="11862"/>
                  </a:cubicBezTo>
                  <a:cubicBezTo>
                    <a:pt x="1814" y="11610"/>
                    <a:pt x="1737" y="11124"/>
                    <a:pt x="1988" y="10779"/>
                  </a:cubicBezTo>
                  <a:cubicBezTo>
                    <a:pt x="2114" y="10606"/>
                    <a:pt x="2300" y="10507"/>
                    <a:pt x="2495" y="10476"/>
                  </a:cubicBezTo>
                  <a:close/>
                  <a:moveTo>
                    <a:pt x="17392" y="8117"/>
                  </a:moveTo>
                  <a:cubicBezTo>
                    <a:pt x="17587" y="8086"/>
                    <a:pt x="17779" y="8125"/>
                    <a:pt x="17952" y="8250"/>
                  </a:cubicBezTo>
                  <a:cubicBezTo>
                    <a:pt x="18298" y="8502"/>
                    <a:pt x="18375" y="8988"/>
                    <a:pt x="18124" y="9333"/>
                  </a:cubicBezTo>
                  <a:cubicBezTo>
                    <a:pt x="17872" y="9678"/>
                    <a:pt x="17402" y="9753"/>
                    <a:pt x="17056" y="9502"/>
                  </a:cubicBezTo>
                  <a:cubicBezTo>
                    <a:pt x="16711" y="9251"/>
                    <a:pt x="16634" y="8765"/>
                    <a:pt x="16885" y="8419"/>
                  </a:cubicBezTo>
                  <a:cubicBezTo>
                    <a:pt x="17010" y="8247"/>
                    <a:pt x="17196" y="8148"/>
                    <a:pt x="17392" y="8117"/>
                  </a:cubicBezTo>
                  <a:close/>
                  <a:moveTo>
                    <a:pt x="11112" y="16723"/>
                  </a:moveTo>
                  <a:cubicBezTo>
                    <a:pt x="11308" y="16692"/>
                    <a:pt x="11515" y="16728"/>
                    <a:pt x="11688" y="16854"/>
                  </a:cubicBezTo>
                  <a:cubicBezTo>
                    <a:pt x="12033" y="17105"/>
                    <a:pt x="12110" y="17591"/>
                    <a:pt x="11859" y="17937"/>
                  </a:cubicBezTo>
                  <a:cubicBezTo>
                    <a:pt x="11608" y="18282"/>
                    <a:pt x="11122" y="18359"/>
                    <a:pt x="10776" y="18108"/>
                  </a:cubicBezTo>
                  <a:cubicBezTo>
                    <a:pt x="10431" y="17857"/>
                    <a:pt x="10354" y="17371"/>
                    <a:pt x="10605" y="17025"/>
                  </a:cubicBezTo>
                  <a:cubicBezTo>
                    <a:pt x="10730" y="16853"/>
                    <a:pt x="10916" y="16754"/>
                    <a:pt x="11112" y="1672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3" name="Shape 10384">
              <a:extLst>
                <a:ext uri="{FF2B5EF4-FFF2-40B4-BE49-F238E27FC236}">
                  <a16:creationId xmlns:a16="http://schemas.microsoft.com/office/drawing/2014/main" xmlns="" id="{CB22ACD4-617A-41D0-A928-D770B00C25B4}"/>
                </a:ext>
              </a:extLst>
            </p:cNvPr>
            <p:cNvSpPr/>
            <p:nvPr/>
          </p:nvSpPr>
          <p:spPr>
            <a:xfrm>
              <a:off x="21178433" y="7084811"/>
              <a:ext cx="603784" cy="760235"/>
            </a:xfrm>
            <a:custGeom>
              <a:avLst/>
              <a:gdLst/>
              <a:ahLst/>
              <a:cxnLst>
                <a:cxn ang="0">
                  <a:pos x="wd2" y="hd2"/>
                </a:cxn>
                <a:cxn ang="5400000">
                  <a:pos x="wd2" y="hd2"/>
                </a:cxn>
                <a:cxn ang="10800000">
                  <a:pos x="wd2" y="hd2"/>
                </a:cxn>
                <a:cxn ang="16200000">
                  <a:pos x="wd2" y="hd2"/>
                </a:cxn>
              </a:cxnLst>
              <a:rect l="0" t="0" r="r" b="b"/>
              <a:pathLst>
                <a:path w="21600" h="21600" extrusionOk="0">
                  <a:moveTo>
                    <a:pt x="4615" y="0"/>
                  </a:moveTo>
                  <a:lnTo>
                    <a:pt x="0" y="18854"/>
                  </a:lnTo>
                  <a:lnTo>
                    <a:pt x="17786" y="21600"/>
                  </a:lnTo>
                  <a:lnTo>
                    <a:pt x="21600" y="6017"/>
                  </a:lnTo>
                  <a:lnTo>
                    <a:pt x="18300" y="2113"/>
                  </a:lnTo>
                  <a:lnTo>
                    <a:pt x="4615" y="0"/>
                  </a:lnTo>
                  <a:close/>
                  <a:moveTo>
                    <a:pt x="9206" y="5215"/>
                  </a:moveTo>
                  <a:lnTo>
                    <a:pt x="15684" y="6215"/>
                  </a:lnTo>
                  <a:lnTo>
                    <a:pt x="15556" y="6735"/>
                  </a:lnTo>
                  <a:lnTo>
                    <a:pt x="9079" y="5735"/>
                  </a:lnTo>
                  <a:lnTo>
                    <a:pt x="9206" y="5215"/>
                  </a:lnTo>
                  <a:close/>
                  <a:moveTo>
                    <a:pt x="4712" y="9845"/>
                  </a:moveTo>
                  <a:lnTo>
                    <a:pt x="17667" y="11845"/>
                  </a:lnTo>
                  <a:lnTo>
                    <a:pt x="17544" y="12350"/>
                  </a:lnTo>
                  <a:lnTo>
                    <a:pt x="4588" y="10350"/>
                  </a:lnTo>
                  <a:lnTo>
                    <a:pt x="4712" y="9845"/>
                  </a:lnTo>
                  <a:close/>
                  <a:moveTo>
                    <a:pt x="4086" y="12402"/>
                  </a:moveTo>
                  <a:lnTo>
                    <a:pt x="17041" y="14402"/>
                  </a:lnTo>
                  <a:lnTo>
                    <a:pt x="16914" y="14923"/>
                  </a:lnTo>
                  <a:lnTo>
                    <a:pt x="3958" y="12923"/>
                  </a:lnTo>
                  <a:lnTo>
                    <a:pt x="4086" y="12402"/>
                  </a:lnTo>
                  <a:close/>
                  <a:moveTo>
                    <a:pt x="3460" y="14960"/>
                  </a:moveTo>
                  <a:lnTo>
                    <a:pt x="9938" y="15960"/>
                  </a:lnTo>
                  <a:lnTo>
                    <a:pt x="9810" y="16480"/>
                  </a:lnTo>
                  <a:lnTo>
                    <a:pt x="3332" y="15480"/>
                  </a:lnTo>
                  <a:lnTo>
                    <a:pt x="3460" y="14960"/>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4" name="Shape 10385">
              <a:extLst>
                <a:ext uri="{FF2B5EF4-FFF2-40B4-BE49-F238E27FC236}">
                  <a16:creationId xmlns:a16="http://schemas.microsoft.com/office/drawing/2014/main" xmlns="" id="{436185E7-68FE-468A-9A86-889DD3A39702}"/>
                </a:ext>
              </a:extLst>
            </p:cNvPr>
            <p:cNvSpPr/>
            <p:nvPr/>
          </p:nvSpPr>
          <p:spPr>
            <a:xfrm>
              <a:off x="20665447" y="6815808"/>
              <a:ext cx="608340" cy="1291938"/>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5" name="Shape 10386">
              <a:extLst>
                <a:ext uri="{FF2B5EF4-FFF2-40B4-BE49-F238E27FC236}">
                  <a16:creationId xmlns:a16="http://schemas.microsoft.com/office/drawing/2014/main" xmlns="" id="{2C3FC3AF-83AD-4286-956B-473F67B36B9C}"/>
                </a:ext>
              </a:extLst>
            </p:cNvPr>
            <p:cNvSpPr/>
            <p:nvPr/>
          </p:nvSpPr>
          <p:spPr>
            <a:xfrm>
              <a:off x="19887189" y="8018518"/>
              <a:ext cx="374757" cy="414855"/>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46" name="Shape 10387">
              <a:extLst>
                <a:ext uri="{FF2B5EF4-FFF2-40B4-BE49-F238E27FC236}">
                  <a16:creationId xmlns:a16="http://schemas.microsoft.com/office/drawing/2014/main" xmlns="" id="{B663311C-A0DF-48B8-9522-565E0A82DF7A}"/>
                </a:ext>
              </a:extLst>
            </p:cNvPr>
            <p:cNvSpPr/>
            <p:nvPr/>
          </p:nvSpPr>
          <p:spPr>
            <a:xfrm>
              <a:off x="19258037" y="4159743"/>
              <a:ext cx="657991" cy="400024"/>
            </a:xfrm>
            <a:custGeom>
              <a:avLst/>
              <a:gdLst/>
              <a:ahLst/>
              <a:cxnLst>
                <a:cxn ang="0">
                  <a:pos x="wd2" y="hd2"/>
                </a:cxn>
                <a:cxn ang="5400000">
                  <a:pos x="wd2" y="hd2"/>
                </a:cxn>
                <a:cxn ang="10800000">
                  <a:pos x="wd2" y="hd2"/>
                </a:cxn>
                <a:cxn ang="16200000">
                  <a:pos x="wd2" y="hd2"/>
                </a:cxn>
              </a:cxnLst>
              <a:rect l="0" t="0" r="r" b="b"/>
              <a:pathLst>
                <a:path w="21600" h="21600" extrusionOk="0">
                  <a:moveTo>
                    <a:pt x="0" y="14177"/>
                  </a:moveTo>
                  <a:cubicBezTo>
                    <a:pt x="2527" y="15134"/>
                    <a:pt x="4222" y="12910"/>
                    <a:pt x="5702" y="10575"/>
                  </a:cubicBezTo>
                  <a:cubicBezTo>
                    <a:pt x="6408" y="13676"/>
                    <a:pt x="7362" y="16803"/>
                    <a:pt x="9837" y="17741"/>
                  </a:cubicBezTo>
                  <a:cubicBezTo>
                    <a:pt x="12287" y="18668"/>
                    <a:pt x="13976" y="16590"/>
                    <a:pt x="15426" y="14335"/>
                  </a:cubicBezTo>
                  <a:cubicBezTo>
                    <a:pt x="16134" y="17472"/>
                    <a:pt x="17076" y="20652"/>
                    <a:pt x="19580" y="21600"/>
                  </a:cubicBezTo>
                  <a:lnTo>
                    <a:pt x="19844" y="19777"/>
                  </a:lnTo>
                  <a:cubicBezTo>
                    <a:pt x="17724" y="18974"/>
                    <a:pt x="17025" y="16203"/>
                    <a:pt x="16319" y="12948"/>
                  </a:cubicBezTo>
                  <a:cubicBezTo>
                    <a:pt x="17841" y="10489"/>
                    <a:pt x="19206" y="8437"/>
                    <a:pt x="21352" y="9250"/>
                  </a:cubicBezTo>
                  <a:lnTo>
                    <a:pt x="21600" y="7421"/>
                  </a:lnTo>
                  <a:cubicBezTo>
                    <a:pt x="19073" y="6464"/>
                    <a:pt x="17365" y="8691"/>
                    <a:pt x="15886" y="11025"/>
                  </a:cubicBezTo>
                  <a:cubicBezTo>
                    <a:pt x="15180" y="7926"/>
                    <a:pt x="14217" y="4820"/>
                    <a:pt x="11744" y="3883"/>
                  </a:cubicBezTo>
                  <a:cubicBezTo>
                    <a:pt x="9288" y="2954"/>
                    <a:pt x="7622" y="5034"/>
                    <a:pt x="6170" y="7294"/>
                  </a:cubicBezTo>
                  <a:cubicBezTo>
                    <a:pt x="5461" y="4152"/>
                    <a:pt x="4515" y="950"/>
                    <a:pt x="2007" y="0"/>
                  </a:cubicBezTo>
                  <a:cubicBezTo>
                    <a:pt x="2007" y="0"/>
                    <a:pt x="1755" y="1827"/>
                    <a:pt x="1755" y="1827"/>
                  </a:cubicBezTo>
                  <a:cubicBezTo>
                    <a:pt x="3881" y="2632"/>
                    <a:pt x="4569" y="5413"/>
                    <a:pt x="5277" y="8681"/>
                  </a:cubicBezTo>
                  <a:cubicBezTo>
                    <a:pt x="3758" y="11134"/>
                    <a:pt x="2389" y="13165"/>
                    <a:pt x="247" y="12354"/>
                  </a:cubicBezTo>
                  <a:lnTo>
                    <a:pt x="0" y="14177"/>
                  </a:lnTo>
                  <a:close/>
                  <a:moveTo>
                    <a:pt x="608" y="11260"/>
                  </a:moveTo>
                  <a:cubicBezTo>
                    <a:pt x="982" y="11395"/>
                    <a:pt x="1324" y="11420"/>
                    <a:pt x="1648" y="11361"/>
                  </a:cubicBezTo>
                  <a:cubicBezTo>
                    <a:pt x="1648" y="11361"/>
                    <a:pt x="2736" y="3679"/>
                    <a:pt x="2736" y="3679"/>
                  </a:cubicBezTo>
                  <a:cubicBezTo>
                    <a:pt x="2461" y="3396"/>
                    <a:pt x="2144" y="3178"/>
                    <a:pt x="1771" y="3033"/>
                  </a:cubicBezTo>
                  <a:lnTo>
                    <a:pt x="608" y="11260"/>
                  </a:lnTo>
                  <a:close/>
                  <a:moveTo>
                    <a:pt x="2743" y="10793"/>
                  </a:moveTo>
                  <a:cubicBezTo>
                    <a:pt x="3150" y="10493"/>
                    <a:pt x="3533" y="10048"/>
                    <a:pt x="3917" y="9511"/>
                  </a:cubicBezTo>
                  <a:lnTo>
                    <a:pt x="4287" y="6924"/>
                  </a:lnTo>
                  <a:cubicBezTo>
                    <a:pt x="4087" y="6170"/>
                    <a:pt x="3864" y="5496"/>
                    <a:pt x="3579" y="4938"/>
                  </a:cubicBezTo>
                  <a:lnTo>
                    <a:pt x="2743" y="10793"/>
                  </a:lnTo>
                  <a:close/>
                  <a:moveTo>
                    <a:pt x="6595" y="9188"/>
                  </a:moveTo>
                  <a:cubicBezTo>
                    <a:pt x="8063" y="6828"/>
                    <a:pt x="9414" y="4924"/>
                    <a:pt x="11495" y="5712"/>
                  </a:cubicBezTo>
                  <a:cubicBezTo>
                    <a:pt x="13593" y="6506"/>
                    <a:pt x="14292" y="9219"/>
                    <a:pt x="14990" y="12431"/>
                  </a:cubicBezTo>
                  <a:cubicBezTo>
                    <a:pt x="13526" y="14784"/>
                    <a:pt x="12177" y="16704"/>
                    <a:pt x="10101" y="15917"/>
                  </a:cubicBezTo>
                  <a:cubicBezTo>
                    <a:pt x="8003" y="15123"/>
                    <a:pt x="7294" y="12399"/>
                    <a:pt x="6595" y="9188"/>
                  </a:cubicBezTo>
                  <a:close/>
                  <a:moveTo>
                    <a:pt x="7938" y="11422"/>
                  </a:moveTo>
                  <a:cubicBezTo>
                    <a:pt x="8176" y="12303"/>
                    <a:pt x="8447" y="13084"/>
                    <a:pt x="8788" y="13733"/>
                  </a:cubicBezTo>
                  <a:lnTo>
                    <a:pt x="9770" y="6683"/>
                  </a:lnTo>
                  <a:cubicBezTo>
                    <a:pt x="9292" y="7022"/>
                    <a:pt x="8844" y="7536"/>
                    <a:pt x="8395" y="8157"/>
                  </a:cubicBezTo>
                  <a:lnTo>
                    <a:pt x="7938" y="11422"/>
                  </a:lnTo>
                  <a:close/>
                  <a:moveTo>
                    <a:pt x="9753" y="14444"/>
                  </a:moveTo>
                  <a:cubicBezTo>
                    <a:pt x="9947" y="14585"/>
                    <a:pt x="10156" y="14700"/>
                    <a:pt x="10391" y="14785"/>
                  </a:cubicBezTo>
                  <a:cubicBezTo>
                    <a:pt x="10509" y="14829"/>
                    <a:pt x="10624" y="14858"/>
                    <a:pt x="10737" y="14880"/>
                  </a:cubicBezTo>
                  <a:lnTo>
                    <a:pt x="11912" y="6809"/>
                  </a:lnTo>
                  <a:cubicBezTo>
                    <a:pt x="11804" y="6751"/>
                    <a:pt x="11691" y="6700"/>
                    <a:pt x="11572" y="6657"/>
                  </a:cubicBezTo>
                  <a:cubicBezTo>
                    <a:pt x="11338" y="6572"/>
                    <a:pt x="11118" y="6530"/>
                    <a:pt x="10904" y="6522"/>
                  </a:cubicBezTo>
                  <a:lnTo>
                    <a:pt x="9753" y="14444"/>
                  </a:lnTo>
                  <a:close/>
                  <a:moveTo>
                    <a:pt x="11819" y="15088"/>
                  </a:moveTo>
                  <a:cubicBezTo>
                    <a:pt x="12255" y="14876"/>
                    <a:pt x="12659" y="14511"/>
                    <a:pt x="13056" y="14038"/>
                  </a:cubicBezTo>
                  <a:lnTo>
                    <a:pt x="13679" y="9709"/>
                  </a:lnTo>
                  <a:cubicBezTo>
                    <a:pt x="13451" y="9006"/>
                    <a:pt x="13187" y="8394"/>
                    <a:pt x="12852" y="7898"/>
                  </a:cubicBezTo>
                  <a:lnTo>
                    <a:pt x="11819" y="15088"/>
                  </a:lnTo>
                  <a:close/>
                  <a:moveTo>
                    <a:pt x="17315" y="14655"/>
                  </a:moveTo>
                  <a:cubicBezTo>
                    <a:pt x="17522" y="15364"/>
                    <a:pt x="17751" y="15987"/>
                    <a:pt x="18038" y="16501"/>
                  </a:cubicBezTo>
                  <a:lnTo>
                    <a:pt x="18774" y="10835"/>
                  </a:lnTo>
                  <a:cubicBezTo>
                    <a:pt x="18379" y="11153"/>
                    <a:pt x="18008" y="11606"/>
                    <a:pt x="17639" y="12150"/>
                  </a:cubicBezTo>
                  <a:lnTo>
                    <a:pt x="17315" y="14655"/>
                  </a:lnTo>
                  <a:close/>
                  <a:moveTo>
                    <a:pt x="19142" y="17799"/>
                  </a:moveTo>
                  <a:cubicBezTo>
                    <a:pt x="19411" y="18060"/>
                    <a:pt x="19719" y="18258"/>
                    <a:pt x="20080" y="18383"/>
                  </a:cubicBezTo>
                  <a:lnTo>
                    <a:pt x="21155" y="10467"/>
                  </a:lnTo>
                  <a:cubicBezTo>
                    <a:pt x="20792" y="10352"/>
                    <a:pt x="20458" y="10341"/>
                    <a:pt x="20145" y="10409"/>
                  </a:cubicBezTo>
                  <a:cubicBezTo>
                    <a:pt x="20145" y="10409"/>
                    <a:pt x="19142" y="17799"/>
                    <a:pt x="19142" y="17799"/>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7" name="Shape 10388">
              <a:extLst>
                <a:ext uri="{FF2B5EF4-FFF2-40B4-BE49-F238E27FC236}">
                  <a16:creationId xmlns:a16="http://schemas.microsoft.com/office/drawing/2014/main" xmlns="" id="{F562D5BD-4E47-4B67-84C5-BEB79F7F37FC}"/>
                </a:ext>
              </a:extLst>
            </p:cNvPr>
            <p:cNvSpPr/>
            <p:nvPr/>
          </p:nvSpPr>
          <p:spPr>
            <a:xfrm>
              <a:off x="18647193" y="4108798"/>
              <a:ext cx="356298" cy="370280"/>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0" name="Shape 10389">
              <a:extLst>
                <a:ext uri="{FF2B5EF4-FFF2-40B4-BE49-F238E27FC236}">
                  <a16:creationId xmlns:a16="http://schemas.microsoft.com/office/drawing/2014/main" xmlns="" id="{0F25239A-EBD7-4CB2-993F-A08C853EE6DF}"/>
                </a:ext>
              </a:extLst>
            </p:cNvPr>
            <p:cNvSpPr/>
            <p:nvPr/>
          </p:nvSpPr>
          <p:spPr>
            <a:xfrm>
              <a:off x="17493478" y="4180645"/>
              <a:ext cx="832624" cy="547837"/>
            </a:xfrm>
            <a:custGeom>
              <a:avLst/>
              <a:gdLst/>
              <a:ahLst/>
              <a:cxnLst>
                <a:cxn ang="0">
                  <a:pos x="wd2" y="hd2"/>
                </a:cxn>
                <a:cxn ang="5400000">
                  <a:pos x="wd2" y="hd2"/>
                </a:cxn>
                <a:cxn ang="10800000">
                  <a:pos x="wd2" y="hd2"/>
                </a:cxn>
                <a:cxn ang="16200000">
                  <a:pos x="wd2" y="hd2"/>
                </a:cxn>
              </a:cxnLst>
              <a:rect l="0" t="0" r="r" b="b"/>
              <a:pathLst>
                <a:path w="21340" h="21208" extrusionOk="0">
                  <a:moveTo>
                    <a:pt x="3532" y="6467"/>
                  </a:moveTo>
                  <a:lnTo>
                    <a:pt x="5654" y="19318"/>
                  </a:lnTo>
                  <a:lnTo>
                    <a:pt x="17808" y="14741"/>
                  </a:lnTo>
                  <a:lnTo>
                    <a:pt x="15687" y="1890"/>
                  </a:lnTo>
                  <a:cubicBezTo>
                    <a:pt x="15687" y="1890"/>
                    <a:pt x="3532" y="6467"/>
                    <a:pt x="3532" y="6467"/>
                  </a:cubicBezTo>
                  <a:close/>
                  <a:moveTo>
                    <a:pt x="2391" y="11284"/>
                  </a:moveTo>
                  <a:lnTo>
                    <a:pt x="3148" y="15874"/>
                  </a:lnTo>
                  <a:cubicBezTo>
                    <a:pt x="3190" y="16128"/>
                    <a:pt x="3360" y="16282"/>
                    <a:pt x="3528" y="16218"/>
                  </a:cubicBezTo>
                  <a:cubicBezTo>
                    <a:pt x="3696" y="16155"/>
                    <a:pt x="3798" y="15899"/>
                    <a:pt x="3756" y="15645"/>
                  </a:cubicBezTo>
                  <a:lnTo>
                    <a:pt x="2999" y="11056"/>
                  </a:lnTo>
                  <a:cubicBezTo>
                    <a:pt x="2957" y="10802"/>
                    <a:pt x="2787" y="10648"/>
                    <a:pt x="2619" y="10711"/>
                  </a:cubicBezTo>
                  <a:cubicBezTo>
                    <a:pt x="2451" y="10774"/>
                    <a:pt x="2349" y="11031"/>
                    <a:pt x="2391" y="11284"/>
                  </a:cubicBezTo>
                  <a:close/>
                  <a:moveTo>
                    <a:pt x="19102" y="6941"/>
                  </a:moveTo>
                  <a:cubicBezTo>
                    <a:pt x="18977" y="6181"/>
                    <a:pt x="18467" y="5718"/>
                    <a:pt x="17963" y="5908"/>
                  </a:cubicBezTo>
                  <a:cubicBezTo>
                    <a:pt x="17460" y="6097"/>
                    <a:pt x="17154" y="6868"/>
                    <a:pt x="17279" y="7628"/>
                  </a:cubicBezTo>
                  <a:cubicBezTo>
                    <a:pt x="17405" y="8388"/>
                    <a:pt x="17914" y="8851"/>
                    <a:pt x="18418" y="8661"/>
                  </a:cubicBezTo>
                  <a:cubicBezTo>
                    <a:pt x="18922" y="8472"/>
                    <a:pt x="19228" y="7701"/>
                    <a:pt x="19102" y="6941"/>
                  </a:cubicBezTo>
                  <a:close/>
                  <a:moveTo>
                    <a:pt x="19484" y="1435"/>
                  </a:moveTo>
                  <a:lnTo>
                    <a:pt x="21303" y="12450"/>
                  </a:lnTo>
                  <a:cubicBezTo>
                    <a:pt x="21470" y="13464"/>
                    <a:pt x="21062" y="14490"/>
                    <a:pt x="20390" y="14743"/>
                  </a:cubicBezTo>
                  <a:lnTo>
                    <a:pt x="3374" y="21151"/>
                  </a:lnTo>
                  <a:cubicBezTo>
                    <a:pt x="2703" y="21404"/>
                    <a:pt x="2023" y="20787"/>
                    <a:pt x="1856" y="19773"/>
                  </a:cubicBezTo>
                  <a:lnTo>
                    <a:pt x="37" y="8758"/>
                  </a:lnTo>
                  <a:cubicBezTo>
                    <a:pt x="-130" y="7745"/>
                    <a:pt x="279" y="6718"/>
                    <a:pt x="950" y="6465"/>
                  </a:cubicBezTo>
                  <a:lnTo>
                    <a:pt x="17966" y="57"/>
                  </a:lnTo>
                  <a:cubicBezTo>
                    <a:pt x="18637" y="-196"/>
                    <a:pt x="19317" y="421"/>
                    <a:pt x="19484" y="1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1" name="Shape 10390">
              <a:extLst>
                <a:ext uri="{FF2B5EF4-FFF2-40B4-BE49-F238E27FC236}">
                  <a16:creationId xmlns:a16="http://schemas.microsoft.com/office/drawing/2014/main" xmlns="" id="{23F92443-4159-49DC-8E7C-D004471F302C}"/>
                </a:ext>
              </a:extLst>
            </p:cNvPr>
            <p:cNvSpPr/>
            <p:nvPr/>
          </p:nvSpPr>
          <p:spPr>
            <a:xfrm>
              <a:off x="18126029" y="6224089"/>
              <a:ext cx="1086985" cy="582352"/>
            </a:xfrm>
            <a:custGeom>
              <a:avLst/>
              <a:gdLst/>
              <a:ahLst/>
              <a:cxnLst>
                <a:cxn ang="0">
                  <a:pos x="wd2" y="hd2"/>
                </a:cxn>
                <a:cxn ang="5400000">
                  <a:pos x="wd2" y="hd2"/>
                </a:cxn>
                <a:cxn ang="10800000">
                  <a:pos x="wd2" y="hd2"/>
                </a:cxn>
                <a:cxn ang="16200000">
                  <a:pos x="wd2" y="hd2"/>
                </a:cxn>
              </a:cxnLst>
              <a:rect l="0" t="0" r="r" b="b"/>
              <a:pathLst>
                <a:path w="21600" h="21586" extrusionOk="0">
                  <a:moveTo>
                    <a:pt x="16536" y="15317"/>
                  </a:moveTo>
                  <a:lnTo>
                    <a:pt x="16511" y="12603"/>
                  </a:lnTo>
                  <a:lnTo>
                    <a:pt x="16510" y="12603"/>
                  </a:lnTo>
                  <a:cubicBezTo>
                    <a:pt x="16510" y="12601"/>
                    <a:pt x="16511" y="12598"/>
                    <a:pt x="16511" y="12596"/>
                  </a:cubicBezTo>
                  <a:cubicBezTo>
                    <a:pt x="16497" y="11097"/>
                    <a:pt x="13851" y="9967"/>
                    <a:pt x="10600" y="10073"/>
                  </a:cubicBezTo>
                  <a:cubicBezTo>
                    <a:pt x="7350" y="10179"/>
                    <a:pt x="4727" y="11481"/>
                    <a:pt x="4741" y="12979"/>
                  </a:cubicBezTo>
                  <a:cubicBezTo>
                    <a:pt x="4741" y="12982"/>
                    <a:pt x="4741" y="12984"/>
                    <a:pt x="4741" y="12986"/>
                  </a:cubicBezTo>
                  <a:lnTo>
                    <a:pt x="4741" y="12986"/>
                  </a:lnTo>
                  <a:lnTo>
                    <a:pt x="4744" y="13374"/>
                  </a:lnTo>
                  <a:lnTo>
                    <a:pt x="0" y="9650"/>
                  </a:lnTo>
                  <a:lnTo>
                    <a:pt x="10506" y="0"/>
                  </a:lnTo>
                  <a:lnTo>
                    <a:pt x="21600" y="11274"/>
                  </a:lnTo>
                  <a:cubicBezTo>
                    <a:pt x="21600" y="11274"/>
                    <a:pt x="16536" y="15317"/>
                    <a:pt x="16536" y="15317"/>
                  </a:cubicBezTo>
                  <a:close/>
                  <a:moveTo>
                    <a:pt x="3433" y="20010"/>
                  </a:moveTo>
                  <a:cubicBezTo>
                    <a:pt x="3441" y="20866"/>
                    <a:pt x="3096" y="21572"/>
                    <a:pt x="2663" y="21586"/>
                  </a:cubicBezTo>
                  <a:cubicBezTo>
                    <a:pt x="2229" y="21600"/>
                    <a:pt x="1871" y="20917"/>
                    <a:pt x="1863" y="20061"/>
                  </a:cubicBezTo>
                  <a:cubicBezTo>
                    <a:pt x="1858" y="19488"/>
                    <a:pt x="2012" y="18988"/>
                    <a:pt x="2243" y="18712"/>
                  </a:cubicBezTo>
                  <a:lnTo>
                    <a:pt x="2180" y="11901"/>
                  </a:lnTo>
                  <a:lnTo>
                    <a:pt x="2970" y="12521"/>
                  </a:lnTo>
                  <a:lnTo>
                    <a:pt x="3028" y="18686"/>
                  </a:lnTo>
                  <a:cubicBezTo>
                    <a:pt x="3264" y="18947"/>
                    <a:pt x="3427" y="19437"/>
                    <a:pt x="3433" y="20010"/>
                  </a:cubicBezTo>
                  <a:close/>
                  <a:moveTo>
                    <a:pt x="15799" y="20383"/>
                  </a:moveTo>
                  <a:lnTo>
                    <a:pt x="15729" y="12978"/>
                  </a:lnTo>
                  <a:cubicBezTo>
                    <a:pt x="15274" y="12403"/>
                    <a:pt x="13503" y="11530"/>
                    <a:pt x="10615" y="11624"/>
                  </a:cubicBezTo>
                  <a:cubicBezTo>
                    <a:pt x="7726" y="11718"/>
                    <a:pt x="5972" y="12706"/>
                    <a:pt x="5529" y="13310"/>
                  </a:cubicBezTo>
                  <a:lnTo>
                    <a:pt x="5598" y="20715"/>
                  </a:lnTo>
                  <a:cubicBezTo>
                    <a:pt x="5598" y="20715"/>
                    <a:pt x="15799" y="20383"/>
                    <a:pt x="15799" y="2038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2" name="Shape 10391">
              <a:extLst>
                <a:ext uri="{FF2B5EF4-FFF2-40B4-BE49-F238E27FC236}">
                  <a16:creationId xmlns:a16="http://schemas.microsoft.com/office/drawing/2014/main" xmlns="" id="{9B0F3669-DAA5-4FB1-9A51-36EE00EC0CE9}"/>
                </a:ext>
              </a:extLst>
            </p:cNvPr>
            <p:cNvSpPr/>
            <p:nvPr/>
          </p:nvSpPr>
          <p:spPr>
            <a:xfrm>
              <a:off x="15698642" y="7668426"/>
              <a:ext cx="845763" cy="398247"/>
            </a:xfrm>
            <a:custGeom>
              <a:avLst/>
              <a:gdLst/>
              <a:ahLst/>
              <a:cxnLst>
                <a:cxn ang="0">
                  <a:pos x="wd2" y="hd2"/>
                </a:cxn>
                <a:cxn ang="5400000">
                  <a:pos x="wd2" y="hd2"/>
                </a:cxn>
                <a:cxn ang="10800000">
                  <a:pos x="wd2" y="hd2"/>
                </a:cxn>
                <a:cxn ang="16200000">
                  <a:pos x="wd2" y="hd2"/>
                </a:cxn>
              </a:cxnLst>
              <a:rect l="0" t="0" r="r" b="b"/>
              <a:pathLst>
                <a:path w="21600" h="21600" extrusionOk="0">
                  <a:moveTo>
                    <a:pt x="20754" y="0"/>
                  </a:moveTo>
                  <a:lnTo>
                    <a:pt x="19029" y="1406"/>
                  </a:lnTo>
                  <a:cubicBezTo>
                    <a:pt x="19054" y="1548"/>
                    <a:pt x="19310" y="2958"/>
                    <a:pt x="19310" y="2958"/>
                  </a:cubicBezTo>
                  <a:lnTo>
                    <a:pt x="19147" y="3091"/>
                  </a:lnTo>
                  <a:lnTo>
                    <a:pt x="18865" y="1540"/>
                  </a:lnTo>
                  <a:lnTo>
                    <a:pt x="18111" y="2155"/>
                  </a:lnTo>
                  <a:cubicBezTo>
                    <a:pt x="18136" y="2291"/>
                    <a:pt x="18318" y="3295"/>
                    <a:pt x="18318" y="3295"/>
                  </a:cubicBezTo>
                  <a:lnTo>
                    <a:pt x="18155" y="3428"/>
                  </a:lnTo>
                  <a:lnTo>
                    <a:pt x="17947" y="2288"/>
                  </a:lnTo>
                  <a:lnTo>
                    <a:pt x="17193" y="2903"/>
                  </a:lnTo>
                  <a:cubicBezTo>
                    <a:pt x="17219" y="3044"/>
                    <a:pt x="17474" y="4455"/>
                    <a:pt x="17474" y="4455"/>
                  </a:cubicBezTo>
                  <a:lnTo>
                    <a:pt x="17311" y="4587"/>
                  </a:lnTo>
                  <a:lnTo>
                    <a:pt x="17030" y="3036"/>
                  </a:lnTo>
                  <a:lnTo>
                    <a:pt x="16275" y="3652"/>
                  </a:lnTo>
                  <a:cubicBezTo>
                    <a:pt x="16299" y="3788"/>
                    <a:pt x="16482" y="4792"/>
                    <a:pt x="16482" y="4792"/>
                  </a:cubicBezTo>
                  <a:lnTo>
                    <a:pt x="16318" y="4925"/>
                  </a:lnTo>
                  <a:lnTo>
                    <a:pt x="16111" y="3785"/>
                  </a:lnTo>
                  <a:lnTo>
                    <a:pt x="15357" y="4400"/>
                  </a:lnTo>
                  <a:cubicBezTo>
                    <a:pt x="15383" y="4541"/>
                    <a:pt x="15639" y="5951"/>
                    <a:pt x="15639" y="5951"/>
                  </a:cubicBezTo>
                  <a:lnTo>
                    <a:pt x="15475" y="6085"/>
                  </a:lnTo>
                  <a:lnTo>
                    <a:pt x="15193" y="4533"/>
                  </a:lnTo>
                  <a:lnTo>
                    <a:pt x="14439" y="5148"/>
                  </a:lnTo>
                  <a:cubicBezTo>
                    <a:pt x="14464" y="5284"/>
                    <a:pt x="14647" y="6288"/>
                    <a:pt x="14647" y="6288"/>
                  </a:cubicBezTo>
                  <a:lnTo>
                    <a:pt x="14483" y="6421"/>
                  </a:lnTo>
                  <a:lnTo>
                    <a:pt x="14275" y="5281"/>
                  </a:lnTo>
                  <a:lnTo>
                    <a:pt x="13522" y="5896"/>
                  </a:lnTo>
                  <a:cubicBezTo>
                    <a:pt x="13547" y="6037"/>
                    <a:pt x="13802" y="7448"/>
                    <a:pt x="13802" y="7448"/>
                  </a:cubicBezTo>
                  <a:lnTo>
                    <a:pt x="13638" y="7582"/>
                  </a:lnTo>
                  <a:lnTo>
                    <a:pt x="13358" y="6029"/>
                  </a:lnTo>
                  <a:lnTo>
                    <a:pt x="12603" y="6645"/>
                  </a:lnTo>
                  <a:cubicBezTo>
                    <a:pt x="12628" y="6781"/>
                    <a:pt x="12810" y="7785"/>
                    <a:pt x="12810" y="7785"/>
                  </a:cubicBezTo>
                  <a:lnTo>
                    <a:pt x="12646" y="7919"/>
                  </a:lnTo>
                  <a:lnTo>
                    <a:pt x="12439" y="6778"/>
                  </a:lnTo>
                  <a:lnTo>
                    <a:pt x="11685" y="7393"/>
                  </a:lnTo>
                  <a:cubicBezTo>
                    <a:pt x="11711" y="7534"/>
                    <a:pt x="11967" y="8944"/>
                    <a:pt x="11967" y="8944"/>
                  </a:cubicBezTo>
                  <a:lnTo>
                    <a:pt x="11803" y="9078"/>
                  </a:lnTo>
                  <a:lnTo>
                    <a:pt x="11521" y="7527"/>
                  </a:lnTo>
                  <a:lnTo>
                    <a:pt x="10768" y="8141"/>
                  </a:lnTo>
                  <a:cubicBezTo>
                    <a:pt x="10792" y="8277"/>
                    <a:pt x="10974" y="9282"/>
                    <a:pt x="10974" y="9282"/>
                  </a:cubicBezTo>
                  <a:lnTo>
                    <a:pt x="10811" y="9415"/>
                  </a:lnTo>
                  <a:lnTo>
                    <a:pt x="10604" y="8275"/>
                  </a:lnTo>
                  <a:lnTo>
                    <a:pt x="9849" y="8890"/>
                  </a:lnTo>
                  <a:cubicBezTo>
                    <a:pt x="9874" y="9031"/>
                    <a:pt x="10131" y="10441"/>
                    <a:pt x="10131" y="10441"/>
                  </a:cubicBezTo>
                  <a:lnTo>
                    <a:pt x="9967" y="10575"/>
                  </a:lnTo>
                  <a:lnTo>
                    <a:pt x="9686" y="9023"/>
                  </a:lnTo>
                  <a:lnTo>
                    <a:pt x="8931" y="9638"/>
                  </a:lnTo>
                  <a:cubicBezTo>
                    <a:pt x="8956" y="9774"/>
                    <a:pt x="9139" y="10778"/>
                    <a:pt x="9139" y="10778"/>
                  </a:cubicBezTo>
                  <a:lnTo>
                    <a:pt x="8975" y="10912"/>
                  </a:lnTo>
                  <a:lnTo>
                    <a:pt x="8767" y="9772"/>
                  </a:lnTo>
                  <a:lnTo>
                    <a:pt x="8014" y="10386"/>
                  </a:lnTo>
                  <a:cubicBezTo>
                    <a:pt x="8039" y="10527"/>
                    <a:pt x="8295" y="11937"/>
                    <a:pt x="8295" y="11937"/>
                  </a:cubicBezTo>
                  <a:lnTo>
                    <a:pt x="8131" y="12071"/>
                  </a:lnTo>
                  <a:lnTo>
                    <a:pt x="7850" y="10520"/>
                  </a:lnTo>
                  <a:lnTo>
                    <a:pt x="7095" y="11135"/>
                  </a:lnTo>
                  <a:cubicBezTo>
                    <a:pt x="7120" y="11271"/>
                    <a:pt x="7302" y="12275"/>
                    <a:pt x="7302" y="12275"/>
                  </a:cubicBezTo>
                  <a:lnTo>
                    <a:pt x="7138" y="12409"/>
                  </a:lnTo>
                  <a:lnTo>
                    <a:pt x="6932" y="11268"/>
                  </a:lnTo>
                  <a:lnTo>
                    <a:pt x="6177" y="11883"/>
                  </a:lnTo>
                  <a:cubicBezTo>
                    <a:pt x="6203" y="12024"/>
                    <a:pt x="6459" y="13435"/>
                    <a:pt x="6459" y="13435"/>
                  </a:cubicBezTo>
                  <a:lnTo>
                    <a:pt x="6295" y="13568"/>
                  </a:lnTo>
                  <a:lnTo>
                    <a:pt x="6013" y="12017"/>
                  </a:lnTo>
                  <a:lnTo>
                    <a:pt x="5260" y="12631"/>
                  </a:lnTo>
                  <a:cubicBezTo>
                    <a:pt x="5284" y="12768"/>
                    <a:pt x="5467" y="13771"/>
                    <a:pt x="5467" y="13771"/>
                  </a:cubicBezTo>
                  <a:lnTo>
                    <a:pt x="5303" y="13905"/>
                  </a:lnTo>
                  <a:lnTo>
                    <a:pt x="5096" y="12765"/>
                  </a:lnTo>
                  <a:lnTo>
                    <a:pt x="4342" y="13379"/>
                  </a:lnTo>
                  <a:cubicBezTo>
                    <a:pt x="4367" y="13521"/>
                    <a:pt x="4624" y="14931"/>
                    <a:pt x="4624" y="14931"/>
                  </a:cubicBezTo>
                  <a:lnTo>
                    <a:pt x="4460" y="15064"/>
                  </a:lnTo>
                  <a:lnTo>
                    <a:pt x="4178" y="13513"/>
                  </a:lnTo>
                  <a:lnTo>
                    <a:pt x="3423" y="14128"/>
                  </a:lnTo>
                  <a:cubicBezTo>
                    <a:pt x="3448" y="14265"/>
                    <a:pt x="3630" y="15269"/>
                    <a:pt x="3630" y="15269"/>
                  </a:cubicBezTo>
                  <a:lnTo>
                    <a:pt x="3467" y="15402"/>
                  </a:lnTo>
                  <a:lnTo>
                    <a:pt x="3260" y="14261"/>
                  </a:lnTo>
                  <a:lnTo>
                    <a:pt x="2505" y="14876"/>
                  </a:lnTo>
                  <a:cubicBezTo>
                    <a:pt x="2531" y="15018"/>
                    <a:pt x="2787" y="16428"/>
                    <a:pt x="2787" y="16428"/>
                  </a:cubicBezTo>
                  <a:lnTo>
                    <a:pt x="2623" y="16561"/>
                  </a:lnTo>
                  <a:lnTo>
                    <a:pt x="2342" y="15010"/>
                  </a:lnTo>
                  <a:lnTo>
                    <a:pt x="1588" y="15625"/>
                  </a:lnTo>
                  <a:cubicBezTo>
                    <a:pt x="1613" y="15761"/>
                    <a:pt x="1795" y="16765"/>
                    <a:pt x="1795" y="16765"/>
                  </a:cubicBezTo>
                  <a:lnTo>
                    <a:pt x="1631" y="16898"/>
                  </a:lnTo>
                  <a:lnTo>
                    <a:pt x="1424" y="15758"/>
                  </a:lnTo>
                  <a:lnTo>
                    <a:pt x="670" y="16373"/>
                  </a:lnTo>
                  <a:cubicBezTo>
                    <a:pt x="696" y="16514"/>
                    <a:pt x="951" y="17925"/>
                    <a:pt x="951" y="17925"/>
                  </a:cubicBezTo>
                  <a:lnTo>
                    <a:pt x="788" y="18057"/>
                  </a:lnTo>
                  <a:lnTo>
                    <a:pt x="506" y="16506"/>
                  </a:lnTo>
                  <a:lnTo>
                    <a:pt x="0" y="16919"/>
                  </a:lnTo>
                  <a:lnTo>
                    <a:pt x="846" y="21600"/>
                  </a:lnTo>
                  <a:lnTo>
                    <a:pt x="21600" y="4681"/>
                  </a:lnTo>
                  <a:lnTo>
                    <a:pt x="20754" y="0"/>
                  </a:lnTo>
                  <a:close/>
                  <a:moveTo>
                    <a:pt x="20622" y="2793"/>
                  </a:moveTo>
                  <a:cubicBezTo>
                    <a:pt x="20707" y="3260"/>
                    <a:pt x="20598" y="3784"/>
                    <a:pt x="20378" y="3963"/>
                  </a:cubicBezTo>
                  <a:cubicBezTo>
                    <a:pt x="20158" y="4143"/>
                    <a:pt x="19911" y="3909"/>
                    <a:pt x="19826" y="3442"/>
                  </a:cubicBezTo>
                  <a:cubicBezTo>
                    <a:pt x="19742" y="2974"/>
                    <a:pt x="19852" y="2449"/>
                    <a:pt x="20072" y="2270"/>
                  </a:cubicBezTo>
                  <a:cubicBezTo>
                    <a:pt x="20292" y="2091"/>
                    <a:pt x="20538" y="2325"/>
                    <a:pt x="20622" y="27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3" name="Shape 10392">
              <a:extLst>
                <a:ext uri="{FF2B5EF4-FFF2-40B4-BE49-F238E27FC236}">
                  <a16:creationId xmlns:a16="http://schemas.microsoft.com/office/drawing/2014/main" xmlns="" id="{DDE94E67-E224-4E5A-BA95-A18910FDE568}"/>
                </a:ext>
              </a:extLst>
            </p:cNvPr>
            <p:cNvSpPr/>
            <p:nvPr/>
          </p:nvSpPr>
          <p:spPr>
            <a:xfrm>
              <a:off x="19920630" y="5193310"/>
              <a:ext cx="339475" cy="405029"/>
            </a:xfrm>
            <a:custGeom>
              <a:avLst/>
              <a:gdLst/>
              <a:ahLst/>
              <a:cxnLst>
                <a:cxn ang="0">
                  <a:pos x="wd2" y="hd2"/>
                </a:cxn>
                <a:cxn ang="5400000">
                  <a:pos x="wd2" y="hd2"/>
                </a:cxn>
                <a:cxn ang="10800000">
                  <a:pos x="wd2" y="hd2"/>
                </a:cxn>
                <a:cxn ang="16200000">
                  <a:pos x="wd2" y="hd2"/>
                </a:cxn>
              </a:cxnLst>
              <a:rect l="0" t="0" r="r" b="b"/>
              <a:pathLst>
                <a:path w="21600" h="21600" extrusionOk="0">
                  <a:moveTo>
                    <a:pt x="0" y="896"/>
                  </a:moveTo>
                  <a:lnTo>
                    <a:pt x="1727" y="21600"/>
                  </a:lnTo>
                  <a:lnTo>
                    <a:pt x="21600" y="20435"/>
                  </a:lnTo>
                  <a:lnTo>
                    <a:pt x="20172" y="3324"/>
                  </a:lnTo>
                  <a:lnTo>
                    <a:pt x="15291" y="0"/>
                  </a:lnTo>
                  <a:lnTo>
                    <a:pt x="0" y="896"/>
                  </a:lnTo>
                  <a:close/>
                  <a:moveTo>
                    <a:pt x="6715" y="5294"/>
                  </a:moveTo>
                  <a:lnTo>
                    <a:pt x="13953" y="4870"/>
                  </a:lnTo>
                  <a:lnTo>
                    <a:pt x="14001" y="5441"/>
                  </a:lnTo>
                  <a:lnTo>
                    <a:pt x="6763" y="5865"/>
                  </a:lnTo>
                  <a:lnTo>
                    <a:pt x="6715" y="5294"/>
                  </a:lnTo>
                  <a:close/>
                  <a:moveTo>
                    <a:pt x="3566" y="11139"/>
                  </a:moveTo>
                  <a:lnTo>
                    <a:pt x="18042" y="10291"/>
                  </a:lnTo>
                  <a:lnTo>
                    <a:pt x="18088" y="10846"/>
                  </a:lnTo>
                  <a:lnTo>
                    <a:pt x="3613" y="11694"/>
                  </a:lnTo>
                  <a:lnTo>
                    <a:pt x="3566" y="11139"/>
                  </a:lnTo>
                  <a:close/>
                  <a:moveTo>
                    <a:pt x="3801" y="13947"/>
                  </a:moveTo>
                  <a:lnTo>
                    <a:pt x="18276" y="13099"/>
                  </a:lnTo>
                  <a:lnTo>
                    <a:pt x="18324" y="13670"/>
                  </a:lnTo>
                  <a:lnTo>
                    <a:pt x="3848" y="14519"/>
                  </a:lnTo>
                  <a:lnTo>
                    <a:pt x="3801" y="13947"/>
                  </a:lnTo>
                  <a:close/>
                  <a:moveTo>
                    <a:pt x="4035" y="16756"/>
                  </a:moveTo>
                  <a:lnTo>
                    <a:pt x="11273" y="16332"/>
                  </a:lnTo>
                  <a:lnTo>
                    <a:pt x="11320" y="16903"/>
                  </a:lnTo>
                  <a:lnTo>
                    <a:pt x="4083" y="17327"/>
                  </a:lnTo>
                  <a:lnTo>
                    <a:pt x="4035" y="16756"/>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4" name="Shape 10393">
              <a:extLst>
                <a:ext uri="{FF2B5EF4-FFF2-40B4-BE49-F238E27FC236}">
                  <a16:creationId xmlns:a16="http://schemas.microsoft.com/office/drawing/2014/main" xmlns="" id="{29EB0386-A4CA-4009-B494-6D9E783FEF77}"/>
                </a:ext>
              </a:extLst>
            </p:cNvPr>
            <p:cNvSpPr/>
            <p:nvPr/>
          </p:nvSpPr>
          <p:spPr>
            <a:xfrm>
              <a:off x="18570303" y="9049764"/>
              <a:ext cx="924785" cy="885968"/>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5" name="Shape 10394">
              <a:extLst>
                <a:ext uri="{FF2B5EF4-FFF2-40B4-BE49-F238E27FC236}">
                  <a16:creationId xmlns:a16="http://schemas.microsoft.com/office/drawing/2014/main" xmlns="" id="{1D60A121-749A-4EF8-ADC2-9411EA5DC1F8}"/>
                </a:ext>
              </a:extLst>
            </p:cNvPr>
            <p:cNvSpPr/>
            <p:nvPr/>
          </p:nvSpPr>
          <p:spPr>
            <a:xfrm>
              <a:off x="15885964" y="8065581"/>
              <a:ext cx="555246" cy="544272"/>
            </a:xfrm>
            <a:custGeom>
              <a:avLst/>
              <a:gdLst/>
              <a:ahLst/>
              <a:cxnLst>
                <a:cxn ang="0">
                  <a:pos x="wd2" y="hd2"/>
                </a:cxn>
                <a:cxn ang="5400000">
                  <a:pos x="wd2" y="hd2"/>
                </a:cxn>
                <a:cxn ang="10800000">
                  <a:pos x="wd2" y="hd2"/>
                </a:cxn>
                <a:cxn ang="16200000">
                  <a:pos x="wd2" y="hd2"/>
                </a:cxn>
              </a:cxnLst>
              <a:rect l="0" t="0" r="r" b="b"/>
              <a:pathLst>
                <a:path w="20991" h="21600" extrusionOk="0">
                  <a:moveTo>
                    <a:pt x="0" y="6005"/>
                  </a:moveTo>
                  <a:lnTo>
                    <a:pt x="2577" y="11807"/>
                  </a:lnTo>
                  <a:cubicBezTo>
                    <a:pt x="2577" y="11807"/>
                    <a:pt x="3706" y="12286"/>
                    <a:pt x="4255" y="11343"/>
                  </a:cubicBezTo>
                  <a:cubicBezTo>
                    <a:pt x="4860" y="10297"/>
                    <a:pt x="7052" y="9212"/>
                    <a:pt x="8001" y="11472"/>
                  </a:cubicBezTo>
                  <a:cubicBezTo>
                    <a:pt x="8949" y="13731"/>
                    <a:pt x="7204" y="14700"/>
                    <a:pt x="5987" y="14655"/>
                  </a:cubicBezTo>
                  <a:cubicBezTo>
                    <a:pt x="4886" y="14615"/>
                    <a:pt x="4270" y="15618"/>
                    <a:pt x="4270" y="15618"/>
                  </a:cubicBezTo>
                  <a:lnTo>
                    <a:pt x="6927" y="21600"/>
                  </a:lnTo>
                  <a:lnTo>
                    <a:pt x="11852" y="19189"/>
                  </a:lnTo>
                  <a:cubicBezTo>
                    <a:pt x="11852" y="19189"/>
                    <a:pt x="11984" y="18276"/>
                    <a:pt x="11207" y="17738"/>
                  </a:cubicBezTo>
                  <a:cubicBezTo>
                    <a:pt x="10263" y="17087"/>
                    <a:pt x="9280" y="15038"/>
                    <a:pt x="11605" y="13899"/>
                  </a:cubicBezTo>
                  <a:cubicBezTo>
                    <a:pt x="13931" y="12761"/>
                    <a:pt x="14808" y="14792"/>
                    <a:pt x="14617" y="16180"/>
                  </a:cubicBezTo>
                  <a:cubicBezTo>
                    <a:pt x="14474" y="17220"/>
                    <a:pt x="15221" y="17540"/>
                    <a:pt x="15221" y="17540"/>
                  </a:cubicBezTo>
                  <a:lnTo>
                    <a:pt x="19368" y="15510"/>
                  </a:lnTo>
                  <a:cubicBezTo>
                    <a:pt x="19368" y="15510"/>
                    <a:pt x="17338" y="11290"/>
                    <a:pt x="17019" y="10076"/>
                  </a:cubicBezTo>
                  <a:cubicBezTo>
                    <a:pt x="16676" y="8775"/>
                    <a:pt x="18369" y="8955"/>
                    <a:pt x="18673" y="8964"/>
                  </a:cubicBezTo>
                  <a:cubicBezTo>
                    <a:pt x="20424" y="9020"/>
                    <a:pt x="21600" y="7510"/>
                    <a:pt x="20656" y="5385"/>
                  </a:cubicBezTo>
                  <a:cubicBezTo>
                    <a:pt x="19712" y="3260"/>
                    <a:pt x="17321" y="3778"/>
                    <a:pt x="16643" y="5120"/>
                  </a:cubicBezTo>
                  <a:cubicBezTo>
                    <a:pt x="16139" y="6117"/>
                    <a:pt x="15546" y="6529"/>
                    <a:pt x="15164" y="5995"/>
                  </a:cubicBezTo>
                  <a:cubicBezTo>
                    <a:pt x="14272" y="4748"/>
                    <a:pt x="12268" y="0"/>
                    <a:pt x="12268" y="0"/>
                  </a:cubicBezTo>
                  <a:lnTo>
                    <a:pt x="8380" y="1903"/>
                  </a:lnTo>
                  <a:cubicBezTo>
                    <a:pt x="8380" y="1903"/>
                    <a:pt x="8041" y="3203"/>
                    <a:pt x="8973" y="3711"/>
                  </a:cubicBezTo>
                  <a:cubicBezTo>
                    <a:pt x="10375" y="4474"/>
                    <a:pt x="10679" y="6519"/>
                    <a:pt x="8834" y="7423"/>
                  </a:cubicBezTo>
                  <a:cubicBezTo>
                    <a:pt x="6988" y="8326"/>
                    <a:pt x="5715" y="6969"/>
                    <a:pt x="5997" y="5295"/>
                  </a:cubicBezTo>
                  <a:cubicBezTo>
                    <a:pt x="6154" y="4357"/>
                    <a:pt x="5083" y="3527"/>
                    <a:pt x="5083" y="3527"/>
                  </a:cubicBezTo>
                  <a:cubicBezTo>
                    <a:pt x="5083" y="3527"/>
                    <a:pt x="0" y="6005"/>
                    <a:pt x="0" y="600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6" name="Shape 10395">
              <a:extLst>
                <a:ext uri="{FF2B5EF4-FFF2-40B4-BE49-F238E27FC236}">
                  <a16:creationId xmlns:a16="http://schemas.microsoft.com/office/drawing/2014/main" xmlns="" id="{8F3EF870-4CC1-4BEA-8FAA-AC22BEE8B22A}"/>
                </a:ext>
              </a:extLst>
            </p:cNvPr>
            <p:cNvSpPr/>
            <p:nvPr/>
          </p:nvSpPr>
          <p:spPr>
            <a:xfrm>
              <a:off x="19111148" y="4676595"/>
              <a:ext cx="447512" cy="47891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accent3"/>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7" name="Shape 10396">
              <a:extLst>
                <a:ext uri="{FF2B5EF4-FFF2-40B4-BE49-F238E27FC236}">
                  <a16:creationId xmlns:a16="http://schemas.microsoft.com/office/drawing/2014/main" xmlns="" id="{D0A6CDD6-A0EE-48A5-B7EF-5DA68ABC062A}"/>
                </a:ext>
              </a:extLst>
            </p:cNvPr>
            <p:cNvSpPr/>
            <p:nvPr/>
          </p:nvSpPr>
          <p:spPr>
            <a:xfrm>
              <a:off x="17914973" y="5805187"/>
              <a:ext cx="454602" cy="423166"/>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8" name="Shape 10397">
              <a:extLst>
                <a:ext uri="{FF2B5EF4-FFF2-40B4-BE49-F238E27FC236}">
                  <a16:creationId xmlns:a16="http://schemas.microsoft.com/office/drawing/2014/main" xmlns="" id="{1B2AB365-356E-4DAE-A49C-79BBC7B8B933}"/>
                </a:ext>
              </a:extLst>
            </p:cNvPr>
            <p:cNvSpPr/>
            <p:nvPr/>
          </p:nvSpPr>
          <p:spPr>
            <a:xfrm>
              <a:off x="21365322" y="6512088"/>
              <a:ext cx="416893" cy="446145"/>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59" name="Shape 10398">
              <a:extLst>
                <a:ext uri="{FF2B5EF4-FFF2-40B4-BE49-F238E27FC236}">
                  <a16:creationId xmlns:a16="http://schemas.microsoft.com/office/drawing/2014/main" xmlns="" id="{ABE69CAC-D728-445D-A729-BAE26ADE5AB8}"/>
                </a:ext>
              </a:extLst>
            </p:cNvPr>
            <p:cNvSpPr/>
            <p:nvPr/>
          </p:nvSpPr>
          <p:spPr>
            <a:xfrm>
              <a:off x="18043549" y="10579592"/>
              <a:ext cx="978355" cy="640048"/>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0" name="Shape 10399">
              <a:extLst>
                <a:ext uri="{FF2B5EF4-FFF2-40B4-BE49-F238E27FC236}">
                  <a16:creationId xmlns:a16="http://schemas.microsoft.com/office/drawing/2014/main" xmlns="" id="{53862C5A-8BDA-4F3C-BC30-97041DC67066}"/>
                </a:ext>
              </a:extLst>
            </p:cNvPr>
            <p:cNvSpPr/>
            <p:nvPr/>
          </p:nvSpPr>
          <p:spPr>
            <a:xfrm>
              <a:off x="15648472" y="6834637"/>
              <a:ext cx="742675" cy="776271"/>
            </a:xfrm>
            <a:custGeom>
              <a:avLst/>
              <a:gdLst/>
              <a:ahLst/>
              <a:cxnLst>
                <a:cxn ang="0">
                  <a:pos x="wd2" y="hd2"/>
                </a:cxn>
                <a:cxn ang="5400000">
                  <a:pos x="wd2" y="hd2"/>
                </a:cxn>
                <a:cxn ang="10800000">
                  <a:pos x="wd2" y="hd2"/>
                </a:cxn>
                <a:cxn ang="16200000">
                  <a:pos x="wd2" y="hd2"/>
                </a:cxn>
              </a:cxnLst>
              <a:rect l="0" t="0" r="r" b="b"/>
              <a:pathLst>
                <a:path w="21600" h="21600" extrusionOk="0">
                  <a:moveTo>
                    <a:pt x="5147" y="16723"/>
                  </a:moveTo>
                  <a:lnTo>
                    <a:pt x="0" y="16809"/>
                  </a:lnTo>
                  <a:lnTo>
                    <a:pt x="2774" y="12622"/>
                  </a:lnTo>
                  <a:cubicBezTo>
                    <a:pt x="2774" y="12622"/>
                    <a:pt x="5147" y="16723"/>
                    <a:pt x="5147" y="16723"/>
                  </a:cubicBezTo>
                  <a:close/>
                  <a:moveTo>
                    <a:pt x="14076" y="11989"/>
                  </a:moveTo>
                  <a:cubicBezTo>
                    <a:pt x="14302" y="12788"/>
                    <a:pt x="14417" y="13471"/>
                    <a:pt x="14416" y="13825"/>
                  </a:cubicBezTo>
                  <a:cubicBezTo>
                    <a:pt x="15694" y="13667"/>
                    <a:pt x="17017" y="14276"/>
                    <a:pt x="17811" y="15648"/>
                  </a:cubicBezTo>
                  <a:cubicBezTo>
                    <a:pt x="18851" y="17445"/>
                    <a:pt x="17597" y="21598"/>
                    <a:pt x="17597" y="21598"/>
                  </a:cubicBezTo>
                  <a:cubicBezTo>
                    <a:pt x="17597" y="21598"/>
                    <a:pt x="17595" y="21596"/>
                    <a:pt x="17592" y="21593"/>
                  </a:cubicBezTo>
                  <a:cubicBezTo>
                    <a:pt x="17594" y="21598"/>
                    <a:pt x="17594" y="21600"/>
                    <a:pt x="17594" y="21600"/>
                  </a:cubicBezTo>
                  <a:cubicBezTo>
                    <a:pt x="17594" y="21600"/>
                    <a:pt x="13250" y="20419"/>
                    <a:pt x="12210" y="18622"/>
                  </a:cubicBezTo>
                  <a:cubicBezTo>
                    <a:pt x="11424" y="17264"/>
                    <a:pt x="11576" y="15881"/>
                    <a:pt x="12373" y="14927"/>
                  </a:cubicBezTo>
                  <a:cubicBezTo>
                    <a:pt x="12061" y="14746"/>
                    <a:pt x="11508" y="14286"/>
                    <a:pt x="10910" y="13667"/>
                  </a:cubicBezTo>
                  <a:lnTo>
                    <a:pt x="5848" y="16352"/>
                  </a:lnTo>
                  <a:lnTo>
                    <a:pt x="3475" y="12249"/>
                  </a:lnTo>
                  <a:lnTo>
                    <a:pt x="8299" y="9692"/>
                  </a:lnTo>
                  <a:cubicBezTo>
                    <a:pt x="7229" y="7299"/>
                    <a:pt x="5819" y="3586"/>
                    <a:pt x="5332" y="2032"/>
                  </a:cubicBezTo>
                  <a:cubicBezTo>
                    <a:pt x="4875" y="574"/>
                    <a:pt x="5000" y="148"/>
                    <a:pt x="5066" y="36"/>
                  </a:cubicBezTo>
                  <a:cubicBezTo>
                    <a:pt x="5058" y="23"/>
                    <a:pt x="5065" y="20"/>
                    <a:pt x="5078" y="19"/>
                  </a:cubicBezTo>
                  <a:cubicBezTo>
                    <a:pt x="5088" y="6"/>
                    <a:pt x="5095" y="0"/>
                    <a:pt x="5095" y="0"/>
                  </a:cubicBezTo>
                  <a:cubicBezTo>
                    <a:pt x="5240" y="24"/>
                    <a:pt x="5683" y="148"/>
                    <a:pt x="6732" y="1292"/>
                  </a:cubicBezTo>
                  <a:cubicBezTo>
                    <a:pt x="7850" y="2510"/>
                    <a:pt x="10390" y="5624"/>
                    <a:pt x="11941" y="7761"/>
                  </a:cubicBezTo>
                  <a:lnTo>
                    <a:pt x="15980" y="5619"/>
                  </a:lnTo>
                  <a:lnTo>
                    <a:pt x="18355" y="9720"/>
                  </a:lnTo>
                  <a:cubicBezTo>
                    <a:pt x="18355" y="9720"/>
                    <a:pt x="14076" y="11989"/>
                    <a:pt x="14076" y="11989"/>
                  </a:cubicBezTo>
                  <a:close/>
                  <a:moveTo>
                    <a:pt x="16695" y="5238"/>
                  </a:moveTo>
                  <a:lnTo>
                    <a:pt x="19224" y="3898"/>
                  </a:lnTo>
                  <a:lnTo>
                    <a:pt x="21600" y="7999"/>
                  </a:lnTo>
                  <a:lnTo>
                    <a:pt x="19071" y="9339"/>
                  </a:lnTo>
                  <a:cubicBezTo>
                    <a:pt x="19071" y="9339"/>
                    <a:pt x="16695" y="5238"/>
                    <a:pt x="16695" y="523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1" name="Shape 10400">
              <a:extLst>
                <a:ext uri="{FF2B5EF4-FFF2-40B4-BE49-F238E27FC236}">
                  <a16:creationId xmlns:a16="http://schemas.microsoft.com/office/drawing/2014/main" xmlns="" id="{09357073-3277-4F40-A71F-1C389A949BA6}"/>
                </a:ext>
              </a:extLst>
            </p:cNvPr>
            <p:cNvSpPr/>
            <p:nvPr/>
          </p:nvSpPr>
          <p:spPr>
            <a:xfrm>
              <a:off x="19723607" y="10276650"/>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2" name="Shape 10401">
              <a:extLst>
                <a:ext uri="{FF2B5EF4-FFF2-40B4-BE49-F238E27FC236}">
                  <a16:creationId xmlns:a16="http://schemas.microsoft.com/office/drawing/2014/main" xmlns="" id="{635DAAFD-24FC-4A4C-A3A4-75B38078ECAF}"/>
                </a:ext>
              </a:extLst>
            </p:cNvPr>
            <p:cNvSpPr/>
            <p:nvPr/>
          </p:nvSpPr>
          <p:spPr>
            <a:xfrm>
              <a:off x="15572266" y="10142128"/>
              <a:ext cx="479514" cy="339889"/>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3" name="Shape 10402">
              <a:extLst>
                <a:ext uri="{FF2B5EF4-FFF2-40B4-BE49-F238E27FC236}">
                  <a16:creationId xmlns:a16="http://schemas.microsoft.com/office/drawing/2014/main" xmlns="" id="{2F9269CF-F347-4368-85C3-8FC0505E9F49}"/>
                </a:ext>
              </a:extLst>
            </p:cNvPr>
            <p:cNvSpPr/>
            <p:nvPr/>
          </p:nvSpPr>
          <p:spPr>
            <a:xfrm>
              <a:off x="17794266" y="9180909"/>
              <a:ext cx="602583" cy="644863"/>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4" name="Shape 10403">
              <a:extLst>
                <a:ext uri="{FF2B5EF4-FFF2-40B4-BE49-F238E27FC236}">
                  <a16:creationId xmlns:a16="http://schemas.microsoft.com/office/drawing/2014/main" xmlns="" id="{71134735-B9B7-4D86-B453-D38C675F23CC}"/>
                </a:ext>
              </a:extLst>
            </p:cNvPr>
            <p:cNvSpPr/>
            <p:nvPr/>
          </p:nvSpPr>
          <p:spPr>
            <a:xfrm>
              <a:off x="17048178" y="9717416"/>
              <a:ext cx="707905" cy="707906"/>
            </a:xfrm>
            <a:custGeom>
              <a:avLst/>
              <a:gdLst/>
              <a:ahLst/>
              <a:cxnLst>
                <a:cxn ang="0">
                  <a:pos x="wd2" y="hd2"/>
                </a:cxn>
                <a:cxn ang="5400000">
                  <a:pos x="wd2" y="hd2"/>
                </a:cxn>
                <a:cxn ang="10800000">
                  <a:pos x="wd2" y="hd2"/>
                </a:cxn>
                <a:cxn ang="16200000">
                  <a:pos x="wd2" y="hd2"/>
                </a:cxn>
              </a:cxnLst>
              <a:rect l="0" t="0" r="r" b="b"/>
              <a:pathLst>
                <a:path w="18957" h="18957" extrusionOk="0">
                  <a:moveTo>
                    <a:pt x="5474" y="890"/>
                  </a:moveTo>
                  <a:cubicBezTo>
                    <a:pt x="729" y="3103"/>
                    <a:pt x="-1322" y="8738"/>
                    <a:pt x="890" y="13482"/>
                  </a:cubicBezTo>
                  <a:cubicBezTo>
                    <a:pt x="3103" y="18227"/>
                    <a:pt x="8738" y="20278"/>
                    <a:pt x="13482" y="18066"/>
                  </a:cubicBezTo>
                  <a:cubicBezTo>
                    <a:pt x="18227" y="15853"/>
                    <a:pt x="20278" y="10218"/>
                    <a:pt x="18066" y="5474"/>
                  </a:cubicBezTo>
                  <a:cubicBezTo>
                    <a:pt x="15853" y="729"/>
                    <a:pt x="10218" y="-1322"/>
                    <a:pt x="5474" y="890"/>
                  </a:cubicBezTo>
                  <a:close/>
                  <a:moveTo>
                    <a:pt x="6178" y="2402"/>
                  </a:moveTo>
                  <a:cubicBezTo>
                    <a:pt x="6348" y="2323"/>
                    <a:pt x="6545" y="2302"/>
                    <a:pt x="6734" y="2371"/>
                  </a:cubicBezTo>
                  <a:cubicBezTo>
                    <a:pt x="7112" y="2509"/>
                    <a:pt x="7308" y="2929"/>
                    <a:pt x="7170" y="3307"/>
                  </a:cubicBezTo>
                  <a:cubicBezTo>
                    <a:pt x="7033" y="3685"/>
                    <a:pt x="6612" y="3882"/>
                    <a:pt x="6234" y="3744"/>
                  </a:cubicBezTo>
                  <a:cubicBezTo>
                    <a:pt x="5856" y="3606"/>
                    <a:pt x="5660" y="3186"/>
                    <a:pt x="5798" y="2808"/>
                  </a:cubicBezTo>
                  <a:cubicBezTo>
                    <a:pt x="5866" y="2618"/>
                    <a:pt x="6009" y="2481"/>
                    <a:pt x="6178" y="2402"/>
                  </a:cubicBezTo>
                  <a:close/>
                  <a:moveTo>
                    <a:pt x="7039" y="4248"/>
                  </a:moveTo>
                  <a:cubicBezTo>
                    <a:pt x="7237" y="4156"/>
                    <a:pt x="7476" y="4242"/>
                    <a:pt x="7569" y="4441"/>
                  </a:cubicBezTo>
                  <a:lnTo>
                    <a:pt x="9434" y="8440"/>
                  </a:lnTo>
                  <a:cubicBezTo>
                    <a:pt x="9580" y="8433"/>
                    <a:pt x="9718" y="8366"/>
                    <a:pt x="9863" y="8419"/>
                  </a:cubicBezTo>
                  <a:cubicBezTo>
                    <a:pt x="10010" y="8472"/>
                    <a:pt x="10085" y="8605"/>
                    <a:pt x="10192" y="8705"/>
                  </a:cubicBezTo>
                  <a:lnTo>
                    <a:pt x="13175" y="7314"/>
                  </a:lnTo>
                  <a:cubicBezTo>
                    <a:pt x="13373" y="7222"/>
                    <a:pt x="13612" y="7309"/>
                    <a:pt x="13705" y="7507"/>
                  </a:cubicBezTo>
                  <a:cubicBezTo>
                    <a:pt x="13797" y="7705"/>
                    <a:pt x="13710" y="7944"/>
                    <a:pt x="13512" y="8037"/>
                  </a:cubicBezTo>
                  <a:lnTo>
                    <a:pt x="10529" y="9427"/>
                  </a:lnTo>
                  <a:cubicBezTo>
                    <a:pt x="10537" y="9574"/>
                    <a:pt x="10591" y="9717"/>
                    <a:pt x="10537" y="9863"/>
                  </a:cubicBezTo>
                  <a:cubicBezTo>
                    <a:pt x="10325" y="10447"/>
                    <a:pt x="9676" y="10750"/>
                    <a:pt x="9092" y="10537"/>
                  </a:cubicBezTo>
                  <a:cubicBezTo>
                    <a:pt x="8509" y="10325"/>
                    <a:pt x="8206" y="9676"/>
                    <a:pt x="8419" y="9092"/>
                  </a:cubicBezTo>
                  <a:cubicBezTo>
                    <a:pt x="8474" y="8942"/>
                    <a:pt x="8621" y="8880"/>
                    <a:pt x="8725" y="8771"/>
                  </a:cubicBezTo>
                  <a:lnTo>
                    <a:pt x="6860" y="4771"/>
                  </a:lnTo>
                  <a:cubicBezTo>
                    <a:pt x="6767" y="4573"/>
                    <a:pt x="6841" y="4340"/>
                    <a:pt x="7039" y="4248"/>
                  </a:cubicBezTo>
                  <a:close/>
                  <a:moveTo>
                    <a:pt x="2738" y="11823"/>
                  </a:moveTo>
                  <a:cubicBezTo>
                    <a:pt x="2908" y="11744"/>
                    <a:pt x="3105" y="11723"/>
                    <a:pt x="3294" y="11792"/>
                  </a:cubicBezTo>
                  <a:cubicBezTo>
                    <a:pt x="3672" y="11930"/>
                    <a:pt x="3868" y="12350"/>
                    <a:pt x="3730" y="12728"/>
                  </a:cubicBezTo>
                  <a:cubicBezTo>
                    <a:pt x="3593" y="13106"/>
                    <a:pt x="3172" y="13302"/>
                    <a:pt x="2794" y="13165"/>
                  </a:cubicBezTo>
                  <a:cubicBezTo>
                    <a:pt x="2416" y="13027"/>
                    <a:pt x="2220" y="12607"/>
                    <a:pt x="2358" y="12228"/>
                  </a:cubicBezTo>
                  <a:cubicBezTo>
                    <a:pt x="2426" y="12039"/>
                    <a:pt x="2569" y="11902"/>
                    <a:pt x="2738" y="11823"/>
                  </a:cubicBezTo>
                  <a:close/>
                  <a:moveTo>
                    <a:pt x="15620" y="5816"/>
                  </a:moveTo>
                  <a:cubicBezTo>
                    <a:pt x="15789" y="5737"/>
                    <a:pt x="15973" y="5722"/>
                    <a:pt x="16162" y="5791"/>
                  </a:cubicBezTo>
                  <a:cubicBezTo>
                    <a:pt x="16540" y="5929"/>
                    <a:pt x="16736" y="6349"/>
                    <a:pt x="16598" y="6728"/>
                  </a:cubicBezTo>
                  <a:cubicBezTo>
                    <a:pt x="16461" y="7106"/>
                    <a:pt x="16054" y="7296"/>
                    <a:pt x="15675" y="7158"/>
                  </a:cubicBezTo>
                  <a:cubicBezTo>
                    <a:pt x="15297" y="7020"/>
                    <a:pt x="15101" y="6600"/>
                    <a:pt x="15239" y="6222"/>
                  </a:cubicBezTo>
                  <a:cubicBezTo>
                    <a:pt x="15308" y="6033"/>
                    <a:pt x="15451" y="5895"/>
                    <a:pt x="15620" y="5816"/>
                  </a:cubicBezTo>
                  <a:close/>
                  <a:moveTo>
                    <a:pt x="12166" y="15243"/>
                  </a:moveTo>
                  <a:cubicBezTo>
                    <a:pt x="12335" y="15164"/>
                    <a:pt x="12533" y="15143"/>
                    <a:pt x="12722" y="15212"/>
                  </a:cubicBezTo>
                  <a:cubicBezTo>
                    <a:pt x="13100" y="15350"/>
                    <a:pt x="13296" y="15770"/>
                    <a:pt x="13158" y="16148"/>
                  </a:cubicBezTo>
                  <a:cubicBezTo>
                    <a:pt x="13021" y="16526"/>
                    <a:pt x="12600" y="16723"/>
                    <a:pt x="12222" y="16585"/>
                  </a:cubicBezTo>
                  <a:cubicBezTo>
                    <a:pt x="11844" y="16447"/>
                    <a:pt x="11648" y="16027"/>
                    <a:pt x="11785" y="15649"/>
                  </a:cubicBezTo>
                  <a:cubicBezTo>
                    <a:pt x="11854" y="15460"/>
                    <a:pt x="11997" y="15322"/>
                    <a:pt x="12166" y="1524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5" name="Shape 10404">
              <a:extLst>
                <a:ext uri="{FF2B5EF4-FFF2-40B4-BE49-F238E27FC236}">
                  <a16:creationId xmlns:a16="http://schemas.microsoft.com/office/drawing/2014/main" xmlns="" id="{B4C160CA-211D-483F-ADC0-EB658C68CB19}"/>
                </a:ext>
              </a:extLst>
            </p:cNvPr>
            <p:cNvSpPr/>
            <p:nvPr/>
          </p:nvSpPr>
          <p:spPr>
            <a:xfrm>
              <a:off x="18977015" y="9915662"/>
              <a:ext cx="660489" cy="686411"/>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6" name="Shape 10405">
              <a:extLst>
                <a:ext uri="{FF2B5EF4-FFF2-40B4-BE49-F238E27FC236}">
                  <a16:creationId xmlns:a16="http://schemas.microsoft.com/office/drawing/2014/main" xmlns="" id="{F5DB8FF9-61F4-446F-B036-5AFFDCADF4CD}"/>
                </a:ext>
              </a:extLst>
            </p:cNvPr>
            <p:cNvSpPr/>
            <p:nvPr/>
          </p:nvSpPr>
          <p:spPr>
            <a:xfrm>
              <a:off x="17273284" y="10887438"/>
              <a:ext cx="673802" cy="40655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67" name="Shape 10406">
              <a:extLst>
                <a:ext uri="{FF2B5EF4-FFF2-40B4-BE49-F238E27FC236}">
                  <a16:creationId xmlns:a16="http://schemas.microsoft.com/office/drawing/2014/main" xmlns="" id="{4BB102DC-8BA9-469F-BC47-D1BFB9E0798B}"/>
                </a:ext>
              </a:extLst>
            </p:cNvPr>
            <p:cNvSpPr/>
            <p:nvPr/>
          </p:nvSpPr>
          <p:spPr>
            <a:xfrm>
              <a:off x="19982176" y="9778729"/>
              <a:ext cx="656775" cy="603421"/>
            </a:xfrm>
            <a:custGeom>
              <a:avLst/>
              <a:gdLst/>
              <a:ahLst/>
              <a:cxnLst>
                <a:cxn ang="0">
                  <a:pos x="wd2" y="hd2"/>
                </a:cxn>
                <a:cxn ang="5400000">
                  <a:pos x="wd2" y="hd2"/>
                </a:cxn>
                <a:cxn ang="10800000">
                  <a:pos x="wd2" y="hd2"/>
                </a:cxn>
                <a:cxn ang="16200000">
                  <a:pos x="wd2" y="hd2"/>
                </a:cxn>
              </a:cxnLst>
              <a:rect l="0" t="0" r="r" b="b"/>
              <a:pathLst>
                <a:path w="20391" h="21254" extrusionOk="0">
                  <a:moveTo>
                    <a:pt x="14806" y="20802"/>
                  </a:moveTo>
                  <a:cubicBezTo>
                    <a:pt x="16771" y="20078"/>
                    <a:pt x="18497" y="18506"/>
                    <a:pt x="19509" y="16252"/>
                  </a:cubicBezTo>
                  <a:cubicBezTo>
                    <a:pt x="21534" y="11744"/>
                    <a:pt x="19954" y="6226"/>
                    <a:pt x="15980" y="3929"/>
                  </a:cubicBezTo>
                  <a:cubicBezTo>
                    <a:pt x="12750" y="2062"/>
                    <a:pt x="8929" y="2896"/>
                    <a:pt x="6525" y="5695"/>
                  </a:cubicBezTo>
                  <a:cubicBezTo>
                    <a:pt x="6494" y="5619"/>
                    <a:pt x="6446" y="5549"/>
                    <a:pt x="6387" y="5489"/>
                  </a:cubicBezTo>
                  <a:lnTo>
                    <a:pt x="1181" y="167"/>
                  </a:lnTo>
                  <a:cubicBezTo>
                    <a:pt x="946" y="-73"/>
                    <a:pt x="582" y="-53"/>
                    <a:pt x="370" y="214"/>
                  </a:cubicBezTo>
                  <a:lnTo>
                    <a:pt x="146" y="499"/>
                  </a:lnTo>
                  <a:cubicBezTo>
                    <a:pt x="-66" y="765"/>
                    <a:pt x="-44" y="1177"/>
                    <a:pt x="192" y="1417"/>
                  </a:cubicBezTo>
                  <a:lnTo>
                    <a:pt x="5396" y="6733"/>
                  </a:lnTo>
                  <a:cubicBezTo>
                    <a:pt x="5480" y="6818"/>
                    <a:pt x="5581" y="6859"/>
                    <a:pt x="5685" y="6879"/>
                  </a:cubicBezTo>
                  <a:cubicBezTo>
                    <a:pt x="5480" y="7214"/>
                    <a:pt x="5286" y="7560"/>
                    <a:pt x="5118" y="7933"/>
                  </a:cubicBezTo>
                  <a:cubicBezTo>
                    <a:pt x="3093" y="12441"/>
                    <a:pt x="4673" y="17959"/>
                    <a:pt x="8647" y="20256"/>
                  </a:cubicBezTo>
                  <a:cubicBezTo>
                    <a:pt x="10634" y="21405"/>
                    <a:pt x="12840" y="21527"/>
                    <a:pt x="14806" y="20802"/>
                  </a:cubicBezTo>
                  <a:close/>
                  <a:moveTo>
                    <a:pt x="14414" y="19435"/>
                  </a:moveTo>
                  <a:cubicBezTo>
                    <a:pt x="12758" y="20045"/>
                    <a:pt x="10896" y="19937"/>
                    <a:pt x="9221" y="18969"/>
                  </a:cubicBezTo>
                  <a:cubicBezTo>
                    <a:pt x="5873" y="17034"/>
                    <a:pt x="4542" y="12385"/>
                    <a:pt x="6248" y="8586"/>
                  </a:cubicBezTo>
                  <a:cubicBezTo>
                    <a:pt x="7954" y="4788"/>
                    <a:pt x="12052" y="3277"/>
                    <a:pt x="15400" y="5212"/>
                  </a:cubicBezTo>
                  <a:cubicBezTo>
                    <a:pt x="18748" y="7148"/>
                    <a:pt x="20080" y="11797"/>
                    <a:pt x="18374" y="15596"/>
                  </a:cubicBezTo>
                  <a:cubicBezTo>
                    <a:pt x="17521" y="17495"/>
                    <a:pt x="16070" y="18824"/>
                    <a:pt x="14414" y="1943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8" name="Shape 10407">
              <a:extLst>
                <a:ext uri="{FF2B5EF4-FFF2-40B4-BE49-F238E27FC236}">
                  <a16:creationId xmlns:a16="http://schemas.microsoft.com/office/drawing/2014/main" xmlns="" id="{55705C2E-A4B7-4107-AA35-81FA3024F3D4}"/>
                </a:ext>
              </a:extLst>
            </p:cNvPr>
            <p:cNvSpPr/>
            <p:nvPr/>
          </p:nvSpPr>
          <p:spPr>
            <a:xfrm>
              <a:off x="18095556" y="9920122"/>
              <a:ext cx="474749" cy="52554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69" name="Shape 10408">
              <a:extLst>
                <a:ext uri="{FF2B5EF4-FFF2-40B4-BE49-F238E27FC236}">
                  <a16:creationId xmlns:a16="http://schemas.microsoft.com/office/drawing/2014/main" xmlns="" id="{07F5F810-F0D6-43FF-91A5-D7C13C45ACC7}"/>
                </a:ext>
              </a:extLst>
            </p:cNvPr>
            <p:cNvSpPr/>
            <p:nvPr/>
          </p:nvSpPr>
          <p:spPr>
            <a:xfrm>
              <a:off x="19553061" y="9077456"/>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0" name="Shape 10409">
              <a:extLst>
                <a:ext uri="{FF2B5EF4-FFF2-40B4-BE49-F238E27FC236}">
                  <a16:creationId xmlns:a16="http://schemas.microsoft.com/office/drawing/2014/main" xmlns="" id="{7345DBDD-D74C-41F0-B974-AFCEFD33141F}"/>
                </a:ext>
              </a:extLst>
            </p:cNvPr>
            <p:cNvSpPr/>
            <p:nvPr/>
          </p:nvSpPr>
          <p:spPr>
            <a:xfrm>
              <a:off x="19907349" y="4497805"/>
              <a:ext cx="422982" cy="47460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1" name="Shape 10410">
              <a:extLst>
                <a:ext uri="{FF2B5EF4-FFF2-40B4-BE49-F238E27FC236}">
                  <a16:creationId xmlns:a16="http://schemas.microsoft.com/office/drawing/2014/main" xmlns="" id="{0078EB1D-17CB-48F7-9598-4BFCE7C7B543}"/>
                </a:ext>
              </a:extLst>
            </p:cNvPr>
            <p:cNvSpPr/>
            <p:nvPr/>
          </p:nvSpPr>
          <p:spPr>
            <a:xfrm>
              <a:off x="16605913" y="7050896"/>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2" name="Shape 10411">
              <a:extLst>
                <a:ext uri="{FF2B5EF4-FFF2-40B4-BE49-F238E27FC236}">
                  <a16:creationId xmlns:a16="http://schemas.microsoft.com/office/drawing/2014/main" xmlns="" id="{17BD6A77-4DD5-472A-B24C-81CE152FDD11}"/>
                </a:ext>
              </a:extLst>
            </p:cNvPr>
            <p:cNvSpPr/>
            <p:nvPr/>
          </p:nvSpPr>
          <p:spPr>
            <a:xfrm>
              <a:off x="17109012" y="5013808"/>
              <a:ext cx="413677" cy="591501"/>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3" name="Shape 10412">
              <a:extLst>
                <a:ext uri="{FF2B5EF4-FFF2-40B4-BE49-F238E27FC236}">
                  <a16:creationId xmlns:a16="http://schemas.microsoft.com/office/drawing/2014/main" xmlns="" id="{73B1FF0D-F520-44C3-85D5-BA942898C9DC}"/>
                </a:ext>
              </a:extLst>
            </p:cNvPr>
            <p:cNvSpPr/>
            <p:nvPr/>
          </p:nvSpPr>
          <p:spPr>
            <a:xfrm>
              <a:off x="16082433" y="4790078"/>
              <a:ext cx="583511" cy="4136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4" name="Shape 10413">
              <a:extLst>
                <a:ext uri="{FF2B5EF4-FFF2-40B4-BE49-F238E27FC236}">
                  <a16:creationId xmlns:a16="http://schemas.microsoft.com/office/drawing/2014/main" xmlns="" id="{AA7968CC-52D1-41F9-A8E6-A683C4016669}"/>
                </a:ext>
              </a:extLst>
            </p:cNvPr>
            <p:cNvSpPr/>
            <p:nvPr/>
          </p:nvSpPr>
          <p:spPr>
            <a:xfrm>
              <a:off x="21000318" y="5616838"/>
              <a:ext cx="437119" cy="309840"/>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5" name="Shape 10414">
              <a:extLst>
                <a:ext uri="{FF2B5EF4-FFF2-40B4-BE49-F238E27FC236}">
                  <a16:creationId xmlns:a16="http://schemas.microsoft.com/office/drawing/2014/main" xmlns="" id="{D15B62E3-7D0C-4470-A366-26C4793C662C}"/>
                </a:ext>
              </a:extLst>
            </p:cNvPr>
            <p:cNvSpPr/>
            <p:nvPr/>
          </p:nvSpPr>
          <p:spPr>
            <a:xfrm>
              <a:off x="14548058" y="892750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6" name="Shape 10415">
              <a:extLst>
                <a:ext uri="{FF2B5EF4-FFF2-40B4-BE49-F238E27FC236}">
                  <a16:creationId xmlns:a16="http://schemas.microsoft.com/office/drawing/2014/main" xmlns="" id="{32600324-5FB2-4020-9712-2174D776576E}"/>
                </a:ext>
              </a:extLst>
            </p:cNvPr>
            <p:cNvSpPr/>
            <p:nvPr/>
          </p:nvSpPr>
          <p:spPr>
            <a:xfrm>
              <a:off x="19258837" y="11958731"/>
              <a:ext cx="567699" cy="676947"/>
            </a:xfrm>
            <a:custGeom>
              <a:avLst/>
              <a:gdLst/>
              <a:ahLst/>
              <a:cxnLst>
                <a:cxn ang="0">
                  <a:pos x="wd2" y="hd2"/>
                </a:cxn>
                <a:cxn ang="5400000">
                  <a:pos x="wd2" y="hd2"/>
                </a:cxn>
                <a:cxn ang="10800000">
                  <a:pos x="wd2" y="hd2"/>
                </a:cxn>
                <a:cxn ang="16200000">
                  <a:pos x="wd2" y="hd2"/>
                </a:cxn>
              </a:cxnLst>
              <a:rect l="0" t="0" r="r" b="b"/>
              <a:pathLst>
                <a:path w="21600" h="21600" extrusionOk="0">
                  <a:moveTo>
                    <a:pt x="19543" y="12242"/>
                  </a:moveTo>
                  <a:cubicBezTo>
                    <a:pt x="19543" y="12836"/>
                    <a:pt x="18964" y="13322"/>
                    <a:pt x="18257" y="13322"/>
                  </a:cubicBezTo>
                  <a:lnTo>
                    <a:pt x="3343" y="13322"/>
                  </a:lnTo>
                  <a:cubicBezTo>
                    <a:pt x="2636" y="13322"/>
                    <a:pt x="2057" y="12836"/>
                    <a:pt x="2057" y="12242"/>
                  </a:cubicBezTo>
                  <a:lnTo>
                    <a:pt x="2057" y="4322"/>
                  </a:lnTo>
                  <a:cubicBezTo>
                    <a:pt x="2057" y="3728"/>
                    <a:pt x="2636" y="3242"/>
                    <a:pt x="3343" y="3242"/>
                  </a:cubicBezTo>
                  <a:lnTo>
                    <a:pt x="18257" y="3242"/>
                  </a:lnTo>
                  <a:cubicBezTo>
                    <a:pt x="18964" y="3242"/>
                    <a:pt x="19543" y="3728"/>
                    <a:pt x="19543" y="4322"/>
                  </a:cubicBezTo>
                  <a:cubicBezTo>
                    <a:pt x="19543" y="4322"/>
                    <a:pt x="19543" y="12242"/>
                    <a:pt x="19543" y="12242"/>
                  </a:cubicBezTo>
                  <a:close/>
                  <a:moveTo>
                    <a:pt x="17743" y="18146"/>
                  </a:moveTo>
                  <a:cubicBezTo>
                    <a:pt x="16891" y="18146"/>
                    <a:pt x="16200" y="17566"/>
                    <a:pt x="16200" y="16850"/>
                  </a:cubicBezTo>
                  <a:cubicBezTo>
                    <a:pt x="16200" y="16134"/>
                    <a:pt x="16891" y="15554"/>
                    <a:pt x="17743" y="15554"/>
                  </a:cubicBezTo>
                  <a:cubicBezTo>
                    <a:pt x="18594" y="15554"/>
                    <a:pt x="19285" y="16134"/>
                    <a:pt x="19285" y="16850"/>
                  </a:cubicBezTo>
                  <a:cubicBezTo>
                    <a:pt x="19285" y="17566"/>
                    <a:pt x="18594" y="18146"/>
                    <a:pt x="17743" y="18146"/>
                  </a:cubicBezTo>
                  <a:close/>
                  <a:moveTo>
                    <a:pt x="3857" y="18146"/>
                  </a:moveTo>
                  <a:cubicBezTo>
                    <a:pt x="3005" y="18146"/>
                    <a:pt x="2315" y="17566"/>
                    <a:pt x="2315" y="16850"/>
                  </a:cubicBezTo>
                  <a:cubicBezTo>
                    <a:pt x="2315" y="16134"/>
                    <a:pt x="3005" y="15554"/>
                    <a:pt x="3857" y="15554"/>
                  </a:cubicBezTo>
                  <a:cubicBezTo>
                    <a:pt x="4709" y="15554"/>
                    <a:pt x="5400" y="16134"/>
                    <a:pt x="5400" y="16850"/>
                  </a:cubicBezTo>
                  <a:cubicBezTo>
                    <a:pt x="5400" y="17566"/>
                    <a:pt x="4709" y="18146"/>
                    <a:pt x="3857" y="18146"/>
                  </a:cubicBezTo>
                  <a:close/>
                  <a:moveTo>
                    <a:pt x="5657" y="1513"/>
                  </a:moveTo>
                  <a:cubicBezTo>
                    <a:pt x="5657" y="1275"/>
                    <a:pt x="5889" y="1081"/>
                    <a:pt x="6171" y="1081"/>
                  </a:cubicBezTo>
                  <a:lnTo>
                    <a:pt x="15429" y="1081"/>
                  </a:lnTo>
                  <a:cubicBezTo>
                    <a:pt x="15711" y="1081"/>
                    <a:pt x="15943" y="1275"/>
                    <a:pt x="15943" y="1513"/>
                  </a:cubicBezTo>
                  <a:lnTo>
                    <a:pt x="15943" y="1729"/>
                  </a:lnTo>
                  <a:cubicBezTo>
                    <a:pt x="15943" y="1967"/>
                    <a:pt x="15711" y="2161"/>
                    <a:pt x="15429" y="2161"/>
                  </a:cubicBezTo>
                  <a:lnTo>
                    <a:pt x="6171" y="2161"/>
                  </a:lnTo>
                  <a:cubicBezTo>
                    <a:pt x="5889" y="2161"/>
                    <a:pt x="5657" y="1967"/>
                    <a:pt x="5657" y="1729"/>
                  </a:cubicBezTo>
                  <a:cubicBezTo>
                    <a:pt x="5657" y="1729"/>
                    <a:pt x="5657" y="1513"/>
                    <a:pt x="5657" y="1513"/>
                  </a:cubicBezTo>
                  <a:close/>
                  <a:moveTo>
                    <a:pt x="20314" y="0"/>
                  </a:moveTo>
                  <a:lnTo>
                    <a:pt x="1286" y="0"/>
                  </a:lnTo>
                  <a:cubicBezTo>
                    <a:pt x="579" y="0"/>
                    <a:pt x="0" y="486"/>
                    <a:pt x="0" y="1080"/>
                  </a:cubicBezTo>
                  <a:lnTo>
                    <a:pt x="0" y="18360"/>
                  </a:lnTo>
                  <a:cubicBezTo>
                    <a:pt x="0" y="18954"/>
                    <a:pt x="579" y="19440"/>
                    <a:pt x="1286" y="19440"/>
                  </a:cubicBezTo>
                  <a:lnTo>
                    <a:pt x="1800" y="19440"/>
                  </a:lnTo>
                  <a:cubicBezTo>
                    <a:pt x="1800" y="19440"/>
                    <a:pt x="1800" y="20498"/>
                    <a:pt x="1800" y="20520"/>
                  </a:cubicBezTo>
                  <a:cubicBezTo>
                    <a:pt x="1800" y="21114"/>
                    <a:pt x="2379" y="21600"/>
                    <a:pt x="3086" y="21600"/>
                  </a:cubicBezTo>
                  <a:lnTo>
                    <a:pt x="4629" y="21600"/>
                  </a:lnTo>
                  <a:cubicBezTo>
                    <a:pt x="5336" y="21600"/>
                    <a:pt x="5915" y="21114"/>
                    <a:pt x="5915" y="20520"/>
                  </a:cubicBezTo>
                  <a:cubicBezTo>
                    <a:pt x="5915" y="20498"/>
                    <a:pt x="5915" y="19440"/>
                    <a:pt x="5915" y="19440"/>
                  </a:cubicBezTo>
                  <a:lnTo>
                    <a:pt x="15685" y="19440"/>
                  </a:lnTo>
                  <a:cubicBezTo>
                    <a:pt x="15685" y="19440"/>
                    <a:pt x="15685" y="20498"/>
                    <a:pt x="15685" y="20520"/>
                  </a:cubicBezTo>
                  <a:cubicBezTo>
                    <a:pt x="15685" y="21114"/>
                    <a:pt x="16264" y="21600"/>
                    <a:pt x="16971" y="21600"/>
                  </a:cubicBezTo>
                  <a:lnTo>
                    <a:pt x="18514" y="21600"/>
                  </a:lnTo>
                  <a:cubicBezTo>
                    <a:pt x="19221" y="21600"/>
                    <a:pt x="19800" y="21114"/>
                    <a:pt x="19800" y="20520"/>
                  </a:cubicBezTo>
                  <a:cubicBezTo>
                    <a:pt x="19800" y="20498"/>
                    <a:pt x="19800" y="19440"/>
                    <a:pt x="19800" y="19440"/>
                  </a:cubicBezTo>
                  <a:lnTo>
                    <a:pt x="20314" y="19440"/>
                  </a:lnTo>
                  <a:cubicBezTo>
                    <a:pt x="21021" y="19440"/>
                    <a:pt x="21600" y="18954"/>
                    <a:pt x="21600" y="18360"/>
                  </a:cubicBezTo>
                  <a:lnTo>
                    <a:pt x="21600" y="1080"/>
                  </a:lnTo>
                  <a:cubicBezTo>
                    <a:pt x="21600" y="486"/>
                    <a:pt x="21021" y="0"/>
                    <a:pt x="2031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77" name="Shape 10416">
              <a:extLst>
                <a:ext uri="{FF2B5EF4-FFF2-40B4-BE49-F238E27FC236}">
                  <a16:creationId xmlns:a16="http://schemas.microsoft.com/office/drawing/2014/main" xmlns="" id="{1E070E4D-8760-4DCF-A7BB-FA0037AF0CF1}"/>
                </a:ext>
              </a:extLst>
            </p:cNvPr>
            <p:cNvSpPr/>
            <p:nvPr/>
          </p:nvSpPr>
          <p:spPr>
            <a:xfrm>
              <a:off x="20512929" y="11955407"/>
              <a:ext cx="678678" cy="598412"/>
            </a:xfrm>
            <a:custGeom>
              <a:avLst/>
              <a:gdLst/>
              <a:ahLst/>
              <a:cxnLst>
                <a:cxn ang="0">
                  <a:pos x="wd2" y="hd2"/>
                </a:cxn>
                <a:cxn ang="5400000">
                  <a:pos x="wd2" y="hd2"/>
                </a:cxn>
                <a:cxn ang="10800000">
                  <a:pos x="wd2" y="hd2"/>
                </a:cxn>
                <a:cxn ang="16200000">
                  <a:pos x="wd2" y="hd2"/>
                </a:cxn>
              </a:cxnLst>
              <a:rect l="0" t="0" r="r" b="b"/>
              <a:pathLst>
                <a:path w="21465" h="21448" extrusionOk="0">
                  <a:moveTo>
                    <a:pt x="1162" y="1839"/>
                  </a:moveTo>
                  <a:cubicBezTo>
                    <a:pt x="454" y="1924"/>
                    <a:pt x="-67" y="2640"/>
                    <a:pt x="7" y="3442"/>
                  </a:cubicBezTo>
                  <a:lnTo>
                    <a:pt x="1557" y="20144"/>
                  </a:lnTo>
                  <a:cubicBezTo>
                    <a:pt x="1631" y="20947"/>
                    <a:pt x="2272" y="21524"/>
                    <a:pt x="2980" y="21440"/>
                  </a:cubicBezTo>
                  <a:lnTo>
                    <a:pt x="19632" y="19456"/>
                  </a:lnTo>
                  <a:cubicBezTo>
                    <a:pt x="20339" y="19372"/>
                    <a:pt x="20850" y="18657"/>
                    <a:pt x="20776" y="17855"/>
                  </a:cubicBezTo>
                  <a:lnTo>
                    <a:pt x="20372" y="13497"/>
                  </a:lnTo>
                  <a:lnTo>
                    <a:pt x="15892" y="14031"/>
                  </a:lnTo>
                  <a:cubicBezTo>
                    <a:pt x="15184" y="14115"/>
                    <a:pt x="14553" y="13536"/>
                    <a:pt x="14479" y="12734"/>
                  </a:cubicBezTo>
                  <a:lnTo>
                    <a:pt x="14209" y="9825"/>
                  </a:lnTo>
                  <a:cubicBezTo>
                    <a:pt x="14135" y="9023"/>
                    <a:pt x="14646" y="8308"/>
                    <a:pt x="15353" y="8224"/>
                  </a:cubicBezTo>
                  <a:lnTo>
                    <a:pt x="19833" y="7690"/>
                  </a:lnTo>
                  <a:lnTo>
                    <a:pt x="19497" y="4062"/>
                  </a:lnTo>
                  <a:cubicBezTo>
                    <a:pt x="19422" y="3260"/>
                    <a:pt x="18790" y="2669"/>
                    <a:pt x="18083" y="2754"/>
                  </a:cubicBezTo>
                  <a:lnTo>
                    <a:pt x="17948" y="1305"/>
                  </a:lnTo>
                  <a:cubicBezTo>
                    <a:pt x="17874" y="503"/>
                    <a:pt x="17243" y="-76"/>
                    <a:pt x="16535" y="8"/>
                  </a:cubicBezTo>
                  <a:lnTo>
                    <a:pt x="1162" y="1839"/>
                  </a:lnTo>
                  <a:close/>
                  <a:moveTo>
                    <a:pt x="1930" y="3213"/>
                  </a:moveTo>
                  <a:lnTo>
                    <a:pt x="15381" y="1611"/>
                  </a:lnTo>
                  <a:cubicBezTo>
                    <a:pt x="15381" y="1611"/>
                    <a:pt x="16670" y="1454"/>
                    <a:pt x="16804" y="2906"/>
                  </a:cubicBezTo>
                  <a:lnTo>
                    <a:pt x="2065" y="4661"/>
                  </a:lnTo>
                  <a:cubicBezTo>
                    <a:pt x="1711" y="4704"/>
                    <a:pt x="1401" y="4420"/>
                    <a:pt x="1364" y="4018"/>
                  </a:cubicBezTo>
                  <a:cubicBezTo>
                    <a:pt x="1327" y="3618"/>
                    <a:pt x="1577" y="3255"/>
                    <a:pt x="1930" y="3213"/>
                  </a:cubicBezTo>
                  <a:close/>
                  <a:moveTo>
                    <a:pt x="16055" y="8878"/>
                  </a:moveTo>
                  <a:cubicBezTo>
                    <a:pt x="15347" y="8963"/>
                    <a:pt x="14836" y="9677"/>
                    <a:pt x="14911" y="10479"/>
                  </a:cubicBezTo>
                  <a:lnTo>
                    <a:pt x="15045" y="11928"/>
                  </a:lnTo>
                  <a:cubicBezTo>
                    <a:pt x="15120" y="12730"/>
                    <a:pt x="15751" y="13309"/>
                    <a:pt x="16458" y="13225"/>
                  </a:cubicBezTo>
                  <a:lnTo>
                    <a:pt x="20304" y="12767"/>
                  </a:lnTo>
                  <a:cubicBezTo>
                    <a:pt x="21012" y="12682"/>
                    <a:pt x="21533" y="11966"/>
                    <a:pt x="21459" y="11164"/>
                  </a:cubicBezTo>
                  <a:lnTo>
                    <a:pt x="21324" y="9716"/>
                  </a:lnTo>
                  <a:cubicBezTo>
                    <a:pt x="21250" y="8913"/>
                    <a:pt x="20608" y="8336"/>
                    <a:pt x="19901" y="8420"/>
                  </a:cubicBezTo>
                  <a:lnTo>
                    <a:pt x="16055" y="8878"/>
                  </a:lnTo>
                  <a:close/>
                  <a:moveTo>
                    <a:pt x="16834" y="10250"/>
                  </a:moveTo>
                  <a:cubicBezTo>
                    <a:pt x="17188" y="10208"/>
                    <a:pt x="17508" y="10491"/>
                    <a:pt x="17545" y="10892"/>
                  </a:cubicBezTo>
                  <a:cubicBezTo>
                    <a:pt x="17582" y="11293"/>
                    <a:pt x="17322" y="11657"/>
                    <a:pt x="16968" y="11699"/>
                  </a:cubicBezTo>
                  <a:cubicBezTo>
                    <a:pt x="16614" y="11741"/>
                    <a:pt x="16293" y="11447"/>
                    <a:pt x="16256" y="11046"/>
                  </a:cubicBezTo>
                  <a:cubicBezTo>
                    <a:pt x="16219" y="10644"/>
                    <a:pt x="16480" y="10293"/>
                    <a:pt x="16834" y="1025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79" name="Shape 10417">
              <a:extLst>
                <a:ext uri="{FF2B5EF4-FFF2-40B4-BE49-F238E27FC236}">
                  <a16:creationId xmlns:a16="http://schemas.microsoft.com/office/drawing/2014/main" xmlns="" id="{D4B1677E-604B-4209-A38F-C8EC7C4489E9}"/>
                </a:ext>
              </a:extLst>
            </p:cNvPr>
            <p:cNvSpPr/>
            <p:nvPr/>
          </p:nvSpPr>
          <p:spPr>
            <a:xfrm>
              <a:off x="19308419" y="13173056"/>
              <a:ext cx="779626" cy="510037"/>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0" name="Shape 10418">
              <a:extLst>
                <a:ext uri="{FF2B5EF4-FFF2-40B4-BE49-F238E27FC236}">
                  <a16:creationId xmlns:a16="http://schemas.microsoft.com/office/drawing/2014/main" xmlns="" id="{2C125D23-B0C2-4BCB-8B4F-55E9CFED5CFA}"/>
                </a:ext>
              </a:extLst>
            </p:cNvPr>
            <p:cNvSpPr/>
            <p:nvPr/>
          </p:nvSpPr>
          <p:spPr>
            <a:xfrm>
              <a:off x="19278047" y="12757726"/>
              <a:ext cx="364916" cy="364935"/>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1" name="Shape 10419">
              <a:extLst>
                <a:ext uri="{FF2B5EF4-FFF2-40B4-BE49-F238E27FC236}">
                  <a16:creationId xmlns:a16="http://schemas.microsoft.com/office/drawing/2014/main" xmlns="" id="{E6C916BE-92AC-48A6-AB7C-2913108B717A}"/>
                </a:ext>
              </a:extLst>
            </p:cNvPr>
            <p:cNvSpPr/>
            <p:nvPr/>
          </p:nvSpPr>
          <p:spPr>
            <a:xfrm>
              <a:off x="18249834" y="13272749"/>
              <a:ext cx="957659" cy="434144"/>
            </a:xfrm>
            <a:custGeom>
              <a:avLst/>
              <a:gdLst/>
              <a:ahLst/>
              <a:cxnLst>
                <a:cxn ang="0">
                  <a:pos x="wd2" y="hd2"/>
                </a:cxn>
                <a:cxn ang="5400000">
                  <a:pos x="wd2" y="hd2"/>
                </a:cxn>
                <a:cxn ang="10800000">
                  <a:pos x="wd2" y="hd2"/>
                </a:cxn>
                <a:cxn ang="16200000">
                  <a:pos x="wd2" y="hd2"/>
                </a:cxn>
              </a:cxnLst>
              <a:rect l="0" t="0" r="r" b="b"/>
              <a:pathLst>
                <a:path w="21600" h="21600" extrusionOk="0">
                  <a:moveTo>
                    <a:pt x="0" y="20793"/>
                  </a:moveTo>
                  <a:cubicBezTo>
                    <a:pt x="2762" y="20896"/>
                    <a:pt x="4229" y="16959"/>
                    <a:pt x="5457" y="12973"/>
                  </a:cubicBezTo>
                  <a:cubicBezTo>
                    <a:pt x="6611" y="16963"/>
                    <a:pt x="8026" y="20867"/>
                    <a:pt x="10731" y="20967"/>
                  </a:cubicBezTo>
                  <a:cubicBezTo>
                    <a:pt x="13410" y="21066"/>
                    <a:pt x="14890" y="17337"/>
                    <a:pt x="16097" y="13477"/>
                  </a:cubicBezTo>
                  <a:cubicBezTo>
                    <a:pt x="17258" y="17515"/>
                    <a:pt x="18668" y="21499"/>
                    <a:pt x="21405" y="21600"/>
                  </a:cubicBezTo>
                  <a:lnTo>
                    <a:pt x="21434" y="18923"/>
                  </a:lnTo>
                  <a:cubicBezTo>
                    <a:pt x="19117" y="18837"/>
                    <a:pt x="18015" y="15307"/>
                    <a:pt x="16841" y="11103"/>
                  </a:cubicBezTo>
                  <a:cubicBezTo>
                    <a:pt x="18096" y="6922"/>
                    <a:pt x="19242" y="3387"/>
                    <a:pt x="21588" y="3475"/>
                  </a:cubicBezTo>
                  <a:lnTo>
                    <a:pt x="21600" y="798"/>
                  </a:lnTo>
                  <a:cubicBezTo>
                    <a:pt x="18838" y="695"/>
                    <a:pt x="17358" y="4641"/>
                    <a:pt x="16130" y="8627"/>
                  </a:cubicBezTo>
                  <a:cubicBezTo>
                    <a:pt x="14977" y="4640"/>
                    <a:pt x="13556" y="770"/>
                    <a:pt x="10852" y="669"/>
                  </a:cubicBezTo>
                  <a:cubicBezTo>
                    <a:pt x="8168" y="570"/>
                    <a:pt x="6711" y="4292"/>
                    <a:pt x="5503" y="8160"/>
                  </a:cubicBezTo>
                  <a:cubicBezTo>
                    <a:pt x="4341" y="4115"/>
                    <a:pt x="2924" y="102"/>
                    <a:pt x="183" y="0"/>
                  </a:cubicBezTo>
                  <a:cubicBezTo>
                    <a:pt x="183" y="0"/>
                    <a:pt x="166" y="2677"/>
                    <a:pt x="166" y="2677"/>
                  </a:cubicBezTo>
                  <a:cubicBezTo>
                    <a:pt x="2490" y="2763"/>
                    <a:pt x="3581" y="6313"/>
                    <a:pt x="4759" y="10534"/>
                  </a:cubicBezTo>
                  <a:cubicBezTo>
                    <a:pt x="3507" y="14705"/>
                    <a:pt x="2353" y="18212"/>
                    <a:pt x="12" y="18125"/>
                  </a:cubicBezTo>
                  <a:lnTo>
                    <a:pt x="0" y="20793"/>
                  </a:lnTo>
                  <a:close/>
                  <a:moveTo>
                    <a:pt x="241" y="16420"/>
                  </a:moveTo>
                  <a:cubicBezTo>
                    <a:pt x="649" y="16425"/>
                    <a:pt x="1008" y="16293"/>
                    <a:pt x="1338" y="16053"/>
                  </a:cubicBezTo>
                  <a:cubicBezTo>
                    <a:pt x="1338" y="16053"/>
                    <a:pt x="1438" y="4786"/>
                    <a:pt x="1438" y="4786"/>
                  </a:cubicBezTo>
                  <a:cubicBezTo>
                    <a:pt x="1113" y="4525"/>
                    <a:pt x="753" y="4374"/>
                    <a:pt x="345" y="4355"/>
                  </a:cubicBezTo>
                  <a:lnTo>
                    <a:pt x="241" y="16420"/>
                  </a:lnTo>
                  <a:close/>
                  <a:moveTo>
                    <a:pt x="2402" y="14724"/>
                  </a:moveTo>
                  <a:cubicBezTo>
                    <a:pt x="2787" y="14105"/>
                    <a:pt x="3126" y="13297"/>
                    <a:pt x="3454" y="12359"/>
                  </a:cubicBezTo>
                  <a:lnTo>
                    <a:pt x="3491" y="8563"/>
                  </a:lnTo>
                  <a:cubicBezTo>
                    <a:pt x="3181" y="7606"/>
                    <a:pt x="2858" y="6774"/>
                    <a:pt x="2485" y="6133"/>
                  </a:cubicBezTo>
                  <a:lnTo>
                    <a:pt x="2402" y="14724"/>
                  </a:lnTo>
                  <a:close/>
                  <a:moveTo>
                    <a:pt x="6201" y="10598"/>
                  </a:moveTo>
                  <a:cubicBezTo>
                    <a:pt x="7413" y="6583"/>
                    <a:pt x="8564" y="3262"/>
                    <a:pt x="10839" y="3346"/>
                  </a:cubicBezTo>
                  <a:cubicBezTo>
                    <a:pt x="13133" y="3431"/>
                    <a:pt x="14226" y="6882"/>
                    <a:pt x="15386" y="11029"/>
                  </a:cubicBezTo>
                  <a:cubicBezTo>
                    <a:pt x="14178" y="15032"/>
                    <a:pt x="13031" y="18375"/>
                    <a:pt x="10761" y="18290"/>
                  </a:cubicBezTo>
                  <a:cubicBezTo>
                    <a:pt x="8467" y="18206"/>
                    <a:pt x="7361" y="14745"/>
                    <a:pt x="6201" y="10598"/>
                  </a:cubicBezTo>
                  <a:close/>
                  <a:moveTo>
                    <a:pt x="7901" y="13065"/>
                  </a:moveTo>
                  <a:cubicBezTo>
                    <a:pt x="8268" y="14180"/>
                    <a:pt x="8656" y="15139"/>
                    <a:pt x="9098" y="15879"/>
                  </a:cubicBezTo>
                  <a:lnTo>
                    <a:pt x="9173" y="5547"/>
                  </a:lnTo>
                  <a:cubicBezTo>
                    <a:pt x="8720" y="6254"/>
                    <a:pt x="8323" y="7192"/>
                    <a:pt x="7938" y="8279"/>
                  </a:cubicBezTo>
                  <a:lnTo>
                    <a:pt x="7901" y="13065"/>
                  </a:lnTo>
                  <a:close/>
                  <a:moveTo>
                    <a:pt x="10199" y="16402"/>
                  </a:moveTo>
                  <a:cubicBezTo>
                    <a:pt x="10421" y="16504"/>
                    <a:pt x="10654" y="16562"/>
                    <a:pt x="10910" y="16567"/>
                  </a:cubicBezTo>
                  <a:cubicBezTo>
                    <a:pt x="11039" y="16569"/>
                    <a:pt x="11163" y="16554"/>
                    <a:pt x="11284" y="16530"/>
                  </a:cubicBezTo>
                  <a:lnTo>
                    <a:pt x="11421" y="4676"/>
                  </a:lnTo>
                  <a:cubicBezTo>
                    <a:pt x="11301" y="4648"/>
                    <a:pt x="11177" y="4632"/>
                    <a:pt x="11047" y="4630"/>
                  </a:cubicBezTo>
                  <a:cubicBezTo>
                    <a:pt x="10792" y="4625"/>
                    <a:pt x="10556" y="4674"/>
                    <a:pt x="10332" y="4767"/>
                  </a:cubicBezTo>
                  <a:lnTo>
                    <a:pt x="10199" y="16402"/>
                  </a:lnTo>
                  <a:close/>
                  <a:moveTo>
                    <a:pt x="12440" y="16292"/>
                  </a:moveTo>
                  <a:cubicBezTo>
                    <a:pt x="12866" y="15783"/>
                    <a:pt x="13237" y="15074"/>
                    <a:pt x="13587" y="14220"/>
                  </a:cubicBezTo>
                  <a:lnTo>
                    <a:pt x="13653" y="7866"/>
                  </a:lnTo>
                  <a:cubicBezTo>
                    <a:pt x="13321" y="6994"/>
                    <a:pt x="12964" y="6269"/>
                    <a:pt x="12548" y="5739"/>
                  </a:cubicBezTo>
                  <a:lnTo>
                    <a:pt x="12440" y="16292"/>
                  </a:lnTo>
                  <a:close/>
                  <a:moveTo>
                    <a:pt x="18109" y="13000"/>
                  </a:moveTo>
                  <a:cubicBezTo>
                    <a:pt x="18420" y="13890"/>
                    <a:pt x="18742" y="14650"/>
                    <a:pt x="19110" y="15228"/>
                  </a:cubicBezTo>
                  <a:lnTo>
                    <a:pt x="19115" y="6949"/>
                  </a:lnTo>
                  <a:cubicBezTo>
                    <a:pt x="18746" y="7587"/>
                    <a:pt x="18420" y="8402"/>
                    <a:pt x="18109" y="9342"/>
                  </a:cubicBezTo>
                  <a:lnTo>
                    <a:pt x="18109" y="13000"/>
                  </a:lnTo>
                  <a:close/>
                  <a:moveTo>
                    <a:pt x="20436" y="16503"/>
                  </a:moveTo>
                  <a:cubicBezTo>
                    <a:pt x="20751" y="16735"/>
                    <a:pt x="21099" y="16863"/>
                    <a:pt x="21492" y="16860"/>
                  </a:cubicBezTo>
                  <a:lnTo>
                    <a:pt x="21546" y="5272"/>
                  </a:lnTo>
                  <a:cubicBezTo>
                    <a:pt x="21153" y="5289"/>
                    <a:pt x="20803" y="5437"/>
                    <a:pt x="20486" y="5684"/>
                  </a:cubicBezTo>
                  <a:cubicBezTo>
                    <a:pt x="20486" y="5684"/>
                    <a:pt x="20436" y="16503"/>
                    <a:pt x="20436" y="1650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3" name="Shape 10420">
              <a:extLst>
                <a:ext uri="{FF2B5EF4-FFF2-40B4-BE49-F238E27FC236}">
                  <a16:creationId xmlns:a16="http://schemas.microsoft.com/office/drawing/2014/main" xmlns="" id="{B59A32F7-8F94-4556-BC49-117CA03AD6BD}"/>
                </a:ext>
              </a:extLst>
            </p:cNvPr>
            <p:cNvSpPr/>
            <p:nvPr/>
          </p:nvSpPr>
          <p:spPr>
            <a:xfrm>
              <a:off x="20962861" y="13425299"/>
              <a:ext cx="410124" cy="290707"/>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4" name="Shape 10421">
              <a:extLst>
                <a:ext uri="{FF2B5EF4-FFF2-40B4-BE49-F238E27FC236}">
                  <a16:creationId xmlns:a16="http://schemas.microsoft.com/office/drawing/2014/main" xmlns="" id="{15EEF950-4BCD-4BFD-8F5B-44CEB46110E7}"/>
                </a:ext>
              </a:extLst>
            </p:cNvPr>
            <p:cNvSpPr/>
            <p:nvPr/>
          </p:nvSpPr>
          <p:spPr>
            <a:xfrm>
              <a:off x="17299512" y="11350027"/>
              <a:ext cx="844727" cy="1120378"/>
            </a:xfrm>
            <a:custGeom>
              <a:avLst/>
              <a:gdLst/>
              <a:ahLst/>
              <a:cxnLst>
                <a:cxn ang="0">
                  <a:pos x="wd2" y="hd2"/>
                </a:cxn>
                <a:cxn ang="5400000">
                  <a:pos x="wd2" y="hd2"/>
                </a:cxn>
                <a:cxn ang="10800000">
                  <a:pos x="wd2" y="hd2"/>
                </a:cxn>
                <a:cxn ang="16200000">
                  <a:pos x="wd2" y="hd2"/>
                </a:cxn>
              </a:cxnLst>
              <a:rect l="0" t="0" r="r" b="b"/>
              <a:pathLst>
                <a:path w="20983" h="21600" extrusionOk="0">
                  <a:moveTo>
                    <a:pt x="4487" y="2661"/>
                  </a:moveTo>
                  <a:cubicBezTo>
                    <a:pt x="6041" y="1951"/>
                    <a:pt x="7888" y="1570"/>
                    <a:pt x="9828" y="1650"/>
                  </a:cubicBezTo>
                  <a:cubicBezTo>
                    <a:pt x="12550" y="1762"/>
                    <a:pt x="15032" y="2810"/>
                    <a:pt x="16637" y="4507"/>
                  </a:cubicBezTo>
                  <a:cubicBezTo>
                    <a:pt x="17954" y="5855"/>
                    <a:pt x="18616" y="7507"/>
                    <a:pt x="18498" y="9204"/>
                  </a:cubicBezTo>
                  <a:cubicBezTo>
                    <a:pt x="18319" y="11771"/>
                    <a:pt x="16441" y="14049"/>
                    <a:pt x="13531" y="15243"/>
                  </a:cubicBezTo>
                  <a:cubicBezTo>
                    <a:pt x="7170" y="17652"/>
                    <a:pt x="-219" y="13941"/>
                    <a:pt x="5" y="8450"/>
                  </a:cubicBezTo>
                  <a:cubicBezTo>
                    <a:pt x="107" y="5959"/>
                    <a:pt x="1897" y="3846"/>
                    <a:pt x="4487" y="2661"/>
                  </a:cubicBezTo>
                  <a:close/>
                  <a:moveTo>
                    <a:pt x="11927" y="0"/>
                  </a:moveTo>
                  <a:cubicBezTo>
                    <a:pt x="14972" y="550"/>
                    <a:pt x="17565" y="1989"/>
                    <a:pt x="19217" y="4049"/>
                  </a:cubicBezTo>
                  <a:cubicBezTo>
                    <a:pt x="20869" y="6108"/>
                    <a:pt x="21381" y="8545"/>
                    <a:pt x="20673" y="10908"/>
                  </a:cubicBezTo>
                  <a:cubicBezTo>
                    <a:pt x="19872" y="13581"/>
                    <a:pt x="17567" y="15755"/>
                    <a:pt x="14558" y="16945"/>
                  </a:cubicBezTo>
                  <a:cubicBezTo>
                    <a:pt x="13956" y="17183"/>
                    <a:pt x="13322" y="17384"/>
                    <a:pt x="12670" y="17539"/>
                  </a:cubicBezTo>
                  <a:lnTo>
                    <a:pt x="13689" y="19091"/>
                  </a:lnTo>
                  <a:lnTo>
                    <a:pt x="16552" y="17959"/>
                  </a:lnTo>
                  <a:lnTo>
                    <a:pt x="17260" y="19038"/>
                  </a:lnTo>
                  <a:lnTo>
                    <a:pt x="10780" y="21600"/>
                  </a:lnTo>
                  <a:lnTo>
                    <a:pt x="10072" y="20522"/>
                  </a:lnTo>
                  <a:lnTo>
                    <a:pt x="12300" y="19641"/>
                  </a:lnTo>
                  <a:lnTo>
                    <a:pt x="11104" y="17819"/>
                  </a:lnTo>
                  <a:cubicBezTo>
                    <a:pt x="10775" y="17860"/>
                    <a:pt x="10443" y="17889"/>
                    <a:pt x="10107" y="17909"/>
                  </a:cubicBezTo>
                  <a:cubicBezTo>
                    <a:pt x="9771" y="17928"/>
                    <a:pt x="9432" y="17928"/>
                    <a:pt x="9091" y="17924"/>
                  </a:cubicBezTo>
                  <a:lnTo>
                    <a:pt x="9115" y="16720"/>
                  </a:lnTo>
                  <a:cubicBezTo>
                    <a:pt x="13857" y="16783"/>
                    <a:pt x="18085" y="14219"/>
                    <a:pt x="19161" y="10628"/>
                  </a:cubicBezTo>
                  <a:cubicBezTo>
                    <a:pt x="19775" y="8580"/>
                    <a:pt x="19321" y="6477"/>
                    <a:pt x="17889" y="4691"/>
                  </a:cubicBezTo>
                  <a:cubicBezTo>
                    <a:pt x="16457" y="2906"/>
                    <a:pt x="14223" y="1654"/>
                    <a:pt x="11584" y="1178"/>
                  </a:cubicBezTo>
                  <a:lnTo>
                    <a:pt x="11927" y="0"/>
                  </a:lnTo>
                  <a:close/>
                  <a:moveTo>
                    <a:pt x="5394" y="3239"/>
                  </a:moveTo>
                  <a:cubicBezTo>
                    <a:pt x="4971" y="3418"/>
                    <a:pt x="4569" y="3631"/>
                    <a:pt x="4192" y="3867"/>
                  </a:cubicBezTo>
                  <a:cubicBezTo>
                    <a:pt x="4430" y="4003"/>
                    <a:pt x="4673" y="4128"/>
                    <a:pt x="4923" y="4245"/>
                  </a:cubicBezTo>
                  <a:cubicBezTo>
                    <a:pt x="5174" y="4362"/>
                    <a:pt x="5435" y="4472"/>
                    <a:pt x="5696" y="4572"/>
                  </a:cubicBezTo>
                  <a:cubicBezTo>
                    <a:pt x="5840" y="4267"/>
                    <a:pt x="6003" y="3965"/>
                    <a:pt x="6174" y="3669"/>
                  </a:cubicBezTo>
                  <a:cubicBezTo>
                    <a:pt x="6345" y="3372"/>
                    <a:pt x="6521" y="3084"/>
                    <a:pt x="6719" y="2797"/>
                  </a:cubicBezTo>
                  <a:cubicBezTo>
                    <a:pt x="6262" y="2917"/>
                    <a:pt x="5818" y="3060"/>
                    <a:pt x="5394" y="3239"/>
                  </a:cubicBezTo>
                  <a:close/>
                  <a:moveTo>
                    <a:pt x="8111" y="2528"/>
                  </a:moveTo>
                  <a:cubicBezTo>
                    <a:pt x="7815" y="2902"/>
                    <a:pt x="7543" y="3287"/>
                    <a:pt x="7298" y="3681"/>
                  </a:cubicBezTo>
                  <a:cubicBezTo>
                    <a:pt x="7054" y="4074"/>
                    <a:pt x="6836" y="4477"/>
                    <a:pt x="6643" y="4888"/>
                  </a:cubicBezTo>
                  <a:cubicBezTo>
                    <a:pt x="7029" y="4999"/>
                    <a:pt x="7434" y="5094"/>
                    <a:pt x="7836" y="5166"/>
                  </a:cubicBezTo>
                  <a:cubicBezTo>
                    <a:pt x="8238" y="5238"/>
                    <a:pt x="8643" y="5293"/>
                    <a:pt x="9058" y="5327"/>
                  </a:cubicBezTo>
                  <a:lnTo>
                    <a:pt x="9258" y="2461"/>
                  </a:lnTo>
                  <a:cubicBezTo>
                    <a:pt x="9068" y="2462"/>
                    <a:pt x="8871" y="2466"/>
                    <a:pt x="8681" y="2478"/>
                  </a:cubicBezTo>
                  <a:cubicBezTo>
                    <a:pt x="8492" y="2490"/>
                    <a:pt x="8298" y="2506"/>
                    <a:pt x="8111" y="2528"/>
                  </a:cubicBezTo>
                  <a:close/>
                  <a:moveTo>
                    <a:pt x="3332" y="4418"/>
                  </a:moveTo>
                  <a:cubicBezTo>
                    <a:pt x="2706" y="4923"/>
                    <a:pt x="2197" y="5495"/>
                    <a:pt x="1822" y="6116"/>
                  </a:cubicBezTo>
                  <a:cubicBezTo>
                    <a:pt x="1446" y="6736"/>
                    <a:pt x="1199" y="7397"/>
                    <a:pt x="1096" y="8089"/>
                  </a:cubicBezTo>
                  <a:lnTo>
                    <a:pt x="4650" y="8241"/>
                  </a:lnTo>
                  <a:cubicBezTo>
                    <a:pt x="4701" y="7753"/>
                    <a:pt x="4783" y="7263"/>
                    <a:pt x="4900" y="6783"/>
                  </a:cubicBezTo>
                  <a:cubicBezTo>
                    <a:pt x="5017" y="6305"/>
                    <a:pt x="5162" y="5834"/>
                    <a:pt x="5343" y="5367"/>
                  </a:cubicBezTo>
                  <a:cubicBezTo>
                    <a:pt x="4988" y="5238"/>
                    <a:pt x="4643" y="5093"/>
                    <a:pt x="4305" y="4935"/>
                  </a:cubicBezTo>
                  <a:cubicBezTo>
                    <a:pt x="3967" y="4776"/>
                    <a:pt x="3650" y="4606"/>
                    <a:pt x="3332" y="4418"/>
                  </a:cubicBezTo>
                  <a:close/>
                  <a:moveTo>
                    <a:pt x="10293" y="2496"/>
                  </a:moveTo>
                  <a:lnTo>
                    <a:pt x="10092" y="5362"/>
                  </a:lnTo>
                  <a:cubicBezTo>
                    <a:pt x="10477" y="5359"/>
                    <a:pt x="10864" y="5342"/>
                    <a:pt x="11246" y="5304"/>
                  </a:cubicBezTo>
                  <a:cubicBezTo>
                    <a:pt x="11627" y="5267"/>
                    <a:pt x="12001" y="5211"/>
                    <a:pt x="12374" y="5139"/>
                  </a:cubicBezTo>
                  <a:cubicBezTo>
                    <a:pt x="12236" y="4706"/>
                    <a:pt x="12076" y="4278"/>
                    <a:pt x="11881" y="3859"/>
                  </a:cubicBezTo>
                  <a:cubicBezTo>
                    <a:pt x="11686" y="3439"/>
                    <a:pt x="11470" y="3025"/>
                    <a:pt x="11220" y="2622"/>
                  </a:cubicBezTo>
                  <a:cubicBezTo>
                    <a:pt x="11069" y="2594"/>
                    <a:pt x="10904" y="2570"/>
                    <a:pt x="10750" y="2550"/>
                  </a:cubicBezTo>
                  <a:cubicBezTo>
                    <a:pt x="10596" y="2530"/>
                    <a:pt x="10449" y="2511"/>
                    <a:pt x="10293" y="2496"/>
                  </a:cubicBezTo>
                  <a:close/>
                  <a:moveTo>
                    <a:pt x="12546" y="2964"/>
                  </a:moveTo>
                  <a:cubicBezTo>
                    <a:pt x="12714" y="3280"/>
                    <a:pt x="12868" y="3593"/>
                    <a:pt x="13006" y="3918"/>
                  </a:cubicBezTo>
                  <a:cubicBezTo>
                    <a:pt x="13143" y="4242"/>
                    <a:pt x="13264" y="4578"/>
                    <a:pt x="13370" y="4909"/>
                  </a:cubicBezTo>
                  <a:cubicBezTo>
                    <a:pt x="13667" y="4827"/>
                    <a:pt x="13966" y="4724"/>
                    <a:pt x="14251" y="4619"/>
                  </a:cubicBezTo>
                  <a:cubicBezTo>
                    <a:pt x="14537" y="4515"/>
                    <a:pt x="14810" y="4404"/>
                    <a:pt x="15083" y="4279"/>
                  </a:cubicBezTo>
                  <a:cubicBezTo>
                    <a:pt x="14713" y="3995"/>
                    <a:pt x="14316" y="3740"/>
                    <a:pt x="13892" y="3520"/>
                  </a:cubicBezTo>
                  <a:cubicBezTo>
                    <a:pt x="13467" y="3300"/>
                    <a:pt x="13014" y="3118"/>
                    <a:pt x="12546" y="2964"/>
                  </a:cubicBezTo>
                  <a:close/>
                  <a:moveTo>
                    <a:pt x="6314" y="5674"/>
                  </a:moveTo>
                  <a:cubicBezTo>
                    <a:pt x="6153" y="6098"/>
                    <a:pt x="6029" y="6530"/>
                    <a:pt x="5924" y="6964"/>
                  </a:cubicBezTo>
                  <a:cubicBezTo>
                    <a:pt x="5819" y="7399"/>
                    <a:pt x="5732" y="7834"/>
                    <a:pt x="5684" y="8277"/>
                  </a:cubicBezTo>
                  <a:lnTo>
                    <a:pt x="8848" y="8407"/>
                  </a:lnTo>
                  <a:lnTo>
                    <a:pt x="9000" y="6134"/>
                  </a:lnTo>
                  <a:cubicBezTo>
                    <a:pt x="8537" y="6101"/>
                    <a:pt x="8088" y="6045"/>
                    <a:pt x="7639" y="5969"/>
                  </a:cubicBezTo>
                  <a:cubicBezTo>
                    <a:pt x="7191" y="5894"/>
                    <a:pt x="6744" y="5793"/>
                    <a:pt x="6314" y="5674"/>
                  </a:cubicBezTo>
                  <a:close/>
                  <a:moveTo>
                    <a:pt x="1037" y="8896"/>
                  </a:moveTo>
                  <a:cubicBezTo>
                    <a:pt x="1047" y="9594"/>
                    <a:pt x="1206" y="10280"/>
                    <a:pt x="1496" y="10928"/>
                  </a:cubicBezTo>
                  <a:cubicBezTo>
                    <a:pt x="1786" y="11576"/>
                    <a:pt x="2210" y="12192"/>
                    <a:pt x="2764" y="12745"/>
                  </a:cubicBezTo>
                  <a:cubicBezTo>
                    <a:pt x="3007" y="12630"/>
                    <a:pt x="3260" y="12514"/>
                    <a:pt x="3512" y="12414"/>
                  </a:cubicBezTo>
                  <a:cubicBezTo>
                    <a:pt x="3964" y="12235"/>
                    <a:pt x="4426" y="12086"/>
                    <a:pt x="4903" y="11958"/>
                  </a:cubicBezTo>
                  <a:cubicBezTo>
                    <a:pt x="4786" y="11479"/>
                    <a:pt x="4700" y="10999"/>
                    <a:pt x="4648" y="10513"/>
                  </a:cubicBezTo>
                  <a:cubicBezTo>
                    <a:pt x="4597" y="10027"/>
                    <a:pt x="4589" y="9533"/>
                    <a:pt x="4604" y="9043"/>
                  </a:cubicBezTo>
                  <a:lnTo>
                    <a:pt x="1037" y="8896"/>
                  </a:lnTo>
                  <a:close/>
                  <a:moveTo>
                    <a:pt x="10034" y="6170"/>
                  </a:moveTo>
                  <a:lnTo>
                    <a:pt x="9888" y="8452"/>
                  </a:lnTo>
                  <a:lnTo>
                    <a:pt x="12877" y="8570"/>
                  </a:lnTo>
                  <a:cubicBezTo>
                    <a:pt x="12889" y="8129"/>
                    <a:pt x="12873" y="7693"/>
                    <a:pt x="12828" y="7255"/>
                  </a:cubicBezTo>
                  <a:cubicBezTo>
                    <a:pt x="12783" y="6817"/>
                    <a:pt x="12706" y="6382"/>
                    <a:pt x="12605" y="5950"/>
                  </a:cubicBezTo>
                  <a:cubicBezTo>
                    <a:pt x="12185" y="6026"/>
                    <a:pt x="11754" y="6078"/>
                    <a:pt x="11326" y="6116"/>
                  </a:cubicBezTo>
                  <a:cubicBezTo>
                    <a:pt x="10897" y="6154"/>
                    <a:pt x="10465" y="6172"/>
                    <a:pt x="10034" y="6170"/>
                  </a:cubicBezTo>
                  <a:close/>
                  <a:moveTo>
                    <a:pt x="13607" y="5729"/>
                  </a:moveTo>
                  <a:cubicBezTo>
                    <a:pt x="13722" y="6204"/>
                    <a:pt x="13804" y="6683"/>
                    <a:pt x="13855" y="7165"/>
                  </a:cubicBezTo>
                  <a:cubicBezTo>
                    <a:pt x="13906" y="7647"/>
                    <a:pt x="13932" y="8129"/>
                    <a:pt x="13917" y="8615"/>
                  </a:cubicBezTo>
                  <a:lnTo>
                    <a:pt x="17466" y="8758"/>
                  </a:lnTo>
                  <a:cubicBezTo>
                    <a:pt x="17456" y="8067"/>
                    <a:pt x="17305" y="7387"/>
                    <a:pt x="17019" y="6745"/>
                  </a:cubicBezTo>
                  <a:cubicBezTo>
                    <a:pt x="16733" y="6102"/>
                    <a:pt x="16308" y="5496"/>
                    <a:pt x="15763" y="4946"/>
                  </a:cubicBezTo>
                  <a:cubicBezTo>
                    <a:pt x="15538" y="5052"/>
                    <a:pt x="15319" y="5157"/>
                    <a:pt x="15087" y="5249"/>
                  </a:cubicBezTo>
                  <a:cubicBezTo>
                    <a:pt x="14848" y="5343"/>
                    <a:pt x="14597" y="5425"/>
                    <a:pt x="14350" y="5505"/>
                  </a:cubicBezTo>
                  <a:cubicBezTo>
                    <a:pt x="14104" y="5585"/>
                    <a:pt x="13859" y="5663"/>
                    <a:pt x="13607" y="5729"/>
                  </a:cubicBezTo>
                  <a:close/>
                  <a:moveTo>
                    <a:pt x="5626" y="9084"/>
                  </a:moveTo>
                  <a:cubicBezTo>
                    <a:pt x="5614" y="9529"/>
                    <a:pt x="5641" y="9977"/>
                    <a:pt x="5687" y="10418"/>
                  </a:cubicBezTo>
                  <a:cubicBezTo>
                    <a:pt x="5733" y="10859"/>
                    <a:pt x="5801" y="11302"/>
                    <a:pt x="5904" y="11737"/>
                  </a:cubicBezTo>
                  <a:cubicBezTo>
                    <a:pt x="6351" y="11653"/>
                    <a:pt x="6799" y="11583"/>
                    <a:pt x="7255" y="11543"/>
                  </a:cubicBezTo>
                  <a:cubicBezTo>
                    <a:pt x="7711" y="11502"/>
                    <a:pt x="8176" y="11483"/>
                    <a:pt x="8637" y="11488"/>
                  </a:cubicBezTo>
                  <a:lnTo>
                    <a:pt x="8789" y="9215"/>
                  </a:lnTo>
                  <a:lnTo>
                    <a:pt x="5626" y="9084"/>
                  </a:lnTo>
                  <a:close/>
                  <a:moveTo>
                    <a:pt x="9830" y="9260"/>
                  </a:moveTo>
                  <a:lnTo>
                    <a:pt x="9678" y="11533"/>
                  </a:lnTo>
                  <a:cubicBezTo>
                    <a:pt x="10111" y="11566"/>
                    <a:pt x="10539" y="11622"/>
                    <a:pt x="10960" y="11693"/>
                  </a:cubicBezTo>
                  <a:cubicBezTo>
                    <a:pt x="11380" y="11765"/>
                    <a:pt x="11789" y="11857"/>
                    <a:pt x="12195" y="11966"/>
                  </a:cubicBezTo>
                  <a:cubicBezTo>
                    <a:pt x="12354" y="11544"/>
                    <a:pt x="12487" y="11117"/>
                    <a:pt x="12591" y="10685"/>
                  </a:cubicBezTo>
                  <a:cubicBezTo>
                    <a:pt x="12695" y="10253"/>
                    <a:pt x="12771" y="9818"/>
                    <a:pt x="12819" y="9378"/>
                  </a:cubicBezTo>
                  <a:lnTo>
                    <a:pt x="9830" y="9260"/>
                  </a:lnTo>
                  <a:close/>
                  <a:moveTo>
                    <a:pt x="4330" y="13039"/>
                  </a:moveTo>
                  <a:cubicBezTo>
                    <a:pt x="4065" y="13135"/>
                    <a:pt x="3812" y="13241"/>
                    <a:pt x="3558" y="13356"/>
                  </a:cubicBezTo>
                  <a:cubicBezTo>
                    <a:pt x="3906" y="13626"/>
                    <a:pt x="4274" y="13873"/>
                    <a:pt x="4671" y="14087"/>
                  </a:cubicBezTo>
                  <a:cubicBezTo>
                    <a:pt x="5068" y="14300"/>
                    <a:pt x="5484" y="14479"/>
                    <a:pt x="5921" y="14635"/>
                  </a:cubicBezTo>
                  <a:cubicBezTo>
                    <a:pt x="5762" y="14333"/>
                    <a:pt x="5616" y="14028"/>
                    <a:pt x="5485" y="13718"/>
                  </a:cubicBezTo>
                  <a:cubicBezTo>
                    <a:pt x="5354" y="13409"/>
                    <a:pt x="5242" y="13093"/>
                    <a:pt x="5139" y="12778"/>
                  </a:cubicBezTo>
                  <a:cubicBezTo>
                    <a:pt x="4865" y="12856"/>
                    <a:pt x="4595" y="12943"/>
                    <a:pt x="4330" y="13039"/>
                  </a:cubicBezTo>
                  <a:close/>
                  <a:moveTo>
                    <a:pt x="13859" y="9423"/>
                  </a:moveTo>
                  <a:cubicBezTo>
                    <a:pt x="13808" y="9907"/>
                    <a:pt x="13724" y="10381"/>
                    <a:pt x="13609" y="10857"/>
                  </a:cubicBezTo>
                  <a:cubicBezTo>
                    <a:pt x="13493" y="11332"/>
                    <a:pt x="13344" y="11810"/>
                    <a:pt x="13166" y="12273"/>
                  </a:cubicBezTo>
                  <a:cubicBezTo>
                    <a:pt x="13524" y="12401"/>
                    <a:pt x="13875" y="12542"/>
                    <a:pt x="14216" y="12701"/>
                  </a:cubicBezTo>
                  <a:cubicBezTo>
                    <a:pt x="14556" y="12859"/>
                    <a:pt x="14886" y="13034"/>
                    <a:pt x="15207" y="13222"/>
                  </a:cubicBezTo>
                  <a:cubicBezTo>
                    <a:pt x="15824" y="12719"/>
                    <a:pt x="16322" y="12150"/>
                    <a:pt x="16693" y="11534"/>
                  </a:cubicBezTo>
                  <a:cubicBezTo>
                    <a:pt x="17065" y="10917"/>
                    <a:pt x="17305" y="10252"/>
                    <a:pt x="17407" y="9565"/>
                  </a:cubicBezTo>
                  <a:lnTo>
                    <a:pt x="13859" y="9423"/>
                  </a:lnTo>
                  <a:close/>
                  <a:moveTo>
                    <a:pt x="6129" y="12538"/>
                  </a:moveTo>
                  <a:cubicBezTo>
                    <a:pt x="6265" y="12963"/>
                    <a:pt x="6431" y="13384"/>
                    <a:pt x="6622" y="13795"/>
                  </a:cubicBezTo>
                  <a:cubicBezTo>
                    <a:pt x="6812" y="14207"/>
                    <a:pt x="7039" y="14613"/>
                    <a:pt x="7283" y="15009"/>
                  </a:cubicBezTo>
                  <a:cubicBezTo>
                    <a:pt x="7466" y="15045"/>
                    <a:pt x="7639" y="15073"/>
                    <a:pt x="7825" y="15099"/>
                  </a:cubicBezTo>
                  <a:cubicBezTo>
                    <a:pt x="8012" y="15126"/>
                    <a:pt x="8207" y="15149"/>
                    <a:pt x="8397" y="15166"/>
                  </a:cubicBezTo>
                  <a:lnTo>
                    <a:pt x="8585" y="12305"/>
                  </a:lnTo>
                  <a:cubicBezTo>
                    <a:pt x="8171" y="12305"/>
                    <a:pt x="7764" y="12319"/>
                    <a:pt x="7353" y="12359"/>
                  </a:cubicBezTo>
                  <a:cubicBezTo>
                    <a:pt x="6944" y="12398"/>
                    <a:pt x="6529" y="12460"/>
                    <a:pt x="6129" y="12538"/>
                  </a:cubicBezTo>
                  <a:close/>
                  <a:moveTo>
                    <a:pt x="9626" y="12350"/>
                  </a:moveTo>
                  <a:lnTo>
                    <a:pt x="9425" y="15216"/>
                  </a:lnTo>
                  <a:cubicBezTo>
                    <a:pt x="9582" y="15214"/>
                    <a:pt x="9737" y="15203"/>
                    <a:pt x="9894" y="15194"/>
                  </a:cubicBezTo>
                  <a:cubicBezTo>
                    <a:pt x="10050" y="15186"/>
                    <a:pt x="10213" y="15175"/>
                    <a:pt x="10368" y="15159"/>
                  </a:cubicBezTo>
                  <a:cubicBezTo>
                    <a:pt x="10671" y="14778"/>
                    <a:pt x="10949" y="14389"/>
                    <a:pt x="11199" y="13988"/>
                  </a:cubicBezTo>
                  <a:cubicBezTo>
                    <a:pt x="11449" y="13586"/>
                    <a:pt x="11670" y="13171"/>
                    <a:pt x="11866" y="12752"/>
                  </a:cubicBezTo>
                  <a:cubicBezTo>
                    <a:pt x="11505" y="12651"/>
                    <a:pt x="11137" y="12565"/>
                    <a:pt x="10763" y="12497"/>
                  </a:cubicBezTo>
                  <a:cubicBezTo>
                    <a:pt x="10389" y="12429"/>
                    <a:pt x="10011" y="12384"/>
                    <a:pt x="9626" y="12350"/>
                  </a:cubicBezTo>
                  <a:close/>
                  <a:moveTo>
                    <a:pt x="12825" y="13064"/>
                  </a:moveTo>
                  <a:cubicBezTo>
                    <a:pt x="12674" y="13385"/>
                    <a:pt x="12510" y="13697"/>
                    <a:pt x="12329" y="14009"/>
                  </a:cubicBezTo>
                  <a:cubicBezTo>
                    <a:pt x="12148" y="14321"/>
                    <a:pt x="11954" y="14631"/>
                    <a:pt x="11743" y="14932"/>
                  </a:cubicBezTo>
                  <a:cubicBezTo>
                    <a:pt x="12192" y="14825"/>
                    <a:pt x="12634" y="14684"/>
                    <a:pt x="13055" y="14518"/>
                  </a:cubicBezTo>
                  <a:cubicBezTo>
                    <a:pt x="13547" y="14324"/>
                    <a:pt x="14011" y="14095"/>
                    <a:pt x="14443" y="13829"/>
                  </a:cubicBezTo>
                  <a:cubicBezTo>
                    <a:pt x="14187" y="13681"/>
                    <a:pt x="13927" y="13541"/>
                    <a:pt x="13658" y="13413"/>
                  </a:cubicBezTo>
                  <a:cubicBezTo>
                    <a:pt x="13389" y="13285"/>
                    <a:pt x="13107" y="13170"/>
                    <a:pt x="12825" y="1306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85" name="Shape 10422">
              <a:extLst>
                <a:ext uri="{FF2B5EF4-FFF2-40B4-BE49-F238E27FC236}">
                  <a16:creationId xmlns:a16="http://schemas.microsoft.com/office/drawing/2014/main" xmlns="" id="{71779CA6-F38A-4816-A375-545D7274429A}"/>
                </a:ext>
              </a:extLst>
            </p:cNvPr>
            <p:cNvSpPr/>
            <p:nvPr/>
          </p:nvSpPr>
          <p:spPr>
            <a:xfrm>
              <a:off x="20005513" y="11848666"/>
              <a:ext cx="466518" cy="539053"/>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307" y="15970"/>
                  </a:lnTo>
                  <a:lnTo>
                    <a:pt x="6112" y="19464"/>
                  </a:lnTo>
                  <a:cubicBezTo>
                    <a:pt x="6112" y="19464"/>
                    <a:pt x="0" y="21600"/>
                    <a:pt x="0" y="21600"/>
                  </a:cubicBezTo>
                  <a:close/>
                  <a:moveTo>
                    <a:pt x="6773" y="18782"/>
                  </a:moveTo>
                  <a:lnTo>
                    <a:pt x="1968" y="15288"/>
                  </a:lnTo>
                  <a:lnTo>
                    <a:pt x="13737" y="3150"/>
                  </a:lnTo>
                  <a:lnTo>
                    <a:pt x="18545" y="6642"/>
                  </a:lnTo>
                  <a:cubicBezTo>
                    <a:pt x="18545" y="6642"/>
                    <a:pt x="6773" y="18782"/>
                    <a:pt x="6773" y="18782"/>
                  </a:cubicBezTo>
                  <a:close/>
                  <a:moveTo>
                    <a:pt x="19218" y="5946"/>
                  </a:moveTo>
                  <a:lnTo>
                    <a:pt x="14411" y="2455"/>
                  </a:lnTo>
                  <a:lnTo>
                    <a:pt x="16792" y="0"/>
                  </a:lnTo>
                  <a:lnTo>
                    <a:pt x="21600" y="3492"/>
                  </a:lnTo>
                  <a:cubicBezTo>
                    <a:pt x="21600" y="3492"/>
                    <a:pt x="19218" y="5946"/>
                    <a:pt x="19218"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6" name="Shape 10423">
              <a:extLst>
                <a:ext uri="{FF2B5EF4-FFF2-40B4-BE49-F238E27FC236}">
                  <a16:creationId xmlns:a16="http://schemas.microsoft.com/office/drawing/2014/main" xmlns="" id="{6DD14B5F-E659-4DDA-ACC8-78584F4FF566}"/>
                </a:ext>
              </a:extLst>
            </p:cNvPr>
            <p:cNvSpPr/>
            <p:nvPr/>
          </p:nvSpPr>
          <p:spPr>
            <a:xfrm>
              <a:off x="20278364" y="10951879"/>
              <a:ext cx="600731" cy="838468"/>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7" name="Shape 10424">
              <a:extLst>
                <a:ext uri="{FF2B5EF4-FFF2-40B4-BE49-F238E27FC236}">
                  <a16:creationId xmlns:a16="http://schemas.microsoft.com/office/drawing/2014/main" xmlns="" id="{A848FB96-C373-4A7C-B406-DC20CC6AC135}"/>
                </a:ext>
              </a:extLst>
            </p:cNvPr>
            <p:cNvSpPr/>
            <p:nvPr/>
          </p:nvSpPr>
          <p:spPr>
            <a:xfrm>
              <a:off x="18922347" y="11328122"/>
              <a:ext cx="534330" cy="591501"/>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8" name="Shape 10425">
              <a:extLst>
                <a:ext uri="{FF2B5EF4-FFF2-40B4-BE49-F238E27FC236}">
                  <a16:creationId xmlns:a16="http://schemas.microsoft.com/office/drawing/2014/main" xmlns="" id="{1AE40C6C-E3BC-4E55-9CAE-048DE64212F0}"/>
                </a:ext>
              </a:extLst>
            </p:cNvPr>
            <p:cNvSpPr/>
            <p:nvPr/>
          </p:nvSpPr>
          <p:spPr>
            <a:xfrm>
              <a:off x="18412450" y="12553817"/>
              <a:ext cx="745366" cy="625836"/>
            </a:xfrm>
            <a:custGeom>
              <a:avLst/>
              <a:gdLst/>
              <a:ahLst/>
              <a:cxnLst>
                <a:cxn ang="0">
                  <a:pos x="wd2" y="hd2"/>
                </a:cxn>
                <a:cxn ang="5400000">
                  <a:pos x="wd2" y="hd2"/>
                </a:cxn>
                <a:cxn ang="10800000">
                  <a:pos x="wd2" y="hd2"/>
                </a:cxn>
                <a:cxn ang="16200000">
                  <a:pos x="wd2" y="hd2"/>
                </a:cxn>
              </a:cxnLst>
              <a:rect l="0" t="0" r="r" b="b"/>
              <a:pathLst>
                <a:path w="21600" h="21600" extrusionOk="0">
                  <a:moveTo>
                    <a:pt x="13666" y="8645"/>
                  </a:moveTo>
                  <a:cubicBezTo>
                    <a:pt x="12912" y="8819"/>
                    <a:pt x="12183" y="8233"/>
                    <a:pt x="12037" y="7337"/>
                  </a:cubicBezTo>
                  <a:cubicBezTo>
                    <a:pt x="11891" y="6440"/>
                    <a:pt x="12382" y="5571"/>
                    <a:pt x="13136" y="5397"/>
                  </a:cubicBezTo>
                  <a:cubicBezTo>
                    <a:pt x="13888" y="5223"/>
                    <a:pt x="14617" y="5809"/>
                    <a:pt x="14763" y="6705"/>
                  </a:cubicBezTo>
                  <a:cubicBezTo>
                    <a:pt x="14909" y="7602"/>
                    <a:pt x="14418" y="8471"/>
                    <a:pt x="13666" y="8645"/>
                  </a:cubicBezTo>
                  <a:close/>
                  <a:moveTo>
                    <a:pt x="9893" y="16176"/>
                  </a:moveTo>
                  <a:lnTo>
                    <a:pt x="7167" y="16807"/>
                  </a:lnTo>
                  <a:lnTo>
                    <a:pt x="6637" y="13559"/>
                  </a:lnTo>
                  <a:lnTo>
                    <a:pt x="9363" y="12928"/>
                  </a:lnTo>
                  <a:cubicBezTo>
                    <a:pt x="9363" y="12928"/>
                    <a:pt x="9893" y="16176"/>
                    <a:pt x="9893" y="16176"/>
                  </a:cubicBezTo>
                  <a:close/>
                  <a:moveTo>
                    <a:pt x="5604" y="17169"/>
                  </a:moveTo>
                  <a:lnTo>
                    <a:pt x="2878" y="17800"/>
                  </a:lnTo>
                  <a:lnTo>
                    <a:pt x="2348" y="14552"/>
                  </a:lnTo>
                  <a:lnTo>
                    <a:pt x="5074" y="13921"/>
                  </a:lnTo>
                  <a:cubicBezTo>
                    <a:pt x="5074" y="13921"/>
                    <a:pt x="5604" y="17169"/>
                    <a:pt x="5604" y="17169"/>
                  </a:cubicBezTo>
                  <a:close/>
                  <a:moveTo>
                    <a:pt x="12498" y="1492"/>
                  </a:moveTo>
                  <a:lnTo>
                    <a:pt x="7003" y="11626"/>
                  </a:lnTo>
                  <a:lnTo>
                    <a:pt x="694" y="13086"/>
                  </a:lnTo>
                  <a:lnTo>
                    <a:pt x="2084" y="21600"/>
                  </a:lnTo>
                  <a:lnTo>
                    <a:pt x="13469" y="18964"/>
                  </a:lnTo>
                  <a:lnTo>
                    <a:pt x="12369" y="12224"/>
                  </a:lnTo>
                  <a:lnTo>
                    <a:pt x="15993" y="11385"/>
                  </a:lnTo>
                  <a:lnTo>
                    <a:pt x="17093" y="18125"/>
                  </a:lnTo>
                  <a:lnTo>
                    <a:pt x="21600" y="17082"/>
                  </a:lnTo>
                  <a:lnTo>
                    <a:pt x="20219" y="8622"/>
                  </a:lnTo>
                  <a:lnTo>
                    <a:pt x="20832" y="8481"/>
                  </a:lnTo>
                  <a:cubicBezTo>
                    <a:pt x="20832" y="8481"/>
                    <a:pt x="12498" y="1492"/>
                    <a:pt x="12498" y="1492"/>
                  </a:cubicBezTo>
                  <a:close/>
                  <a:moveTo>
                    <a:pt x="20572" y="6974"/>
                  </a:moveTo>
                  <a:lnTo>
                    <a:pt x="20663" y="7533"/>
                  </a:lnTo>
                  <a:lnTo>
                    <a:pt x="12346" y="559"/>
                  </a:lnTo>
                  <a:lnTo>
                    <a:pt x="6626" y="11107"/>
                  </a:lnTo>
                  <a:lnTo>
                    <a:pt x="0" y="12641"/>
                  </a:lnTo>
                  <a:lnTo>
                    <a:pt x="3130" y="6656"/>
                  </a:lnTo>
                  <a:lnTo>
                    <a:pt x="9437" y="5195"/>
                  </a:lnTo>
                  <a:lnTo>
                    <a:pt x="12254" y="0"/>
                  </a:lnTo>
                  <a:cubicBezTo>
                    <a:pt x="12254" y="0"/>
                    <a:pt x="20572" y="6974"/>
                    <a:pt x="20572" y="6974"/>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89" name="Shape 10426">
              <a:extLst>
                <a:ext uri="{FF2B5EF4-FFF2-40B4-BE49-F238E27FC236}">
                  <a16:creationId xmlns:a16="http://schemas.microsoft.com/office/drawing/2014/main" xmlns="" id="{5D46D6BD-7454-4D16-BE5A-412CDACAD9B3}"/>
                </a:ext>
              </a:extLst>
            </p:cNvPr>
            <p:cNvSpPr/>
            <p:nvPr/>
          </p:nvSpPr>
          <p:spPr>
            <a:xfrm>
              <a:off x="17735944" y="12437854"/>
              <a:ext cx="513456" cy="632804"/>
            </a:xfrm>
            <a:custGeom>
              <a:avLst/>
              <a:gdLst/>
              <a:ahLst/>
              <a:cxnLst>
                <a:cxn ang="0">
                  <a:pos x="wd2" y="hd2"/>
                </a:cxn>
                <a:cxn ang="5400000">
                  <a:pos x="wd2" y="hd2"/>
                </a:cxn>
                <a:cxn ang="10800000">
                  <a:pos x="wd2" y="hd2"/>
                </a:cxn>
                <a:cxn ang="16200000">
                  <a:pos x="wd2" y="hd2"/>
                </a:cxn>
              </a:cxnLst>
              <a:rect l="0" t="0" r="r" b="b"/>
              <a:pathLst>
                <a:path w="21339" h="21341" extrusionOk="0">
                  <a:moveTo>
                    <a:pt x="12205" y="0"/>
                  </a:moveTo>
                  <a:cubicBezTo>
                    <a:pt x="11720" y="1"/>
                    <a:pt x="11326" y="320"/>
                    <a:pt x="11326" y="713"/>
                  </a:cubicBezTo>
                  <a:lnTo>
                    <a:pt x="11325" y="2819"/>
                  </a:lnTo>
                  <a:cubicBezTo>
                    <a:pt x="11950" y="2747"/>
                    <a:pt x="12537" y="2740"/>
                    <a:pt x="13081" y="2776"/>
                  </a:cubicBezTo>
                  <a:lnTo>
                    <a:pt x="13083" y="713"/>
                  </a:lnTo>
                  <a:cubicBezTo>
                    <a:pt x="13083" y="320"/>
                    <a:pt x="12690" y="1"/>
                    <a:pt x="12205" y="0"/>
                  </a:cubicBezTo>
                  <a:close/>
                  <a:moveTo>
                    <a:pt x="18280" y="1334"/>
                  </a:moveTo>
                  <a:cubicBezTo>
                    <a:pt x="17859" y="1138"/>
                    <a:pt x="17322" y="1255"/>
                    <a:pt x="17079" y="1596"/>
                  </a:cubicBezTo>
                  <a:lnTo>
                    <a:pt x="15817" y="3366"/>
                  </a:lnTo>
                  <a:cubicBezTo>
                    <a:pt x="16385" y="3577"/>
                    <a:pt x="16889" y="3826"/>
                    <a:pt x="17333" y="4087"/>
                  </a:cubicBezTo>
                  <a:lnTo>
                    <a:pt x="18600" y="2308"/>
                  </a:lnTo>
                  <a:cubicBezTo>
                    <a:pt x="18843" y="1966"/>
                    <a:pt x="18700" y="1531"/>
                    <a:pt x="18280" y="1334"/>
                  </a:cubicBezTo>
                  <a:close/>
                  <a:moveTo>
                    <a:pt x="879" y="9125"/>
                  </a:moveTo>
                  <a:cubicBezTo>
                    <a:pt x="394" y="9126"/>
                    <a:pt x="0" y="9445"/>
                    <a:pt x="0" y="9839"/>
                  </a:cubicBezTo>
                  <a:cubicBezTo>
                    <a:pt x="0" y="10232"/>
                    <a:pt x="393" y="10551"/>
                    <a:pt x="879" y="10551"/>
                  </a:cubicBezTo>
                  <a:lnTo>
                    <a:pt x="3404" y="10550"/>
                  </a:lnTo>
                  <a:cubicBezTo>
                    <a:pt x="3351" y="10107"/>
                    <a:pt x="3343" y="9629"/>
                    <a:pt x="3405" y="9124"/>
                  </a:cubicBezTo>
                  <a:cubicBezTo>
                    <a:pt x="3405" y="9124"/>
                    <a:pt x="879" y="9125"/>
                    <a:pt x="879" y="9125"/>
                  </a:cubicBezTo>
                  <a:close/>
                  <a:moveTo>
                    <a:pt x="2851" y="4649"/>
                  </a:moveTo>
                  <a:cubicBezTo>
                    <a:pt x="2431" y="4453"/>
                    <a:pt x="1894" y="4570"/>
                    <a:pt x="1651" y="4911"/>
                  </a:cubicBezTo>
                  <a:cubicBezTo>
                    <a:pt x="1408" y="5251"/>
                    <a:pt x="1552" y="5687"/>
                    <a:pt x="1973" y="5884"/>
                  </a:cubicBezTo>
                  <a:lnTo>
                    <a:pt x="4171" y="6912"/>
                  </a:lnTo>
                  <a:cubicBezTo>
                    <a:pt x="4408" y="6513"/>
                    <a:pt x="4715" y="6106"/>
                    <a:pt x="5109" y="5706"/>
                  </a:cubicBezTo>
                  <a:cubicBezTo>
                    <a:pt x="5109" y="5706"/>
                    <a:pt x="2851" y="4649"/>
                    <a:pt x="2851" y="4649"/>
                  </a:cubicBezTo>
                  <a:close/>
                  <a:moveTo>
                    <a:pt x="6118" y="1310"/>
                  </a:moveTo>
                  <a:cubicBezTo>
                    <a:pt x="5698" y="1506"/>
                    <a:pt x="5553" y="1942"/>
                    <a:pt x="5795" y="2283"/>
                  </a:cubicBezTo>
                  <a:lnTo>
                    <a:pt x="7150" y="4186"/>
                  </a:lnTo>
                  <a:cubicBezTo>
                    <a:pt x="7326" y="4088"/>
                    <a:pt x="8471" y="3556"/>
                    <a:pt x="8675" y="3478"/>
                  </a:cubicBezTo>
                  <a:lnTo>
                    <a:pt x="7318" y="1570"/>
                  </a:lnTo>
                  <a:cubicBezTo>
                    <a:pt x="7075" y="1229"/>
                    <a:pt x="6538" y="1113"/>
                    <a:pt x="6118" y="1310"/>
                  </a:cubicBezTo>
                  <a:close/>
                  <a:moveTo>
                    <a:pt x="18708" y="6478"/>
                  </a:moveTo>
                  <a:cubicBezTo>
                    <a:pt x="17247" y="4749"/>
                    <a:pt x="13396" y="2259"/>
                    <a:pt x="8417" y="4592"/>
                  </a:cubicBezTo>
                  <a:cubicBezTo>
                    <a:pt x="8416" y="4592"/>
                    <a:pt x="8415" y="4593"/>
                    <a:pt x="8414" y="4593"/>
                  </a:cubicBezTo>
                  <a:cubicBezTo>
                    <a:pt x="8414" y="4593"/>
                    <a:pt x="8413" y="4593"/>
                    <a:pt x="8413" y="4594"/>
                  </a:cubicBezTo>
                  <a:cubicBezTo>
                    <a:pt x="8412" y="4594"/>
                    <a:pt x="8411" y="4594"/>
                    <a:pt x="8411" y="4595"/>
                  </a:cubicBezTo>
                  <a:cubicBezTo>
                    <a:pt x="8410" y="4595"/>
                    <a:pt x="8409" y="4595"/>
                    <a:pt x="8409" y="4596"/>
                  </a:cubicBezTo>
                  <a:cubicBezTo>
                    <a:pt x="3429" y="6929"/>
                    <a:pt x="4160" y="10880"/>
                    <a:pt x="5276" y="12771"/>
                  </a:cubicBezTo>
                  <a:cubicBezTo>
                    <a:pt x="6289" y="14473"/>
                    <a:pt x="8765" y="15342"/>
                    <a:pt x="9094" y="15507"/>
                  </a:cubicBezTo>
                  <a:cubicBezTo>
                    <a:pt x="9630" y="15775"/>
                    <a:pt x="12317" y="16498"/>
                    <a:pt x="13014" y="17370"/>
                  </a:cubicBezTo>
                  <a:cubicBezTo>
                    <a:pt x="13975" y="18570"/>
                    <a:pt x="14185" y="18516"/>
                    <a:pt x="15033" y="18314"/>
                  </a:cubicBezTo>
                  <a:cubicBezTo>
                    <a:pt x="15896" y="18109"/>
                    <a:pt x="19095" y="16611"/>
                    <a:pt x="19745" y="16106"/>
                  </a:cubicBezTo>
                  <a:cubicBezTo>
                    <a:pt x="20384" y="15611"/>
                    <a:pt x="20547" y="15491"/>
                    <a:pt x="19747" y="14216"/>
                  </a:cubicBezTo>
                  <a:cubicBezTo>
                    <a:pt x="19165" y="13290"/>
                    <a:pt x="19737" y="11040"/>
                    <a:pt x="19718" y="10529"/>
                  </a:cubicBezTo>
                  <a:cubicBezTo>
                    <a:pt x="19707" y="10216"/>
                    <a:pt x="20017" y="8041"/>
                    <a:pt x="18708" y="6478"/>
                  </a:cubicBezTo>
                  <a:close/>
                  <a:moveTo>
                    <a:pt x="21272" y="17648"/>
                  </a:moveTo>
                  <a:cubicBezTo>
                    <a:pt x="21133" y="17452"/>
                    <a:pt x="20824" y="17385"/>
                    <a:pt x="20583" y="17498"/>
                  </a:cubicBezTo>
                  <a:lnTo>
                    <a:pt x="16099" y="19599"/>
                  </a:lnTo>
                  <a:cubicBezTo>
                    <a:pt x="15858" y="19712"/>
                    <a:pt x="15775" y="19962"/>
                    <a:pt x="15914" y="20158"/>
                  </a:cubicBezTo>
                  <a:lnTo>
                    <a:pt x="15914" y="20158"/>
                  </a:lnTo>
                  <a:cubicBezTo>
                    <a:pt x="16053" y="20353"/>
                    <a:pt x="16361" y="20420"/>
                    <a:pt x="16603" y="20307"/>
                  </a:cubicBezTo>
                  <a:lnTo>
                    <a:pt x="21087" y="18206"/>
                  </a:lnTo>
                  <a:cubicBezTo>
                    <a:pt x="21328" y="18093"/>
                    <a:pt x="21411" y="17843"/>
                    <a:pt x="21272" y="17648"/>
                  </a:cubicBezTo>
                  <a:cubicBezTo>
                    <a:pt x="21272" y="17648"/>
                    <a:pt x="21272" y="17648"/>
                    <a:pt x="21272" y="17648"/>
                  </a:cubicBezTo>
                  <a:close/>
                  <a:moveTo>
                    <a:pt x="20584" y="16680"/>
                  </a:moveTo>
                  <a:cubicBezTo>
                    <a:pt x="20445" y="16485"/>
                    <a:pt x="20136" y="16418"/>
                    <a:pt x="19895" y="16531"/>
                  </a:cubicBezTo>
                  <a:lnTo>
                    <a:pt x="15411" y="18632"/>
                  </a:lnTo>
                  <a:cubicBezTo>
                    <a:pt x="15170" y="18745"/>
                    <a:pt x="15087" y="18995"/>
                    <a:pt x="15226" y="19190"/>
                  </a:cubicBezTo>
                  <a:lnTo>
                    <a:pt x="15226" y="19190"/>
                  </a:lnTo>
                  <a:cubicBezTo>
                    <a:pt x="15365" y="19386"/>
                    <a:pt x="15673" y="19453"/>
                    <a:pt x="15915" y="19340"/>
                  </a:cubicBezTo>
                  <a:lnTo>
                    <a:pt x="20399" y="17239"/>
                  </a:lnTo>
                  <a:cubicBezTo>
                    <a:pt x="20640" y="17126"/>
                    <a:pt x="20723" y="16876"/>
                    <a:pt x="20584" y="16680"/>
                  </a:cubicBezTo>
                  <a:cubicBezTo>
                    <a:pt x="20584" y="16680"/>
                    <a:pt x="20584" y="16680"/>
                    <a:pt x="20584" y="16680"/>
                  </a:cubicBezTo>
                  <a:close/>
                  <a:moveTo>
                    <a:pt x="17079" y="20429"/>
                  </a:moveTo>
                  <a:lnTo>
                    <a:pt x="20979" y="18602"/>
                  </a:lnTo>
                  <a:cubicBezTo>
                    <a:pt x="21600" y="19474"/>
                    <a:pt x="21230" y="20591"/>
                    <a:pt x="20153" y="21095"/>
                  </a:cubicBezTo>
                  <a:cubicBezTo>
                    <a:pt x="19076" y="21600"/>
                    <a:pt x="17700" y="21302"/>
                    <a:pt x="17079" y="2042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0" name="Shape 10427">
              <a:extLst>
                <a:ext uri="{FF2B5EF4-FFF2-40B4-BE49-F238E27FC236}">
                  <a16:creationId xmlns:a16="http://schemas.microsoft.com/office/drawing/2014/main" xmlns="" id="{24CC5E60-0726-410B-975E-1B29F44EDBEA}"/>
                </a:ext>
              </a:extLst>
            </p:cNvPr>
            <p:cNvSpPr/>
            <p:nvPr/>
          </p:nvSpPr>
          <p:spPr>
            <a:xfrm>
              <a:off x="18227288" y="11702041"/>
              <a:ext cx="536497" cy="851588"/>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1" name="Shape 10428">
              <a:extLst>
                <a:ext uri="{FF2B5EF4-FFF2-40B4-BE49-F238E27FC236}">
                  <a16:creationId xmlns:a16="http://schemas.microsoft.com/office/drawing/2014/main" xmlns="" id="{F2527E05-8C49-4A18-8903-36CFDC68A72B}"/>
                </a:ext>
              </a:extLst>
            </p:cNvPr>
            <p:cNvSpPr/>
            <p:nvPr/>
          </p:nvSpPr>
          <p:spPr>
            <a:xfrm>
              <a:off x="20222346" y="13053979"/>
              <a:ext cx="570427" cy="640047"/>
            </a:xfrm>
            <a:custGeom>
              <a:avLst/>
              <a:gdLst/>
              <a:ahLst/>
              <a:cxnLst>
                <a:cxn ang="0">
                  <a:pos x="wd2" y="hd2"/>
                </a:cxn>
                <a:cxn ang="5400000">
                  <a:pos x="wd2" y="hd2"/>
                </a:cxn>
                <a:cxn ang="10800000">
                  <a:pos x="wd2" y="hd2"/>
                </a:cxn>
                <a:cxn ang="16200000">
                  <a:pos x="wd2" y="hd2"/>
                </a:cxn>
              </a:cxnLst>
              <a:rect l="0" t="0" r="r" b="b"/>
              <a:pathLst>
                <a:path w="21057" h="21254" extrusionOk="0">
                  <a:moveTo>
                    <a:pt x="8090" y="6610"/>
                  </a:moveTo>
                  <a:lnTo>
                    <a:pt x="8090" y="3934"/>
                  </a:lnTo>
                  <a:lnTo>
                    <a:pt x="19378" y="1852"/>
                  </a:lnTo>
                  <a:lnTo>
                    <a:pt x="19378" y="4528"/>
                  </a:lnTo>
                  <a:cubicBezTo>
                    <a:pt x="19378" y="4528"/>
                    <a:pt x="8090" y="6610"/>
                    <a:pt x="8090" y="6610"/>
                  </a:cubicBezTo>
                  <a:close/>
                  <a:moveTo>
                    <a:pt x="21057" y="0"/>
                  </a:moveTo>
                  <a:lnTo>
                    <a:pt x="6411" y="2701"/>
                  </a:lnTo>
                  <a:lnTo>
                    <a:pt x="6411" y="15495"/>
                  </a:lnTo>
                  <a:cubicBezTo>
                    <a:pt x="5363" y="15254"/>
                    <a:pt x="3972" y="15448"/>
                    <a:pt x="2666" y="16104"/>
                  </a:cubicBezTo>
                  <a:cubicBezTo>
                    <a:pt x="567" y="17160"/>
                    <a:pt x="-518" y="19009"/>
                    <a:pt x="244" y="20236"/>
                  </a:cubicBezTo>
                  <a:cubicBezTo>
                    <a:pt x="1005" y="21462"/>
                    <a:pt x="3325" y="21600"/>
                    <a:pt x="5425" y="20544"/>
                  </a:cubicBezTo>
                  <a:cubicBezTo>
                    <a:pt x="7005" y="19749"/>
                    <a:pt x="8010" y="18505"/>
                    <a:pt x="8085" y="17416"/>
                  </a:cubicBezTo>
                  <a:lnTo>
                    <a:pt x="8090" y="17416"/>
                  </a:lnTo>
                  <a:lnTo>
                    <a:pt x="8090" y="8152"/>
                  </a:lnTo>
                  <a:lnTo>
                    <a:pt x="19378" y="6070"/>
                  </a:lnTo>
                  <a:lnTo>
                    <a:pt x="19378" y="10758"/>
                  </a:lnTo>
                  <a:cubicBezTo>
                    <a:pt x="18330" y="10518"/>
                    <a:pt x="16941" y="10712"/>
                    <a:pt x="15636" y="11368"/>
                  </a:cubicBezTo>
                  <a:cubicBezTo>
                    <a:pt x="13536" y="12424"/>
                    <a:pt x="12452" y="14273"/>
                    <a:pt x="13213" y="15499"/>
                  </a:cubicBezTo>
                  <a:cubicBezTo>
                    <a:pt x="13975" y="16725"/>
                    <a:pt x="16295" y="16863"/>
                    <a:pt x="18395" y="15807"/>
                  </a:cubicBezTo>
                  <a:cubicBezTo>
                    <a:pt x="20060" y="14970"/>
                    <a:pt x="21082" y="13635"/>
                    <a:pt x="21056" y="12506"/>
                  </a:cubicBezTo>
                  <a:lnTo>
                    <a:pt x="21057" y="12506"/>
                  </a:lnTo>
                  <a:cubicBezTo>
                    <a:pt x="21057" y="12506"/>
                    <a:pt x="21057" y="0"/>
                    <a:pt x="21057" y="0"/>
                  </a:cubicBezTo>
                  <a:close/>
                </a:path>
              </a:pathLst>
            </a:custGeom>
            <a:solidFill>
              <a:schemeClr val="accent3"/>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2" name="Shape 10429">
              <a:extLst>
                <a:ext uri="{FF2B5EF4-FFF2-40B4-BE49-F238E27FC236}">
                  <a16:creationId xmlns:a16="http://schemas.microsoft.com/office/drawing/2014/main" xmlns="" id="{2CBF3D1E-AFCA-4BBA-B161-E687B1886BBE}"/>
                </a:ext>
              </a:extLst>
            </p:cNvPr>
            <p:cNvSpPr/>
            <p:nvPr/>
          </p:nvSpPr>
          <p:spPr>
            <a:xfrm>
              <a:off x="20917823" y="12545727"/>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3" name="Shape 10430">
              <a:extLst>
                <a:ext uri="{FF2B5EF4-FFF2-40B4-BE49-F238E27FC236}">
                  <a16:creationId xmlns:a16="http://schemas.microsoft.com/office/drawing/2014/main" xmlns="" id="{78ACC780-28B5-4275-88E2-0A3134C25DB6}"/>
                </a:ext>
              </a:extLst>
            </p:cNvPr>
            <p:cNvSpPr/>
            <p:nvPr/>
          </p:nvSpPr>
          <p:spPr>
            <a:xfrm>
              <a:off x="15503343" y="5283845"/>
              <a:ext cx="387479" cy="449473"/>
            </a:xfrm>
            <a:custGeom>
              <a:avLst/>
              <a:gdLst/>
              <a:ahLst/>
              <a:cxnLst>
                <a:cxn ang="0">
                  <a:pos x="wd2" y="hd2"/>
                </a:cxn>
                <a:cxn ang="5400000">
                  <a:pos x="wd2" y="hd2"/>
                </a:cxn>
                <a:cxn ang="10800000">
                  <a:pos x="wd2" y="hd2"/>
                </a:cxn>
                <a:cxn ang="16200000">
                  <a:pos x="wd2" y="hd2"/>
                </a:cxn>
              </a:cxnLst>
              <a:rect l="0" t="0" r="r" b="b"/>
              <a:pathLst>
                <a:path w="21600" h="21600" extrusionOk="0">
                  <a:moveTo>
                    <a:pt x="10664" y="0"/>
                  </a:moveTo>
                  <a:lnTo>
                    <a:pt x="0" y="14712"/>
                  </a:lnTo>
                  <a:lnTo>
                    <a:pt x="12786" y="21600"/>
                  </a:lnTo>
                  <a:lnTo>
                    <a:pt x="21600" y="9440"/>
                  </a:lnTo>
                  <a:lnTo>
                    <a:pt x="20503" y="5300"/>
                  </a:lnTo>
                  <a:lnTo>
                    <a:pt x="10664" y="0"/>
                  </a:lnTo>
                  <a:close/>
                  <a:moveTo>
                    <a:pt x="12273" y="5578"/>
                  </a:moveTo>
                  <a:lnTo>
                    <a:pt x="16930" y="8086"/>
                  </a:lnTo>
                  <a:lnTo>
                    <a:pt x="16635" y="8492"/>
                  </a:lnTo>
                  <a:lnTo>
                    <a:pt x="11979" y="5984"/>
                  </a:lnTo>
                  <a:lnTo>
                    <a:pt x="12273" y="5578"/>
                  </a:lnTo>
                  <a:close/>
                  <a:moveTo>
                    <a:pt x="7043" y="8326"/>
                  </a:moveTo>
                  <a:lnTo>
                    <a:pt x="16357" y="13343"/>
                  </a:lnTo>
                  <a:lnTo>
                    <a:pt x="16071" y="13738"/>
                  </a:lnTo>
                  <a:lnTo>
                    <a:pt x="6757" y="8721"/>
                  </a:lnTo>
                  <a:lnTo>
                    <a:pt x="7043" y="8326"/>
                  </a:lnTo>
                  <a:close/>
                  <a:moveTo>
                    <a:pt x="5596" y="10322"/>
                  </a:moveTo>
                  <a:lnTo>
                    <a:pt x="14910" y="15339"/>
                  </a:lnTo>
                  <a:lnTo>
                    <a:pt x="14616" y="15745"/>
                  </a:lnTo>
                  <a:lnTo>
                    <a:pt x="5302" y="10728"/>
                  </a:lnTo>
                  <a:lnTo>
                    <a:pt x="5596" y="10322"/>
                  </a:lnTo>
                  <a:close/>
                  <a:moveTo>
                    <a:pt x="4150" y="12318"/>
                  </a:moveTo>
                  <a:lnTo>
                    <a:pt x="8807" y="14826"/>
                  </a:lnTo>
                  <a:lnTo>
                    <a:pt x="8512" y="15232"/>
                  </a:lnTo>
                  <a:lnTo>
                    <a:pt x="3856" y="12724"/>
                  </a:lnTo>
                  <a:lnTo>
                    <a:pt x="4150" y="12318"/>
                  </a:ln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4" name="Shape 10431">
              <a:extLst>
                <a:ext uri="{FF2B5EF4-FFF2-40B4-BE49-F238E27FC236}">
                  <a16:creationId xmlns:a16="http://schemas.microsoft.com/office/drawing/2014/main" xmlns="" id="{7C259553-8CF0-4F73-8398-33660B07F3F5}"/>
                </a:ext>
              </a:extLst>
            </p:cNvPr>
            <p:cNvSpPr/>
            <p:nvPr/>
          </p:nvSpPr>
          <p:spPr>
            <a:xfrm>
              <a:off x="15809852" y="8962276"/>
              <a:ext cx="461009" cy="979051"/>
            </a:xfrm>
            <a:custGeom>
              <a:avLst/>
              <a:gdLst/>
              <a:ahLst/>
              <a:cxnLst>
                <a:cxn ang="0">
                  <a:pos x="wd2" y="hd2"/>
                </a:cxn>
                <a:cxn ang="5400000">
                  <a:pos x="wd2" y="hd2"/>
                </a:cxn>
                <a:cxn ang="10800000">
                  <a:pos x="wd2" y="hd2"/>
                </a:cxn>
                <a:cxn ang="16200000">
                  <a:pos x="wd2" y="hd2"/>
                </a:cxn>
              </a:cxnLst>
              <a:rect l="0" t="0" r="r" b="b"/>
              <a:pathLst>
                <a:path w="21600" h="21600" extrusionOk="0">
                  <a:moveTo>
                    <a:pt x="16919" y="0"/>
                  </a:moveTo>
                  <a:lnTo>
                    <a:pt x="15512" y="1725"/>
                  </a:lnTo>
                  <a:cubicBezTo>
                    <a:pt x="15654" y="1751"/>
                    <a:pt x="17066" y="2005"/>
                    <a:pt x="17066" y="2005"/>
                  </a:cubicBezTo>
                  <a:lnTo>
                    <a:pt x="16932" y="2169"/>
                  </a:lnTo>
                  <a:lnTo>
                    <a:pt x="15379" y="1889"/>
                  </a:lnTo>
                  <a:lnTo>
                    <a:pt x="14764" y="2643"/>
                  </a:lnTo>
                  <a:cubicBezTo>
                    <a:pt x="14901" y="2667"/>
                    <a:pt x="15906" y="2848"/>
                    <a:pt x="15906" y="2848"/>
                  </a:cubicBezTo>
                  <a:lnTo>
                    <a:pt x="15773" y="3012"/>
                  </a:lnTo>
                  <a:lnTo>
                    <a:pt x="14631" y="2807"/>
                  </a:lnTo>
                  <a:lnTo>
                    <a:pt x="14016" y="3561"/>
                  </a:lnTo>
                  <a:cubicBezTo>
                    <a:pt x="14158" y="3586"/>
                    <a:pt x="15569" y="3841"/>
                    <a:pt x="15569" y="3841"/>
                  </a:cubicBezTo>
                  <a:lnTo>
                    <a:pt x="15436" y="4004"/>
                  </a:lnTo>
                  <a:lnTo>
                    <a:pt x="13883" y="3724"/>
                  </a:lnTo>
                  <a:lnTo>
                    <a:pt x="13267" y="4479"/>
                  </a:lnTo>
                  <a:cubicBezTo>
                    <a:pt x="13404" y="4504"/>
                    <a:pt x="14409" y="4684"/>
                    <a:pt x="14409" y="4684"/>
                  </a:cubicBezTo>
                  <a:lnTo>
                    <a:pt x="14276" y="4848"/>
                  </a:lnTo>
                  <a:lnTo>
                    <a:pt x="13134" y="4643"/>
                  </a:lnTo>
                  <a:lnTo>
                    <a:pt x="12519" y="5397"/>
                  </a:lnTo>
                  <a:cubicBezTo>
                    <a:pt x="12661" y="5422"/>
                    <a:pt x="14072" y="5676"/>
                    <a:pt x="14072" y="5676"/>
                  </a:cubicBezTo>
                  <a:lnTo>
                    <a:pt x="13939" y="5840"/>
                  </a:lnTo>
                  <a:lnTo>
                    <a:pt x="12386" y="5561"/>
                  </a:lnTo>
                  <a:lnTo>
                    <a:pt x="11771" y="6315"/>
                  </a:lnTo>
                  <a:cubicBezTo>
                    <a:pt x="11908" y="6339"/>
                    <a:pt x="12913" y="6520"/>
                    <a:pt x="12913" y="6520"/>
                  </a:cubicBezTo>
                  <a:lnTo>
                    <a:pt x="12780" y="6684"/>
                  </a:lnTo>
                  <a:lnTo>
                    <a:pt x="11638" y="6478"/>
                  </a:lnTo>
                  <a:lnTo>
                    <a:pt x="11023" y="7232"/>
                  </a:lnTo>
                  <a:cubicBezTo>
                    <a:pt x="11164" y="7258"/>
                    <a:pt x="12575" y="7513"/>
                    <a:pt x="12575" y="7513"/>
                  </a:cubicBezTo>
                  <a:lnTo>
                    <a:pt x="12442" y="7677"/>
                  </a:lnTo>
                  <a:lnTo>
                    <a:pt x="10890" y="7396"/>
                  </a:lnTo>
                  <a:lnTo>
                    <a:pt x="10274" y="8151"/>
                  </a:lnTo>
                  <a:cubicBezTo>
                    <a:pt x="10411" y="8176"/>
                    <a:pt x="11416" y="8356"/>
                    <a:pt x="11416" y="8356"/>
                  </a:cubicBezTo>
                  <a:lnTo>
                    <a:pt x="11283" y="8520"/>
                  </a:lnTo>
                  <a:lnTo>
                    <a:pt x="10141" y="8315"/>
                  </a:lnTo>
                  <a:lnTo>
                    <a:pt x="9526" y="9069"/>
                  </a:lnTo>
                  <a:cubicBezTo>
                    <a:pt x="9667" y="9094"/>
                    <a:pt x="11079" y="9348"/>
                    <a:pt x="11079" y="9348"/>
                  </a:cubicBezTo>
                  <a:lnTo>
                    <a:pt x="10946" y="9512"/>
                  </a:lnTo>
                  <a:lnTo>
                    <a:pt x="9392" y="9232"/>
                  </a:lnTo>
                  <a:lnTo>
                    <a:pt x="8778" y="9986"/>
                  </a:lnTo>
                  <a:cubicBezTo>
                    <a:pt x="8914" y="10011"/>
                    <a:pt x="9919" y="10193"/>
                    <a:pt x="9919" y="10193"/>
                  </a:cubicBezTo>
                  <a:lnTo>
                    <a:pt x="9786" y="10355"/>
                  </a:lnTo>
                  <a:lnTo>
                    <a:pt x="8644" y="10150"/>
                  </a:lnTo>
                  <a:lnTo>
                    <a:pt x="8029" y="10905"/>
                  </a:lnTo>
                  <a:cubicBezTo>
                    <a:pt x="8170" y="10930"/>
                    <a:pt x="9582" y="11185"/>
                    <a:pt x="9582" y="11184"/>
                  </a:cubicBezTo>
                  <a:lnTo>
                    <a:pt x="9449" y="11348"/>
                  </a:lnTo>
                  <a:lnTo>
                    <a:pt x="7896" y="11068"/>
                  </a:lnTo>
                  <a:lnTo>
                    <a:pt x="7281" y="11823"/>
                  </a:lnTo>
                  <a:cubicBezTo>
                    <a:pt x="7417" y="11847"/>
                    <a:pt x="8423" y="12028"/>
                    <a:pt x="8423" y="12028"/>
                  </a:cubicBezTo>
                  <a:lnTo>
                    <a:pt x="8289" y="12192"/>
                  </a:lnTo>
                  <a:lnTo>
                    <a:pt x="7147" y="11987"/>
                  </a:lnTo>
                  <a:lnTo>
                    <a:pt x="6533" y="12740"/>
                  </a:lnTo>
                  <a:cubicBezTo>
                    <a:pt x="6674" y="12766"/>
                    <a:pt x="8086" y="13020"/>
                    <a:pt x="8086" y="13020"/>
                  </a:cubicBezTo>
                  <a:lnTo>
                    <a:pt x="7952" y="13184"/>
                  </a:lnTo>
                  <a:lnTo>
                    <a:pt x="6399" y="12904"/>
                  </a:lnTo>
                  <a:lnTo>
                    <a:pt x="5784" y="13659"/>
                  </a:lnTo>
                  <a:cubicBezTo>
                    <a:pt x="5920" y="13684"/>
                    <a:pt x="6926" y="13864"/>
                    <a:pt x="6926" y="13864"/>
                  </a:cubicBezTo>
                  <a:lnTo>
                    <a:pt x="6792" y="14028"/>
                  </a:lnTo>
                  <a:lnTo>
                    <a:pt x="5651" y="13822"/>
                  </a:lnTo>
                  <a:lnTo>
                    <a:pt x="5036" y="14577"/>
                  </a:lnTo>
                  <a:cubicBezTo>
                    <a:pt x="5177" y="14602"/>
                    <a:pt x="6589" y="14856"/>
                    <a:pt x="6589" y="14856"/>
                  </a:cubicBezTo>
                  <a:lnTo>
                    <a:pt x="6455" y="15020"/>
                  </a:lnTo>
                  <a:lnTo>
                    <a:pt x="4902" y="14741"/>
                  </a:lnTo>
                  <a:lnTo>
                    <a:pt x="4288" y="15494"/>
                  </a:lnTo>
                  <a:cubicBezTo>
                    <a:pt x="4424" y="15519"/>
                    <a:pt x="5430" y="15700"/>
                    <a:pt x="5430" y="15700"/>
                  </a:cubicBezTo>
                  <a:lnTo>
                    <a:pt x="5296" y="15863"/>
                  </a:lnTo>
                  <a:lnTo>
                    <a:pt x="4154" y="15658"/>
                  </a:lnTo>
                  <a:lnTo>
                    <a:pt x="3540" y="16412"/>
                  </a:lnTo>
                  <a:cubicBezTo>
                    <a:pt x="3681" y="16437"/>
                    <a:pt x="5093" y="16691"/>
                    <a:pt x="5093" y="16691"/>
                  </a:cubicBezTo>
                  <a:lnTo>
                    <a:pt x="4959" y="16855"/>
                  </a:lnTo>
                  <a:lnTo>
                    <a:pt x="3406" y="16576"/>
                  </a:lnTo>
                  <a:lnTo>
                    <a:pt x="2791" y="17331"/>
                  </a:lnTo>
                  <a:cubicBezTo>
                    <a:pt x="2927" y="17355"/>
                    <a:pt x="3933" y="17536"/>
                    <a:pt x="3933" y="17536"/>
                  </a:cubicBezTo>
                  <a:lnTo>
                    <a:pt x="3799" y="17700"/>
                  </a:lnTo>
                  <a:lnTo>
                    <a:pt x="2658" y="17493"/>
                  </a:lnTo>
                  <a:lnTo>
                    <a:pt x="2042" y="18248"/>
                  </a:lnTo>
                  <a:cubicBezTo>
                    <a:pt x="2184" y="18274"/>
                    <a:pt x="3596" y="18528"/>
                    <a:pt x="3596" y="18528"/>
                  </a:cubicBezTo>
                  <a:lnTo>
                    <a:pt x="3462" y="18692"/>
                  </a:lnTo>
                  <a:lnTo>
                    <a:pt x="1909" y="18412"/>
                  </a:lnTo>
                  <a:lnTo>
                    <a:pt x="1294" y="19166"/>
                  </a:lnTo>
                  <a:cubicBezTo>
                    <a:pt x="1431" y="19191"/>
                    <a:pt x="2436" y="19371"/>
                    <a:pt x="2436" y="19371"/>
                  </a:cubicBezTo>
                  <a:lnTo>
                    <a:pt x="2303" y="19535"/>
                  </a:lnTo>
                  <a:lnTo>
                    <a:pt x="1161" y="19330"/>
                  </a:lnTo>
                  <a:lnTo>
                    <a:pt x="546" y="20084"/>
                  </a:lnTo>
                  <a:cubicBezTo>
                    <a:pt x="688" y="20109"/>
                    <a:pt x="2099" y="20364"/>
                    <a:pt x="2099" y="20364"/>
                  </a:cubicBezTo>
                  <a:lnTo>
                    <a:pt x="1966" y="20527"/>
                  </a:lnTo>
                  <a:lnTo>
                    <a:pt x="413" y="20248"/>
                  </a:lnTo>
                  <a:lnTo>
                    <a:pt x="0" y="20754"/>
                  </a:lnTo>
                  <a:lnTo>
                    <a:pt x="4681" y="21600"/>
                  </a:lnTo>
                  <a:lnTo>
                    <a:pt x="21600" y="846"/>
                  </a:lnTo>
                  <a:lnTo>
                    <a:pt x="16919" y="0"/>
                  </a:lnTo>
                  <a:close/>
                  <a:moveTo>
                    <a:pt x="18807" y="978"/>
                  </a:moveTo>
                  <a:cubicBezTo>
                    <a:pt x="19275" y="1062"/>
                    <a:pt x="19509" y="1308"/>
                    <a:pt x="19330" y="1528"/>
                  </a:cubicBezTo>
                  <a:cubicBezTo>
                    <a:pt x="19151" y="1748"/>
                    <a:pt x="18626" y="1858"/>
                    <a:pt x="18158" y="1774"/>
                  </a:cubicBezTo>
                  <a:cubicBezTo>
                    <a:pt x="17691" y="1689"/>
                    <a:pt x="17457" y="1442"/>
                    <a:pt x="17637" y="1222"/>
                  </a:cubicBezTo>
                  <a:cubicBezTo>
                    <a:pt x="17816" y="1002"/>
                    <a:pt x="18340" y="893"/>
                    <a:pt x="18807" y="978"/>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5" name="Shape 10432">
              <a:extLst>
                <a:ext uri="{FF2B5EF4-FFF2-40B4-BE49-F238E27FC236}">
                  <a16:creationId xmlns:a16="http://schemas.microsoft.com/office/drawing/2014/main" xmlns="" id="{9640DF6C-D624-4985-9270-59F07372594A}"/>
                </a:ext>
              </a:extLst>
            </p:cNvPr>
            <p:cNvSpPr/>
            <p:nvPr/>
          </p:nvSpPr>
          <p:spPr>
            <a:xfrm>
              <a:off x="21191605" y="12910829"/>
              <a:ext cx="410124" cy="45400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6" name="Shape 10433">
              <a:extLst>
                <a:ext uri="{FF2B5EF4-FFF2-40B4-BE49-F238E27FC236}">
                  <a16:creationId xmlns:a16="http://schemas.microsoft.com/office/drawing/2014/main" xmlns="" id="{8788ED60-8B94-4697-AC09-CCDA17FADDDE}"/>
                </a:ext>
              </a:extLst>
            </p:cNvPr>
            <p:cNvSpPr/>
            <p:nvPr/>
          </p:nvSpPr>
          <p:spPr>
            <a:xfrm>
              <a:off x="19604389" y="11273229"/>
              <a:ext cx="550222" cy="527129"/>
            </a:xfrm>
            <a:custGeom>
              <a:avLst/>
              <a:gdLst/>
              <a:ahLst/>
              <a:cxnLst>
                <a:cxn ang="0">
                  <a:pos x="wd2" y="hd2"/>
                </a:cxn>
                <a:cxn ang="5400000">
                  <a:pos x="wd2" y="hd2"/>
                </a:cxn>
                <a:cxn ang="10800000">
                  <a:pos x="wd2" y="hd2"/>
                </a:cxn>
                <a:cxn ang="16200000">
                  <a:pos x="wd2" y="hd2"/>
                </a:cxn>
              </a:cxnLst>
              <a:rect l="0" t="0" r="r" b="b"/>
              <a:pathLst>
                <a:path w="21595" h="21600" extrusionOk="0">
                  <a:moveTo>
                    <a:pt x="8914" y="18801"/>
                  </a:moveTo>
                  <a:lnTo>
                    <a:pt x="4785" y="21600"/>
                  </a:lnTo>
                  <a:lnTo>
                    <a:pt x="4816" y="16426"/>
                  </a:lnTo>
                  <a:cubicBezTo>
                    <a:pt x="4816" y="16426"/>
                    <a:pt x="8914" y="18801"/>
                    <a:pt x="8914" y="18801"/>
                  </a:cubicBezTo>
                  <a:close/>
                  <a:moveTo>
                    <a:pt x="13648" y="9886"/>
                  </a:moveTo>
                  <a:cubicBezTo>
                    <a:pt x="14256" y="10473"/>
                    <a:pt x="14710" y="11017"/>
                    <a:pt x="14897" y="11332"/>
                  </a:cubicBezTo>
                  <a:cubicBezTo>
                    <a:pt x="15850" y="10515"/>
                    <a:pt x="17245" y="10354"/>
                    <a:pt x="18616" y="11148"/>
                  </a:cubicBezTo>
                  <a:cubicBezTo>
                    <a:pt x="20411" y="12189"/>
                    <a:pt x="21595" y="16528"/>
                    <a:pt x="21595" y="16528"/>
                  </a:cubicBezTo>
                  <a:cubicBezTo>
                    <a:pt x="21595" y="16528"/>
                    <a:pt x="21592" y="16527"/>
                    <a:pt x="21588" y="16526"/>
                  </a:cubicBezTo>
                  <a:cubicBezTo>
                    <a:pt x="21592" y="16529"/>
                    <a:pt x="21593" y="16531"/>
                    <a:pt x="21593" y="16531"/>
                  </a:cubicBezTo>
                  <a:cubicBezTo>
                    <a:pt x="21593" y="16531"/>
                    <a:pt x="17444" y="17785"/>
                    <a:pt x="15649" y="16745"/>
                  </a:cubicBezTo>
                  <a:cubicBezTo>
                    <a:pt x="14292" y="15958"/>
                    <a:pt x="13682" y="14654"/>
                    <a:pt x="13824" y="13387"/>
                  </a:cubicBezTo>
                  <a:cubicBezTo>
                    <a:pt x="13475" y="13392"/>
                    <a:pt x="12782" y="13278"/>
                    <a:pt x="11970" y="13046"/>
                  </a:cubicBezTo>
                  <a:lnTo>
                    <a:pt x="9286" y="18101"/>
                  </a:lnTo>
                  <a:lnTo>
                    <a:pt x="5188" y="15725"/>
                  </a:lnTo>
                  <a:lnTo>
                    <a:pt x="7746" y="10909"/>
                  </a:lnTo>
                  <a:cubicBezTo>
                    <a:pt x="5611" y="9358"/>
                    <a:pt x="2500" y="6818"/>
                    <a:pt x="1282" y="5700"/>
                  </a:cubicBezTo>
                  <a:cubicBezTo>
                    <a:pt x="139" y="4651"/>
                    <a:pt x="14" y="4208"/>
                    <a:pt x="8" y="4074"/>
                  </a:cubicBezTo>
                  <a:cubicBezTo>
                    <a:pt x="-5" y="4066"/>
                    <a:pt x="-1" y="4060"/>
                    <a:pt x="9" y="4052"/>
                  </a:cubicBezTo>
                  <a:cubicBezTo>
                    <a:pt x="10" y="4035"/>
                    <a:pt x="13" y="4026"/>
                    <a:pt x="13" y="4026"/>
                  </a:cubicBezTo>
                  <a:cubicBezTo>
                    <a:pt x="143" y="3970"/>
                    <a:pt x="568" y="3846"/>
                    <a:pt x="2025" y="4303"/>
                  </a:cubicBezTo>
                  <a:cubicBezTo>
                    <a:pt x="3577" y="4790"/>
                    <a:pt x="7287" y="6203"/>
                    <a:pt x="9677" y="7273"/>
                  </a:cubicBezTo>
                  <a:lnTo>
                    <a:pt x="11818" y="3240"/>
                  </a:lnTo>
                  <a:lnTo>
                    <a:pt x="15917" y="5613"/>
                  </a:lnTo>
                  <a:cubicBezTo>
                    <a:pt x="15917" y="5613"/>
                    <a:pt x="13648" y="9886"/>
                    <a:pt x="13648" y="9886"/>
                  </a:cubicBezTo>
                  <a:close/>
                  <a:moveTo>
                    <a:pt x="12197" y="2525"/>
                  </a:moveTo>
                  <a:lnTo>
                    <a:pt x="13538" y="0"/>
                  </a:lnTo>
                  <a:lnTo>
                    <a:pt x="17637" y="2372"/>
                  </a:lnTo>
                  <a:lnTo>
                    <a:pt x="16296" y="4898"/>
                  </a:lnTo>
                  <a:cubicBezTo>
                    <a:pt x="16296" y="4898"/>
                    <a:pt x="12197" y="2525"/>
                    <a:pt x="12197" y="2525"/>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7" name="Shape 10434">
              <a:extLst>
                <a:ext uri="{FF2B5EF4-FFF2-40B4-BE49-F238E27FC236}">
                  <a16:creationId xmlns:a16="http://schemas.microsoft.com/office/drawing/2014/main" xmlns="" id="{D884C76A-D18B-4AC6-8376-17E6194AFA62}"/>
                </a:ext>
              </a:extLst>
            </p:cNvPr>
            <p:cNvSpPr/>
            <p:nvPr/>
          </p:nvSpPr>
          <p:spPr>
            <a:xfrm>
              <a:off x="17735944" y="13251073"/>
              <a:ext cx="392649" cy="420201"/>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2"/>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98" name="Shape 10435">
              <a:extLst>
                <a:ext uri="{FF2B5EF4-FFF2-40B4-BE49-F238E27FC236}">
                  <a16:creationId xmlns:a16="http://schemas.microsoft.com/office/drawing/2014/main" xmlns="" id="{18F00A37-66FC-497B-B178-C2E6416C7AE2}"/>
                </a:ext>
              </a:extLst>
            </p:cNvPr>
            <p:cNvSpPr/>
            <p:nvPr/>
          </p:nvSpPr>
          <p:spPr>
            <a:xfrm>
              <a:off x="17721874" y="12822423"/>
              <a:ext cx="359032" cy="414855"/>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20293" y="15970"/>
                  </a:lnTo>
                  <a:lnTo>
                    <a:pt x="15488" y="19464"/>
                  </a:lnTo>
                  <a:cubicBezTo>
                    <a:pt x="15488" y="19464"/>
                    <a:pt x="21600" y="21600"/>
                    <a:pt x="21600" y="21600"/>
                  </a:cubicBezTo>
                  <a:close/>
                  <a:moveTo>
                    <a:pt x="14827" y="18782"/>
                  </a:moveTo>
                  <a:lnTo>
                    <a:pt x="19632" y="15288"/>
                  </a:lnTo>
                  <a:lnTo>
                    <a:pt x="7863" y="3150"/>
                  </a:lnTo>
                  <a:lnTo>
                    <a:pt x="3055" y="6642"/>
                  </a:lnTo>
                  <a:cubicBezTo>
                    <a:pt x="3055" y="6642"/>
                    <a:pt x="14827" y="18782"/>
                    <a:pt x="14827" y="18782"/>
                  </a:cubicBezTo>
                  <a:close/>
                  <a:moveTo>
                    <a:pt x="2382" y="5946"/>
                  </a:moveTo>
                  <a:lnTo>
                    <a:pt x="7189" y="2455"/>
                  </a:lnTo>
                  <a:lnTo>
                    <a:pt x="4808" y="0"/>
                  </a:lnTo>
                  <a:lnTo>
                    <a:pt x="0" y="3492"/>
                  </a:lnTo>
                  <a:cubicBezTo>
                    <a:pt x="0" y="3492"/>
                    <a:pt x="2382" y="5946"/>
                    <a:pt x="2382" y="5946"/>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99" name="Shape 10436">
              <a:extLst>
                <a:ext uri="{FF2B5EF4-FFF2-40B4-BE49-F238E27FC236}">
                  <a16:creationId xmlns:a16="http://schemas.microsoft.com/office/drawing/2014/main" xmlns="" id="{E001831F-98AF-4F03-BF5D-F315A3FDFC0D}"/>
                </a:ext>
              </a:extLst>
            </p:cNvPr>
            <p:cNvSpPr/>
            <p:nvPr/>
          </p:nvSpPr>
          <p:spPr>
            <a:xfrm>
              <a:off x="18877036" y="1214536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0" name="Shape 10437">
              <a:extLst>
                <a:ext uri="{FF2B5EF4-FFF2-40B4-BE49-F238E27FC236}">
                  <a16:creationId xmlns:a16="http://schemas.microsoft.com/office/drawing/2014/main" xmlns="" id="{C818BB96-FFA4-41A8-9F84-355F4D1AB327}"/>
                </a:ext>
              </a:extLst>
            </p:cNvPr>
            <p:cNvSpPr/>
            <p:nvPr/>
          </p:nvSpPr>
          <p:spPr>
            <a:xfrm>
              <a:off x="21489022" y="13379422"/>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1" name="Shape 10438">
              <a:extLst>
                <a:ext uri="{FF2B5EF4-FFF2-40B4-BE49-F238E27FC236}">
                  <a16:creationId xmlns:a16="http://schemas.microsoft.com/office/drawing/2014/main" xmlns="" id="{718BC940-4EFD-4D84-BC45-D254F66207F5}"/>
                </a:ext>
              </a:extLst>
            </p:cNvPr>
            <p:cNvSpPr/>
            <p:nvPr/>
          </p:nvSpPr>
          <p:spPr>
            <a:xfrm>
              <a:off x="15223803" y="10656379"/>
              <a:ext cx="1231113" cy="1023300"/>
            </a:xfrm>
            <a:custGeom>
              <a:avLst/>
              <a:gdLst/>
              <a:ahLst/>
              <a:cxnLst>
                <a:cxn ang="0">
                  <a:pos x="wd2" y="hd2"/>
                </a:cxn>
                <a:cxn ang="5400000">
                  <a:pos x="wd2" y="hd2"/>
                </a:cxn>
                <a:cxn ang="10800000">
                  <a:pos x="wd2" y="hd2"/>
                </a:cxn>
                <a:cxn ang="16200000">
                  <a:pos x="wd2" y="hd2"/>
                </a:cxn>
              </a:cxnLst>
              <a:rect l="0" t="0" r="r" b="b"/>
              <a:pathLst>
                <a:path w="21307" h="21059" extrusionOk="0">
                  <a:moveTo>
                    <a:pt x="5067" y="1749"/>
                  </a:moveTo>
                  <a:cubicBezTo>
                    <a:pt x="3889" y="2785"/>
                    <a:pt x="2937" y="4241"/>
                    <a:pt x="2399" y="6003"/>
                  </a:cubicBezTo>
                  <a:cubicBezTo>
                    <a:pt x="1643" y="8477"/>
                    <a:pt x="1865" y="11193"/>
                    <a:pt x="2990" y="13443"/>
                  </a:cubicBezTo>
                  <a:cubicBezTo>
                    <a:pt x="3870" y="15269"/>
                    <a:pt x="5250" y="16660"/>
                    <a:pt x="6922" y="17380"/>
                  </a:cubicBezTo>
                  <a:cubicBezTo>
                    <a:pt x="9451" y="18469"/>
                    <a:pt x="12240" y="17907"/>
                    <a:pt x="14313" y="15902"/>
                  </a:cubicBezTo>
                  <a:cubicBezTo>
                    <a:pt x="18651" y="11419"/>
                    <a:pt x="17421" y="3049"/>
                    <a:pt x="12063" y="579"/>
                  </a:cubicBezTo>
                  <a:cubicBezTo>
                    <a:pt x="9632" y="-541"/>
                    <a:pt x="7029" y="23"/>
                    <a:pt x="5067" y="1749"/>
                  </a:cubicBezTo>
                  <a:close/>
                  <a:moveTo>
                    <a:pt x="144" y="7068"/>
                  </a:moveTo>
                  <a:cubicBezTo>
                    <a:pt x="-293" y="10041"/>
                    <a:pt x="271" y="13044"/>
                    <a:pt x="1730" y="15514"/>
                  </a:cubicBezTo>
                  <a:cubicBezTo>
                    <a:pt x="3189" y="17983"/>
                    <a:pt x="5373" y="19622"/>
                    <a:pt x="7873" y="20141"/>
                  </a:cubicBezTo>
                  <a:cubicBezTo>
                    <a:pt x="10701" y="20728"/>
                    <a:pt x="13525" y="19736"/>
                    <a:pt x="15626" y="17641"/>
                  </a:cubicBezTo>
                  <a:cubicBezTo>
                    <a:pt x="16046" y="17222"/>
                    <a:pt x="16441" y="16756"/>
                    <a:pt x="16797" y="16252"/>
                  </a:cubicBezTo>
                  <a:lnTo>
                    <a:pt x="17968" y="17912"/>
                  </a:lnTo>
                  <a:lnTo>
                    <a:pt x="15970" y="19906"/>
                  </a:lnTo>
                  <a:lnTo>
                    <a:pt x="16784" y="21059"/>
                  </a:lnTo>
                  <a:lnTo>
                    <a:pt x="21307" y="16546"/>
                  </a:lnTo>
                  <a:lnTo>
                    <a:pt x="20493" y="15393"/>
                  </a:lnTo>
                  <a:lnTo>
                    <a:pt x="18938" y="16945"/>
                  </a:lnTo>
                  <a:lnTo>
                    <a:pt x="17563" y="14996"/>
                  </a:lnTo>
                  <a:cubicBezTo>
                    <a:pt x="17707" y="14724"/>
                    <a:pt x="17841" y="14443"/>
                    <a:pt x="17966" y="14154"/>
                  </a:cubicBezTo>
                  <a:cubicBezTo>
                    <a:pt x="18091" y="13865"/>
                    <a:pt x="18199" y="13564"/>
                    <a:pt x="18303" y="13258"/>
                  </a:cubicBezTo>
                  <a:lnTo>
                    <a:pt x="17136" y="12695"/>
                  </a:lnTo>
                  <a:cubicBezTo>
                    <a:pt x="15692" y="16940"/>
                    <a:pt x="11882" y="19451"/>
                    <a:pt x="8083" y="18662"/>
                  </a:cubicBezTo>
                  <a:cubicBezTo>
                    <a:pt x="5916" y="18212"/>
                    <a:pt x="4035" y="16786"/>
                    <a:pt x="2770" y="14645"/>
                  </a:cubicBezTo>
                  <a:cubicBezTo>
                    <a:pt x="1505" y="12505"/>
                    <a:pt x="1009" y="9912"/>
                    <a:pt x="1387" y="7335"/>
                  </a:cubicBezTo>
                  <a:lnTo>
                    <a:pt x="144" y="7068"/>
                  </a:lnTo>
                  <a:close/>
                  <a:moveTo>
                    <a:pt x="5335" y="2836"/>
                  </a:moveTo>
                  <a:cubicBezTo>
                    <a:pt x="5642" y="2547"/>
                    <a:pt x="5974" y="2293"/>
                    <a:pt x="6321" y="2073"/>
                  </a:cubicBezTo>
                  <a:cubicBezTo>
                    <a:pt x="6377" y="2351"/>
                    <a:pt x="6420" y="2627"/>
                    <a:pt x="6454" y="2907"/>
                  </a:cubicBezTo>
                  <a:cubicBezTo>
                    <a:pt x="6487" y="3186"/>
                    <a:pt x="6509" y="3472"/>
                    <a:pt x="6523" y="3752"/>
                  </a:cubicBezTo>
                  <a:cubicBezTo>
                    <a:pt x="6184" y="3732"/>
                    <a:pt x="5841" y="3730"/>
                    <a:pt x="5502" y="3738"/>
                  </a:cubicBezTo>
                  <a:cubicBezTo>
                    <a:pt x="5162" y="3746"/>
                    <a:pt x="4828" y="3762"/>
                    <a:pt x="4490" y="3798"/>
                  </a:cubicBezTo>
                  <a:cubicBezTo>
                    <a:pt x="4750" y="3451"/>
                    <a:pt x="5029" y="3125"/>
                    <a:pt x="5335" y="2836"/>
                  </a:cubicBezTo>
                  <a:close/>
                  <a:moveTo>
                    <a:pt x="3789" y="4905"/>
                  </a:moveTo>
                  <a:cubicBezTo>
                    <a:pt x="4243" y="4824"/>
                    <a:pt x="4700" y="4769"/>
                    <a:pt x="5156" y="4743"/>
                  </a:cubicBezTo>
                  <a:cubicBezTo>
                    <a:pt x="5613" y="4717"/>
                    <a:pt x="6071" y="4719"/>
                    <a:pt x="6527" y="4747"/>
                  </a:cubicBezTo>
                  <a:cubicBezTo>
                    <a:pt x="6511" y="5144"/>
                    <a:pt x="6474" y="5550"/>
                    <a:pt x="6416" y="5942"/>
                  </a:cubicBezTo>
                  <a:cubicBezTo>
                    <a:pt x="6358" y="6335"/>
                    <a:pt x="6283" y="6721"/>
                    <a:pt x="6183" y="7106"/>
                  </a:cubicBezTo>
                  <a:lnTo>
                    <a:pt x="3360" y="5892"/>
                  </a:lnTo>
                  <a:cubicBezTo>
                    <a:pt x="3422" y="5724"/>
                    <a:pt x="3488" y="5550"/>
                    <a:pt x="3560" y="5387"/>
                  </a:cubicBezTo>
                  <a:cubicBezTo>
                    <a:pt x="3631" y="5225"/>
                    <a:pt x="3708" y="5061"/>
                    <a:pt x="3789" y="4905"/>
                  </a:cubicBezTo>
                  <a:close/>
                  <a:moveTo>
                    <a:pt x="7125" y="1576"/>
                  </a:moveTo>
                  <a:cubicBezTo>
                    <a:pt x="7809" y="1266"/>
                    <a:pt x="8522" y="1092"/>
                    <a:pt x="9239" y="1059"/>
                  </a:cubicBezTo>
                  <a:cubicBezTo>
                    <a:pt x="9955" y="1027"/>
                    <a:pt x="10670" y="1128"/>
                    <a:pt x="11369" y="1373"/>
                  </a:cubicBezTo>
                  <a:lnTo>
                    <a:pt x="10388" y="4605"/>
                  </a:lnTo>
                  <a:cubicBezTo>
                    <a:pt x="9901" y="4414"/>
                    <a:pt x="9404" y="4249"/>
                    <a:pt x="8905" y="4120"/>
                  </a:cubicBezTo>
                  <a:cubicBezTo>
                    <a:pt x="8407" y="3990"/>
                    <a:pt x="7907" y="3891"/>
                    <a:pt x="7401" y="3825"/>
                  </a:cubicBezTo>
                  <a:cubicBezTo>
                    <a:pt x="7389" y="3447"/>
                    <a:pt x="7359" y="3069"/>
                    <a:pt x="7314" y="2692"/>
                  </a:cubicBezTo>
                  <a:cubicBezTo>
                    <a:pt x="7268" y="2315"/>
                    <a:pt x="7205" y="1950"/>
                    <a:pt x="7125" y="1576"/>
                  </a:cubicBezTo>
                  <a:close/>
                  <a:moveTo>
                    <a:pt x="3066" y="6828"/>
                  </a:moveTo>
                  <a:lnTo>
                    <a:pt x="5890" y="8043"/>
                  </a:lnTo>
                  <a:cubicBezTo>
                    <a:pt x="5764" y="8384"/>
                    <a:pt x="5625" y="8719"/>
                    <a:pt x="5468" y="9040"/>
                  </a:cubicBezTo>
                  <a:cubicBezTo>
                    <a:pt x="5310" y="9361"/>
                    <a:pt x="5138" y="9666"/>
                    <a:pt x="4951" y="9963"/>
                  </a:cubicBezTo>
                  <a:cubicBezTo>
                    <a:pt x="4578" y="9629"/>
                    <a:pt x="4217" y="9279"/>
                    <a:pt x="3874" y="8902"/>
                  </a:cubicBezTo>
                  <a:cubicBezTo>
                    <a:pt x="3532" y="8525"/>
                    <a:pt x="3202" y="8131"/>
                    <a:pt x="2893" y="7713"/>
                  </a:cubicBezTo>
                  <a:cubicBezTo>
                    <a:pt x="2915" y="7565"/>
                    <a:pt x="2943" y="7407"/>
                    <a:pt x="2973" y="7261"/>
                  </a:cubicBezTo>
                  <a:cubicBezTo>
                    <a:pt x="3002" y="7114"/>
                    <a:pt x="3030" y="6974"/>
                    <a:pt x="3066" y="6828"/>
                  </a:cubicBezTo>
                  <a:close/>
                  <a:moveTo>
                    <a:pt x="2802" y="9057"/>
                  </a:moveTo>
                  <a:cubicBezTo>
                    <a:pt x="3052" y="9361"/>
                    <a:pt x="3305" y="9650"/>
                    <a:pt x="3574" y="9930"/>
                  </a:cubicBezTo>
                  <a:cubicBezTo>
                    <a:pt x="3843" y="10210"/>
                    <a:pt x="4128" y="10480"/>
                    <a:pt x="4413" y="10736"/>
                  </a:cubicBezTo>
                  <a:cubicBezTo>
                    <a:pt x="4240" y="10959"/>
                    <a:pt x="4046" y="11175"/>
                    <a:pt x="3855" y="11378"/>
                  </a:cubicBezTo>
                  <a:cubicBezTo>
                    <a:pt x="3663" y="11581"/>
                    <a:pt x="3470" y="11770"/>
                    <a:pt x="3263" y="11952"/>
                  </a:cubicBezTo>
                  <a:cubicBezTo>
                    <a:pt x="3107" y="11485"/>
                    <a:pt x="2988" y="11008"/>
                    <a:pt x="2911" y="10524"/>
                  </a:cubicBezTo>
                  <a:cubicBezTo>
                    <a:pt x="2833" y="10040"/>
                    <a:pt x="2802" y="9549"/>
                    <a:pt x="2802" y="9057"/>
                  </a:cubicBezTo>
                  <a:close/>
                  <a:moveTo>
                    <a:pt x="7388" y="4837"/>
                  </a:moveTo>
                  <a:cubicBezTo>
                    <a:pt x="7847" y="4900"/>
                    <a:pt x="8303" y="4999"/>
                    <a:pt x="8754" y="5117"/>
                  </a:cubicBezTo>
                  <a:cubicBezTo>
                    <a:pt x="9206" y="5235"/>
                    <a:pt x="9653" y="5369"/>
                    <a:pt x="10094" y="5542"/>
                  </a:cubicBezTo>
                  <a:lnTo>
                    <a:pt x="9216" y="8417"/>
                  </a:lnTo>
                  <a:lnTo>
                    <a:pt x="6979" y="7447"/>
                  </a:lnTo>
                  <a:cubicBezTo>
                    <a:pt x="7094" y="7020"/>
                    <a:pt x="7183" y="6594"/>
                    <a:pt x="7252" y="6158"/>
                  </a:cubicBezTo>
                  <a:cubicBezTo>
                    <a:pt x="7322" y="5723"/>
                    <a:pt x="7367" y="5277"/>
                    <a:pt x="7388" y="4837"/>
                  </a:cubicBezTo>
                  <a:close/>
                  <a:moveTo>
                    <a:pt x="12165" y="1714"/>
                  </a:moveTo>
                  <a:cubicBezTo>
                    <a:pt x="12833" y="2061"/>
                    <a:pt x="13444" y="2536"/>
                    <a:pt x="13976" y="3109"/>
                  </a:cubicBezTo>
                  <a:cubicBezTo>
                    <a:pt x="14508" y="3681"/>
                    <a:pt x="14966" y="4358"/>
                    <a:pt x="15323" y="5119"/>
                  </a:cubicBezTo>
                  <a:cubicBezTo>
                    <a:pt x="15135" y="5279"/>
                    <a:pt x="14943" y="5447"/>
                    <a:pt x="14767" y="5623"/>
                  </a:cubicBezTo>
                  <a:cubicBezTo>
                    <a:pt x="14452" y="5937"/>
                    <a:pt x="14161" y="6275"/>
                    <a:pt x="13887" y="6637"/>
                  </a:cubicBezTo>
                  <a:cubicBezTo>
                    <a:pt x="13463" y="6300"/>
                    <a:pt x="13028" y="5990"/>
                    <a:pt x="12576" y="5708"/>
                  </a:cubicBezTo>
                  <a:cubicBezTo>
                    <a:pt x="12124" y="5426"/>
                    <a:pt x="11652" y="5180"/>
                    <a:pt x="11175" y="4955"/>
                  </a:cubicBezTo>
                  <a:lnTo>
                    <a:pt x="12165" y="1714"/>
                  </a:lnTo>
                  <a:close/>
                  <a:moveTo>
                    <a:pt x="6686" y="8384"/>
                  </a:moveTo>
                  <a:lnTo>
                    <a:pt x="8930" y="9363"/>
                  </a:lnTo>
                  <a:lnTo>
                    <a:pt x="8095" y="12077"/>
                  </a:lnTo>
                  <a:cubicBezTo>
                    <a:pt x="7666" y="11873"/>
                    <a:pt x="7252" y="11647"/>
                    <a:pt x="6844" y="11394"/>
                  </a:cubicBezTo>
                  <a:cubicBezTo>
                    <a:pt x="6436" y="11141"/>
                    <a:pt x="6042" y="10862"/>
                    <a:pt x="5658" y="10561"/>
                  </a:cubicBezTo>
                  <a:cubicBezTo>
                    <a:pt x="5865" y="10226"/>
                    <a:pt x="6051" y="9868"/>
                    <a:pt x="6224" y="9506"/>
                  </a:cubicBezTo>
                  <a:cubicBezTo>
                    <a:pt x="6396" y="9143"/>
                    <a:pt x="6550" y="8768"/>
                    <a:pt x="6686" y="8384"/>
                  </a:cubicBezTo>
                  <a:close/>
                  <a:moveTo>
                    <a:pt x="5128" y="11344"/>
                  </a:moveTo>
                  <a:cubicBezTo>
                    <a:pt x="5549" y="11678"/>
                    <a:pt x="5983" y="11984"/>
                    <a:pt x="6431" y="12263"/>
                  </a:cubicBezTo>
                  <a:cubicBezTo>
                    <a:pt x="6880" y="12542"/>
                    <a:pt x="7336" y="12800"/>
                    <a:pt x="7808" y="13023"/>
                  </a:cubicBezTo>
                  <a:lnTo>
                    <a:pt x="6820" y="16246"/>
                  </a:lnTo>
                  <a:cubicBezTo>
                    <a:pt x="6157" y="15901"/>
                    <a:pt x="5551" y="15437"/>
                    <a:pt x="5023" y="14871"/>
                  </a:cubicBezTo>
                  <a:cubicBezTo>
                    <a:pt x="4495" y="14304"/>
                    <a:pt x="4047" y="13632"/>
                    <a:pt x="3690" y="12880"/>
                  </a:cubicBezTo>
                  <a:cubicBezTo>
                    <a:pt x="3863" y="12732"/>
                    <a:pt x="4034" y="12588"/>
                    <a:pt x="4196" y="12426"/>
                  </a:cubicBezTo>
                  <a:cubicBezTo>
                    <a:pt x="4362" y="12260"/>
                    <a:pt x="4521" y="12077"/>
                    <a:pt x="4677" y="11896"/>
                  </a:cubicBezTo>
                  <a:cubicBezTo>
                    <a:pt x="4831" y="11716"/>
                    <a:pt x="4984" y="11536"/>
                    <a:pt x="5128" y="11344"/>
                  </a:cubicBezTo>
                  <a:close/>
                  <a:moveTo>
                    <a:pt x="10890" y="5883"/>
                  </a:moveTo>
                  <a:cubicBezTo>
                    <a:pt x="11322" y="6088"/>
                    <a:pt x="11745" y="6330"/>
                    <a:pt x="12155" y="6586"/>
                  </a:cubicBezTo>
                  <a:cubicBezTo>
                    <a:pt x="12566" y="6841"/>
                    <a:pt x="12970" y="7117"/>
                    <a:pt x="13357" y="7420"/>
                  </a:cubicBezTo>
                  <a:cubicBezTo>
                    <a:pt x="13134" y="7775"/>
                    <a:pt x="12924" y="8140"/>
                    <a:pt x="12741" y="8526"/>
                  </a:cubicBezTo>
                  <a:cubicBezTo>
                    <a:pt x="12557" y="8911"/>
                    <a:pt x="12392" y="9315"/>
                    <a:pt x="12250" y="9727"/>
                  </a:cubicBezTo>
                  <a:lnTo>
                    <a:pt x="10012" y="8758"/>
                  </a:lnTo>
                  <a:lnTo>
                    <a:pt x="10890" y="5883"/>
                  </a:lnTo>
                  <a:close/>
                  <a:moveTo>
                    <a:pt x="9726" y="9704"/>
                  </a:moveTo>
                  <a:lnTo>
                    <a:pt x="11963" y="10674"/>
                  </a:lnTo>
                  <a:cubicBezTo>
                    <a:pt x="11858" y="11075"/>
                    <a:pt x="11775" y="11483"/>
                    <a:pt x="11711" y="11891"/>
                  </a:cubicBezTo>
                  <a:cubicBezTo>
                    <a:pt x="11647" y="12299"/>
                    <a:pt x="11605" y="12707"/>
                    <a:pt x="11582" y="13121"/>
                  </a:cubicBezTo>
                  <a:cubicBezTo>
                    <a:pt x="11125" y="13057"/>
                    <a:pt x="10671" y="12969"/>
                    <a:pt x="10223" y="12851"/>
                  </a:cubicBezTo>
                  <a:cubicBezTo>
                    <a:pt x="9773" y="12733"/>
                    <a:pt x="9330" y="12589"/>
                    <a:pt x="8891" y="12417"/>
                  </a:cubicBezTo>
                  <a:lnTo>
                    <a:pt x="9726" y="9704"/>
                  </a:lnTo>
                  <a:close/>
                  <a:moveTo>
                    <a:pt x="15110" y="6653"/>
                  </a:moveTo>
                  <a:cubicBezTo>
                    <a:pt x="15286" y="6465"/>
                    <a:pt x="15468" y="6291"/>
                    <a:pt x="15660" y="6121"/>
                  </a:cubicBezTo>
                  <a:cubicBezTo>
                    <a:pt x="15809" y="6562"/>
                    <a:pt x="15931" y="7009"/>
                    <a:pt x="16010" y="7466"/>
                  </a:cubicBezTo>
                  <a:cubicBezTo>
                    <a:pt x="16090" y="7922"/>
                    <a:pt x="16131" y="8379"/>
                    <a:pt x="16141" y="8842"/>
                  </a:cubicBezTo>
                  <a:cubicBezTo>
                    <a:pt x="15901" y="8554"/>
                    <a:pt x="15654" y="8277"/>
                    <a:pt x="15397" y="8010"/>
                  </a:cubicBezTo>
                  <a:cubicBezTo>
                    <a:pt x="15141" y="7743"/>
                    <a:pt x="14873" y="7490"/>
                    <a:pt x="14601" y="7245"/>
                  </a:cubicBezTo>
                  <a:cubicBezTo>
                    <a:pt x="14764" y="7040"/>
                    <a:pt x="14933" y="6842"/>
                    <a:pt x="15110" y="6653"/>
                  </a:cubicBezTo>
                  <a:close/>
                  <a:moveTo>
                    <a:pt x="8605" y="13364"/>
                  </a:moveTo>
                  <a:cubicBezTo>
                    <a:pt x="9087" y="13554"/>
                    <a:pt x="9570" y="13710"/>
                    <a:pt x="10065" y="13838"/>
                  </a:cubicBezTo>
                  <a:cubicBezTo>
                    <a:pt x="10559" y="13967"/>
                    <a:pt x="11066" y="14066"/>
                    <a:pt x="11569" y="14133"/>
                  </a:cubicBezTo>
                  <a:cubicBezTo>
                    <a:pt x="11579" y="14514"/>
                    <a:pt x="11603" y="14895"/>
                    <a:pt x="11648" y="15274"/>
                  </a:cubicBezTo>
                  <a:cubicBezTo>
                    <a:pt x="11692" y="15654"/>
                    <a:pt x="11756" y="16032"/>
                    <a:pt x="11835" y="16408"/>
                  </a:cubicBezTo>
                  <a:cubicBezTo>
                    <a:pt x="11155" y="16713"/>
                    <a:pt x="10449" y="16878"/>
                    <a:pt x="9738" y="16909"/>
                  </a:cubicBezTo>
                  <a:cubicBezTo>
                    <a:pt x="9027" y="16939"/>
                    <a:pt x="8310" y="16829"/>
                    <a:pt x="7616" y="16587"/>
                  </a:cubicBezTo>
                  <a:lnTo>
                    <a:pt x="8605" y="13364"/>
                  </a:lnTo>
                  <a:close/>
                  <a:moveTo>
                    <a:pt x="14057" y="8008"/>
                  </a:moveTo>
                  <a:cubicBezTo>
                    <a:pt x="14422" y="8336"/>
                    <a:pt x="14775" y="8688"/>
                    <a:pt x="15111" y="9058"/>
                  </a:cubicBezTo>
                  <a:cubicBezTo>
                    <a:pt x="15447" y="9427"/>
                    <a:pt x="15766" y="9826"/>
                    <a:pt x="16070" y="10235"/>
                  </a:cubicBezTo>
                  <a:cubicBezTo>
                    <a:pt x="16047" y="10415"/>
                    <a:pt x="16018" y="10583"/>
                    <a:pt x="15985" y="10761"/>
                  </a:cubicBezTo>
                  <a:cubicBezTo>
                    <a:pt x="15951" y="10940"/>
                    <a:pt x="15911" y="11124"/>
                    <a:pt x="15868" y="11301"/>
                  </a:cubicBezTo>
                  <a:lnTo>
                    <a:pt x="13053" y="10078"/>
                  </a:lnTo>
                  <a:cubicBezTo>
                    <a:pt x="13184" y="9710"/>
                    <a:pt x="13327" y="9355"/>
                    <a:pt x="13495" y="9009"/>
                  </a:cubicBezTo>
                  <a:cubicBezTo>
                    <a:pt x="13664" y="8665"/>
                    <a:pt x="13854" y="8326"/>
                    <a:pt x="14057" y="8008"/>
                  </a:cubicBezTo>
                  <a:close/>
                  <a:moveTo>
                    <a:pt x="12766" y="11024"/>
                  </a:moveTo>
                  <a:lnTo>
                    <a:pt x="15589" y="12239"/>
                  </a:lnTo>
                  <a:cubicBezTo>
                    <a:pt x="15538" y="12378"/>
                    <a:pt x="15478" y="12511"/>
                    <a:pt x="15420" y="12645"/>
                  </a:cubicBezTo>
                  <a:cubicBezTo>
                    <a:pt x="15362" y="12780"/>
                    <a:pt x="15300" y="12919"/>
                    <a:pt x="15235" y="13050"/>
                  </a:cubicBezTo>
                  <a:cubicBezTo>
                    <a:pt x="14772" y="13134"/>
                    <a:pt x="14310" y="13191"/>
                    <a:pt x="13844" y="13218"/>
                  </a:cubicBezTo>
                  <a:cubicBezTo>
                    <a:pt x="13378" y="13245"/>
                    <a:pt x="12908" y="13241"/>
                    <a:pt x="12443" y="13211"/>
                  </a:cubicBezTo>
                  <a:cubicBezTo>
                    <a:pt x="12460" y="12841"/>
                    <a:pt x="12494" y="12472"/>
                    <a:pt x="12547" y="12107"/>
                  </a:cubicBezTo>
                  <a:cubicBezTo>
                    <a:pt x="12600" y="11742"/>
                    <a:pt x="12676" y="11384"/>
                    <a:pt x="12766" y="11024"/>
                  </a:cubicBezTo>
                  <a:close/>
                  <a:moveTo>
                    <a:pt x="12438" y="14214"/>
                  </a:moveTo>
                  <a:cubicBezTo>
                    <a:pt x="12795" y="14237"/>
                    <a:pt x="13149" y="14242"/>
                    <a:pt x="13506" y="14233"/>
                  </a:cubicBezTo>
                  <a:cubicBezTo>
                    <a:pt x="13864" y="14224"/>
                    <a:pt x="14224" y="14202"/>
                    <a:pt x="14580" y="14161"/>
                  </a:cubicBezTo>
                  <a:cubicBezTo>
                    <a:pt x="14335" y="14508"/>
                    <a:pt x="14059" y="14833"/>
                    <a:pt x="13766" y="15126"/>
                  </a:cubicBezTo>
                  <a:cubicBezTo>
                    <a:pt x="13423" y="15468"/>
                    <a:pt x="13055" y="15770"/>
                    <a:pt x="12662" y="16024"/>
                  </a:cubicBezTo>
                  <a:cubicBezTo>
                    <a:pt x="12600" y="15725"/>
                    <a:pt x="12549" y="15426"/>
                    <a:pt x="12511" y="15125"/>
                  </a:cubicBezTo>
                  <a:cubicBezTo>
                    <a:pt x="12473" y="14823"/>
                    <a:pt x="12451" y="14517"/>
                    <a:pt x="12438" y="14214"/>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02" name="Shape 10439">
              <a:extLst>
                <a:ext uri="{FF2B5EF4-FFF2-40B4-BE49-F238E27FC236}">
                  <a16:creationId xmlns:a16="http://schemas.microsoft.com/office/drawing/2014/main" xmlns="" id="{95919949-6275-4E59-A883-6BF15ED052E3}"/>
                </a:ext>
              </a:extLst>
            </p:cNvPr>
            <p:cNvSpPr/>
            <p:nvPr/>
          </p:nvSpPr>
          <p:spPr>
            <a:xfrm>
              <a:off x="15028523" y="10196678"/>
              <a:ext cx="417298" cy="446578"/>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03" name="Shape 10440">
              <a:extLst>
                <a:ext uri="{FF2B5EF4-FFF2-40B4-BE49-F238E27FC236}">
                  <a16:creationId xmlns:a16="http://schemas.microsoft.com/office/drawing/2014/main" xmlns="" id="{88FC75DB-7FC6-4291-8D54-E86CA21324FD}"/>
                </a:ext>
              </a:extLst>
            </p:cNvPr>
            <p:cNvSpPr/>
            <p:nvPr/>
          </p:nvSpPr>
          <p:spPr>
            <a:xfrm>
              <a:off x="16217782" y="9944071"/>
              <a:ext cx="446855" cy="494666"/>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5"/>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04" name="Shape 10441">
              <a:extLst>
                <a:ext uri="{FF2B5EF4-FFF2-40B4-BE49-F238E27FC236}">
                  <a16:creationId xmlns:a16="http://schemas.microsoft.com/office/drawing/2014/main" xmlns="" id="{DDE7B7A2-58BC-43F8-BC8D-F9D4C7E5A576}"/>
                </a:ext>
              </a:extLst>
            </p:cNvPr>
            <p:cNvSpPr/>
            <p:nvPr/>
          </p:nvSpPr>
          <p:spPr>
            <a:xfrm>
              <a:off x="14782479" y="8405887"/>
              <a:ext cx="501644" cy="700164"/>
            </a:xfrm>
            <a:custGeom>
              <a:avLst/>
              <a:gdLst/>
              <a:ahLst/>
              <a:cxnLst>
                <a:cxn ang="0">
                  <a:pos x="wd2" y="hd2"/>
                </a:cxn>
                <a:cxn ang="5400000">
                  <a:pos x="wd2" y="hd2"/>
                </a:cxn>
                <a:cxn ang="10800000">
                  <a:pos x="wd2" y="hd2"/>
                </a:cxn>
                <a:cxn ang="16200000">
                  <a:pos x="wd2" y="hd2"/>
                </a:cxn>
              </a:cxnLst>
              <a:rect l="0" t="0" r="r" b="b"/>
              <a:pathLst>
                <a:path w="19206" h="21363" extrusionOk="0">
                  <a:moveTo>
                    <a:pt x="10609" y="43"/>
                  </a:moveTo>
                  <a:cubicBezTo>
                    <a:pt x="8165" y="-162"/>
                    <a:pt x="5621" y="372"/>
                    <a:pt x="3560" y="1702"/>
                  </a:cubicBezTo>
                  <a:cubicBezTo>
                    <a:pt x="-561" y="4362"/>
                    <a:pt x="-1197" y="9181"/>
                    <a:pt x="2140" y="12465"/>
                  </a:cubicBezTo>
                  <a:cubicBezTo>
                    <a:pt x="4853" y="15135"/>
                    <a:pt x="9359" y="15971"/>
                    <a:pt x="13163" y="14762"/>
                  </a:cubicBezTo>
                  <a:cubicBezTo>
                    <a:pt x="13165" y="14832"/>
                    <a:pt x="13187" y="14904"/>
                    <a:pt x="13225" y="14972"/>
                  </a:cubicBezTo>
                  <a:lnTo>
                    <a:pt x="16612" y="21039"/>
                  </a:lnTo>
                  <a:cubicBezTo>
                    <a:pt x="16765" y="21313"/>
                    <a:pt x="17169" y="21438"/>
                    <a:pt x="17513" y="21316"/>
                  </a:cubicBezTo>
                  <a:lnTo>
                    <a:pt x="17878" y="21186"/>
                  </a:lnTo>
                  <a:cubicBezTo>
                    <a:pt x="18222" y="21064"/>
                    <a:pt x="18373" y="20741"/>
                    <a:pt x="18220" y="20467"/>
                  </a:cubicBezTo>
                  <a:lnTo>
                    <a:pt x="14832" y="14405"/>
                  </a:lnTo>
                  <a:cubicBezTo>
                    <a:pt x="14778" y="14307"/>
                    <a:pt x="14685" y="14238"/>
                    <a:pt x="14581" y="14183"/>
                  </a:cubicBezTo>
                  <a:cubicBezTo>
                    <a:pt x="14946" y="14006"/>
                    <a:pt x="15305" y="13816"/>
                    <a:pt x="15646" y="13596"/>
                  </a:cubicBezTo>
                  <a:cubicBezTo>
                    <a:pt x="19767" y="10937"/>
                    <a:pt x="20403" y="6118"/>
                    <a:pt x="17066" y="2833"/>
                  </a:cubicBezTo>
                  <a:cubicBezTo>
                    <a:pt x="15397" y="1191"/>
                    <a:pt x="13053" y="247"/>
                    <a:pt x="10609" y="43"/>
                  </a:cubicBezTo>
                  <a:close/>
                  <a:moveTo>
                    <a:pt x="10451" y="1237"/>
                  </a:moveTo>
                  <a:cubicBezTo>
                    <a:pt x="12511" y="1410"/>
                    <a:pt x="14487" y="2210"/>
                    <a:pt x="15893" y="3594"/>
                  </a:cubicBezTo>
                  <a:cubicBezTo>
                    <a:pt x="18705" y="6361"/>
                    <a:pt x="18170" y="10422"/>
                    <a:pt x="14697" y="12663"/>
                  </a:cubicBezTo>
                  <a:cubicBezTo>
                    <a:pt x="11225" y="14903"/>
                    <a:pt x="6130" y="14477"/>
                    <a:pt x="3318" y="11709"/>
                  </a:cubicBezTo>
                  <a:cubicBezTo>
                    <a:pt x="506" y="8942"/>
                    <a:pt x="1041" y="4882"/>
                    <a:pt x="4514" y="2641"/>
                  </a:cubicBezTo>
                  <a:cubicBezTo>
                    <a:pt x="6250" y="1520"/>
                    <a:pt x="8392" y="1065"/>
                    <a:pt x="10451" y="123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5" name="Shape 10442">
              <a:extLst>
                <a:ext uri="{FF2B5EF4-FFF2-40B4-BE49-F238E27FC236}">
                  <a16:creationId xmlns:a16="http://schemas.microsoft.com/office/drawing/2014/main" xmlns="" id="{AA7E38EF-0D2A-4FB3-85DD-A410BCA35B3A}"/>
                </a:ext>
              </a:extLst>
            </p:cNvPr>
            <p:cNvSpPr/>
            <p:nvPr/>
          </p:nvSpPr>
          <p:spPr>
            <a:xfrm>
              <a:off x="16163586" y="9475903"/>
              <a:ext cx="425669" cy="396235"/>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6" name="Shape 10443">
              <a:extLst>
                <a:ext uri="{FF2B5EF4-FFF2-40B4-BE49-F238E27FC236}">
                  <a16:creationId xmlns:a16="http://schemas.microsoft.com/office/drawing/2014/main" xmlns="" id="{70D4047E-14F6-4E90-AF70-FE8568DDF4F0}"/>
                </a:ext>
              </a:extLst>
            </p:cNvPr>
            <p:cNvSpPr/>
            <p:nvPr/>
          </p:nvSpPr>
          <p:spPr>
            <a:xfrm>
              <a:off x="14923512" y="9401109"/>
              <a:ext cx="530063" cy="653239"/>
            </a:xfrm>
            <a:custGeom>
              <a:avLst/>
              <a:gdLst/>
              <a:ahLst/>
              <a:cxnLst>
                <a:cxn ang="0">
                  <a:pos x="wd2" y="hd2"/>
                </a:cxn>
                <a:cxn ang="5400000">
                  <a:pos x="wd2" y="hd2"/>
                </a:cxn>
                <a:cxn ang="10800000">
                  <a:pos x="wd2" y="hd2"/>
                </a:cxn>
                <a:cxn ang="16200000">
                  <a:pos x="wd2" y="hd2"/>
                </a:cxn>
              </a:cxnLst>
              <a:rect l="0" t="0" r="r" b="b"/>
              <a:pathLst>
                <a:path w="21339" h="21341" extrusionOk="0">
                  <a:moveTo>
                    <a:pt x="19725" y="4962"/>
                  </a:moveTo>
                  <a:cubicBezTo>
                    <a:pt x="19481" y="4621"/>
                    <a:pt x="18944" y="4504"/>
                    <a:pt x="18524" y="4700"/>
                  </a:cubicBezTo>
                  <a:lnTo>
                    <a:pt x="16276" y="5753"/>
                  </a:lnTo>
                  <a:cubicBezTo>
                    <a:pt x="16665" y="6156"/>
                    <a:pt x="16967" y="6565"/>
                    <a:pt x="17201" y="6965"/>
                  </a:cubicBezTo>
                  <a:lnTo>
                    <a:pt x="19403" y="5935"/>
                  </a:lnTo>
                  <a:cubicBezTo>
                    <a:pt x="19823" y="5739"/>
                    <a:pt x="19967" y="5303"/>
                    <a:pt x="19725" y="4962"/>
                  </a:cubicBezTo>
                  <a:close/>
                  <a:moveTo>
                    <a:pt x="21339" y="9898"/>
                  </a:moveTo>
                  <a:cubicBezTo>
                    <a:pt x="21338" y="9504"/>
                    <a:pt x="20944" y="9185"/>
                    <a:pt x="20459" y="9185"/>
                  </a:cubicBezTo>
                  <a:lnTo>
                    <a:pt x="17939" y="9183"/>
                  </a:lnTo>
                  <a:cubicBezTo>
                    <a:pt x="17998" y="9688"/>
                    <a:pt x="17984" y="10167"/>
                    <a:pt x="17927" y="10609"/>
                  </a:cubicBezTo>
                  <a:lnTo>
                    <a:pt x="20460" y="10610"/>
                  </a:lnTo>
                  <a:cubicBezTo>
                    <a:pt x="20946" y="10610"/>
                    <a:pt x="21338" y="10292"/>
                    <a:pt x="21339" y="9898"/>
                  </a:cubicBezTo>
                  <a:close/>
                  <a:moveTo>
                    <a:pt x="4324" y="1565"/>
                  </a:moveTo>
                  <a:cubicBezTo>
                    <a:pt x="4080" y="1224"/>
                    <a:pt x="3543" y="1107"/>
                    <a:pt x="3123" y="1304"/>
                  </a:cubicBezTo>
                  <a:cubicBezTo>
                    <a:pt x="2703" y="1501"/>
                    <a:pt x="2559" y="1936"/>
                    <a:pt x="2802" y="2278"/>
                  </a:cubicBezTo>
                  <a:lnTo>
                    <a:pt x="4065" y="4052"/>
                  </a:lnTo>
                  <a:cubicBezTo>
                    <a:pt x="4512" y="3793"/>
                    <a:pt x="5019" y="3548"/>
                    <a:pt x="5588" y="3340"/>
                  </a:cubicBezTo>
                  <a:cubicBezTo>
                    <a:pt x="5588" y="3340"/>
                    <a:pt x="4324" y="1565"/>
                    <a:pt x="4324" y="1565"/>
                  </a:cubicBezTo>
                  <a:close/>
                  <a:moveTo>
                    <a:pt x="10086" y="713"/>
                  </a:moveTo>
                  <a:cubicBezTo>
                    <a:pt x="10086" y="319"/>
                    <a:pt x="9693" y="0"/>
                    <a:pt x="9207" y="0"/>
                  </a:cubicBezTo>
                  <a:cubicBezTo>
                    <a:pt x="8723" y="0"/>
                    <a:pt x="8330" y="319"/>
                    <a:pt x="8330" y="713"/>
                  </a:cubicBezTo>
                  <a:lnTo>
                    <a:pt x="8331" y="2772"/>
                  </a:lnTo>
                  <a:cubicBezTo>
                    <a:pt x="8876" y="2739"/>
                    <a:pt x="9464" y="2751"/>
                    <a:pt x="10088" y="2828"/>
                  </a:cubicBezTo>
                  <a:cubicBezTo>
                    <a:pt x="10088" y="2828"/>
                    <a:pt x="10086" y="713"/>
                    <a:pt x="10086" y="713"/>
                  </a:cubicBezTo>
                  <a:close/>
                  <a:moveTo>
                    <a:pt x="15284" y="1339"/>
                  </a:moveTo>
                  <a:cubicBezTo>
                    <a:pt x="14864" y="1142"/>
                    <a:pt x="14326" y="1258"/>
                    <a:pt x="14084" y="1599"/>
                  </a:cubicBezTo>
                  <a:lnTo>
                    <a:pt x="12730" y="3502"/>
                  </a:lnTo>
                  <a:cubicBezTo>
                    <a:pt x="12923" y="3577"/>
                    <a:pt x="14063" y="4115"/>
                    <a:pt x="14249" y="4220"/>
                  </a:cubicBezTo>
                  <a:lnTo>
                    <a:pt x="15606" y="2312"/>
                  </a:lnTo>
                  <a:cubicBezTo>
                    <a:pt x="15849" y="1971"/>
                    <a:pt x="15704" y="1536"/>
                    <a:pt x="15284" y="1339"/>
                  </a:cubicBezTo>
                  <a:close/>
                  <a:moveTo>
                    <a:pt x="16063" y="12771"/>
                  </a:moveTo>
                  <a:cubicBezTo>
                    <a:pt x="17178" y="10880"/>
                    <a:pt x="17910" y="6928"/>
                    <a:pt x="12930" y="4595"/>
                  </a:cubicBezTo>
                  <a:cubicBezTo>
                    <a:pt x="12930" y="4595"/>
                    <a:pt x="12929" y="4595"/>
                    <a:pt x="12928" y="4595"/>
                  </a:cubicBezTo>
                  <a:cubicBezTo>
                    <a:pt x="12928" y="4594"/>
                    <a:pt x="12927" y="4594"/>
                    <a:pt x="12926" y="4594"/>
                  </a:cubicBezTo>
                  <a:cubicBezTo>
                    <a:pt x="12926" y="4593"/>
                    <a:pt x="12925" y="4593"/>
                    <a:pt x="12924" y="4593"/>
                  </a:cubicBezTo>
                  <a:cubicBezTo>
                    <a:pt x="12924" y="4592"/>
                    <a:pt x="12923" y="4592"/>
                    <a:pt x="12922" y="4592"/>
                  </a:cubicBezTo>
                  <a:cubicBezTo>
                    <a:pt x="7943" y="2259"/>
                    <a:pt x="4092" y="4749"/>
                    <a:pt x="2631" y="6478"/>
                  </a:cubicBezTo>
                  <a:cubicBezTo>
                    <a:pt x="1322" y="8041"/>
                    <a:pt x="1632" y="10216"/>
                    <a:pt x="1621" y="10529"/>
                  </a:cubicBezTo>
                  <a:cubicBezTo>
                    <a:pt x="1602" y="11040"/>
                    <a:pt x="2174" y="13289"/>
                    <a:pt x="1592" y="14216"/>
                  </a:cubicBezTo>
                  <a:cubicBezTo>
                    <a:pt x="792" y="15491"/>
                    <a:pt x="955" y="15611"/>
                    <a:pt x="1594" y="16106"/>
                  </a:cubicBezTo>
                  <a:cubicBezTo>
                    <a:pt x="2244" y="16611"/>
                    <a:pt x="5442" y="18109"/>
                    <a:pt x="6306" y="18314"/>
                  </a:cubicBezTo>
                  <a:cubicBezTo>
                    <a:pt x="7154" y="18515"/>
                    <a:pt x="7364" y="18570"/>
                    <a:pt x="8324" y="17370"/>
                  </a:cubicBezTo>
                  <a:cubicBezTo>
                    <a:pt x="9022" y="16498"/>
                    <a:pt x="11709" y="15775"/>
                    <a:pt x="12245" y="15507"/>
                  </a:cubicBezTo>
                  <a:cubicBezTo>
                    <a:pt x="12574" y="15342"/>
                    <a:pt x="15049" y="14473"/>
                    <a:pt x="16063" y="12771"/>
                  </a:cubicBezTo>
                  <a:close/>
                  <a:moveTo>
                    <a:pt x="5425" y="20157"/>
                  </a:moveTo>
                  <a:cubicBezTo>
                    <a:pt x="5564" y="19962"/>
                    <a:pt x="5481" y="19712"/>
                    <a:pt x="5240" y="19599"/>
                  </a:cubicBezTo>
                  <a:lnTo>
                    <a:pt x="756" y="17498"/>
                  </a:lnTo>
                  <a:cubicBezTo>
                    <a:pt x="515" y="17385"/>
                    <a:pt x="206" y="17452"/>
                    <a:pt x="67" y="17647"/>
                  </a:cubicBezTo>
                  <a:lnTo>
                    <a:pt x="67" y="17647"/>
                  </a:lnTo>
                  <a:cubicBezTo>
                    <a:pt x="-72" y="17843"/>
                    <a:pt x="11" y="18093"/>
                    <a:pt x="252" y="18206"/>
                  </a:cubicBezTo>
                  <a:lnTo>
                    <a:pt x="4736" y="20307"/>
                  </a:lnTo>
                  <a:cubicBezTo>
                    <a:pt x="4977" y="20420"/>
                    <a:pt x="5286" y="20353"/>
                    <a:pt x="5425" y="20157"/>
                  </a:cubicBezTo>
                  <a:cubicBezTo>
                    <a:pt x="5425" y="20157"/>
                    <a:pt x="5425" y="20157"/>
                    <a:pt x="5425" y="20157"/>
                  </a:cubicBezTo>
                  <a:close/>
                  <a:moveTo>
                    <a:pt x="6113" y="19190"/>
                  </a:moveTo>
                  <a:cubicBezTo>
                    <a:pt x="6252" y="18995"/>
                    <a:pt x="6169" y="18745"/>
                    <a:pt x="5928" y="18632"/>
                  </a:cubicBezTo>
                  <a:lnTo>
                    <a:pt x="1444" y="16531"/>
                  </a:lnTo>
                  <a:cubicBezTo>
                    <a:pt x="1203" y="16418"/>
                    <a:pt x="894" y="16485"/>
                    <a:pt x="755" y="16680"/>
                  </a:cubicBezTo>
                  <a:lnTo>
                    <a:pt x="755" y="16680"/>
                  </a:lnTo>
                  <a:cubicBezTo>
                    <a:pt x="616" y="16876"/>
                    <a:pt x="699" y="17126"/>
                    <a:pt x="940" y="17239"/>
                  </a:cubicBezTo>
                  <a:lnTo>
                    <a:pt x="5424" y="19340"/>
                  </a:lnTo>
                  <a:cubicBezTo>
                    <a:pt x="5665" y="19453"/>
                    <a:pt x="5974" y="19386"/>
                    <a:pt x="6113" y="19190"/>
                  </a:cubicBezTo>
                  <a:cubicBezTo>
                    <a:pt x="6113" y="19190"/>
                    <a:pt x="6113" y="19190"/>
                    <a:pt x="6113" y="19190"/>
                  </a:cubicBezTo>
                  <a:close/>
                  <a:moveTo>
                    <a:pt x="360" y="18601"/>
                  </a:moveTo>
                  <a:lnTo>
                    <a:pt x="4260" y="20429"/>
                  </a:lnTo>
                  <a:cubicBezTo>
                    <a:pt x="3639" y="21302"/>
                    <a:pt x="2263" y="21600"/>
                    <a:pt x="1186" y="21095"/>
                  </a:cubicBezTo>
                  <a:cubicBezTo>
                    <a:pt x="109" y="20591"/>
                    <a:pt x="-261" y="19474"/>
                    <a:pt x="360" y="1860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7" name="Shape 10444">
              <a:extLst>
                <a:ext uri="{FF2B5EF4-FFF2-40B4-BE49-F238E27FC236}">
                  <a16:creationId xmlns:a16="http://schemas.microsoft.com/office/drawing/2014/main" xmlns="" id="{5212A4DA-3229-428B-A94A-4F247C1E3C22}"/>
                </a:ext>
              </a:extLst>
            </p:cNvPr>
            <p:cNvSpPr/>
            <p:nvPr/>
          </p:nvSpPr>
          <p:spPr>
            <a:xfrm>
              <a:off x="15668533" y="8652551"/>
              <a:ext cx="371824" cy="371843"/>
            </a:xfrm>
            <a:custGeom>
              <a:avLst/>
              <a:gdLst/>
              <a:ahLst/>
              <a:cxnLst>
                <a:cxn ang="0">
                  <a:pos x="wd2" y="hd2"/>
                </a:cxn>
                <a:cxn ang="5400000">
                  <a:pos x="wd2" y="hd2"/>
                </a:cxn>
                <a:cxn ang="10800000">
                  <a:pos x="wd2" y="hd2"/>
                </a:cxn>
                <a:cxn ang="16200000">
                  <a:pos x="wd2" y="hd2"/>
                </a:cxn>
              </a:cxnLst>
              <a:rect l="0" t="0" r="r" b="b"/>
              <a:pathLst>
                <a:path w="21590" h="21585" extrusionOk="0">
                  <a:moveTo>
                    <a:pt x="5809" y="19810"/>
                  </a:moveTo>
                  <a:lnTo>
                    <a:pt x="0" y="21585"/>
                  </a:lnTo>
                  <a:lnTo>
                    <a:pt x="1723" y="15720"/>
                  </a:lnTo>
                  <a:cubicBezTo>
                    <a:pt x="1723" y="15720"/>
                    <a:pt x="5809" y="19810"/>
                    <a:pt x="5809" y="19810"/>
                  </a:cubicBezTo>
                  <a:close/>
                  <a:moveTo>
                    <a:pt x="14328" y="11295"/>
                  </a:moveTo>
                  <a:cubicBezTo>
                    <a:pt x="14857" y="12169"/>
                    <a:pt x="15219" y="12941"/>
                    <a:pt x="15338" y="13361"/>
                  </a:cubicBezTo>
                  <a:cubicBezTo>
                    <a:pt x="16735" y="12758"/>
                    <a:pt x="18442" y="13050"/>
                    <a:pt x="19809" y="14418"/>
                  </a:cubicBezTo>
                  <a:cubicBezTo>
                    <a:pt x="21600" y="16210"/>
                    <a:pt x="21590" y="21540"/>
                    <a:pt x="21590" y="21540"/>
                  </a:cubicBezTo>
                  <a:cubicBezTo>
                    <a:pt x="21590" y="21540"/>
                    <a:pt x="21587" y="21538"/>
                    <a:pt x="21583" y="21536"/>
                  </a:cubicBezTo>
                  <a:cubicBezTo>
                    <a:pt x="21586" y="21540"/>
                    <a:pt x="21587" y="21543"/>
                    <a:pt x="21587" y="21543"/>
                  </a:cubicBezTo>
                  <a:cubicBezTo>
                    <a:pt x="21587" y="21543"/>
                    <a:pt x="16257" y="21556"/>
                    <a:pt x="14467" y="19765"/>
                  </a:cubicBezTo>
                  <a:cubicBezTo>
                    <a:pt x="13114" y="18410"/>
                    <a:pt x="12816" y="16721"/>
                    <a:pt x="13396" y="15331"/>
                  </a:cubicBezTo>
                  <a:cubicBezTo>
                    <a:pt x="12981" y="15218"/>
                    <a:pt x="12197" y="14852"/>
                    <a:pt x="11308" y="14314"/>
                  </a:cubicBezTo>
                  <a:lnTo>
                    <a:pt x="6478" y="19142"/>
                  </a:lnTo>
                  <a:lnTo>
                    <a:pt x="2392" y="15051"/>
                  </a:lnTo>
                  <a:lnTo>
                    <a:pt x="6994" y="10450"/>
                  </a:lnTo>
                  <a:cubicBezTo>
                    <a:pt x="4968" y="7962"/>
                    <a:pt x="2105" y="4020"/>
                    <a:pt x="1025" y="2336"/>
                  </a:cubicBezTo>
                  <a:cubicBezTo>
                    <a:pt x="11" y="756"/>
                    <a:pt x="7" y="211"/>
                    <a:pt x="44" y="57"/>
                  </a:cubicBezTo>
                  <a:cubicBezTo>
                    <a:pt x="31" y="43"/>
                    <a:pt x="37" y="38"/>
                    <a:pt x="52" y="32"/>
                  </a:cubicBezTo>
                  <a:cubicBezTo>
                    <a:pt x="59" y="13"/>
                    <a:pt x="65" y="4"/>
                    <a:pt x="65" y="4"/>
                  </a:cubicBezTo>
                  <a:cubicBezTo>
                    <a:pt x="237" y="-15"/>
                    <a:pt x="782" y="-11"/>
                    <a:pt x="2361" y="1003"/>
                  </a:cubicBezTo>
                  <a:cubicBezTo>
                    <a:pt x="4043" y="2084"/>
                    <a:pt x="7984" y="4949"/>
                    <a:pt x="10469" y="6978"/>
                  </a:cubicBezTo>
                  <a:lnTo>
                    <a:pt x="14322" y="3125"/>
                  </a:lnTo>
                  <a:lnTo>
                    <a:pt x="18411" y="7213"/>
                  </a:lnTo>
                  <a:cubicBezTo>
                    <a:pt x="18411" y="7213"/>
                    <a:pt x="14328" y="11295"/>
                    <a:pt x="14328" y="11295"/>
                  </a:cubicBezTo>
                  <a:close/>
                  <a:moveTo>
                    <a:pt x="15005" y="2441"/>
                  </a:moveTo>
                  <a:lnTo>
                    <a:pt x="17418" y="30"/>
                  </a:lnTo>
                  <a:lnTo>
                    <a:pt x="21507" y="4118"/>
                  </a:lnTo>
                  <a:lnTo>
                    <a:pt x="19094" y="6530"/>
                  </a:lnTo>
                  <a:cubicBezTo>
                    <a:pt x="19094" y="6530"/>
                    <a:pt x="15005" y="2441"/>
                    <a:pt x="15005" y="24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8" name="Shape 10445">
              <a:extLst>
                <a:ext uri="{FF2B5EF4-FFF2-40B4-BE49-F238E27FC236}">
                  <a16:creationId xmlns:a16="http://schemas.microsoft.com/office/drawing/2014/main" xmlns="" id="{776D684F-9A3F-4514-AF7A-DAAA609AF3FB}"/>
                </a:ext>
              </a:extLst>
            </p:cNvPr>
            <p:cNvSpPr/>
            <p:nvPr/>
          </p:nvSpPr>
          <p:spPr>
            <a:xfrm>
              <a:off x="19159242" y="10658993"/>
              <a:ext cx="622764" cy="569103"/>
            </a:xfrm>
            <a:custGeom>
              <a:avLst/>
              <a:gdLst/>
              <a:ahLst/>
              <a:cxnLst>
                <a:cxn ang="0">
                  <a:pos x="wd2" y="hd2"/>
                </a:cxn>
                <a:cxn ang="5400000">
                  <a:pos x="wd2" y="hd2"/>
                </a:cxn>
                <a:cxn ang="10800000">
                  <a:pos x="wd2" y="hd2"/>
                </a:cxn>
                <a:cxn ang="16200000">
                  <a:pos x="wd2" y="hd2"/>
                </a:cxn>
              </a:cxnLst>
              <a:rect l="0" t="0" r="r" b="b"/>
              <a:pathLst>
                <a:path w="20409" h="20716" extrusionOk="0">
                  <a:moveTo>
                    <a:pt x="1339" y="18146"/>
                  </a:moveTo>
                  <a:cubicBezTo>
                    <a:pt x="227" y="16314"/>
                    <a:pt x="661" y="13820"/>
                    <a:pt x="2308" y="12586"/>
                  </a:cubicBezTo>
                  <a:cubicBezTo>
                    <a:pt x="2748" y="12256"/>
                    <a:pt x="3232" y="12053"/>
                    <a:pt x="3725" y="11962"/>
                  </a:cubicBezTo>
                  <a:lnTo>
                    <a:pt x="3738" y="15889"/>
                  </a:lnTo>
                  <a:cubicBezTo>
                    <a:pt x="3739" y="16166"/>
                    <a:pt x="3941" y="16390"/>
                    <a:pt x="4190" y="16389"/>
                  </a:cubicBezTo>
                  <a:cubicBezTo>
                    <a:pt x="4439" y="16388"/>
                    <a:pt x="4640" y="16164"/>
                    <a:pt x="4639" y="15887"/>
                  </a:cubicBezTo>
                  <a:lnTo>
                    <a:pt x="4626" y="11921"/>
                  </a:lnTo>
                  <a:cubicBezTo>
                    <a:pt x="5675" y="12022"/>
                    <a:pt x="6678" y="12627"/>
                    <a:pt x="7312" y="13672"/>
                  </a:cubicBezTo>
                  <a:cubicBezTo>
                    <a:pt x="8425" y="15504"/>
                    <a:pt x="7990" y="17998"/>
                    <a:pt x="6343" y="19232"/>
                  </a:cubicBezTo>
                  <a:cubicBezTo>
                    <a:pt x="4697" y="20465"/>
                    <a:pt x="2452" y="19979"/>
                    <a:pt x="1339" y="18146"/>
                  </a:cubicBezTo>
                  <a:close/>
                  <a:moveTo>
                    <a:pt x="3670" y="7857"/>
                  </a:moveTo>
                  <a:lnTo>
                    <a:pt x="5119" y="6772"/>
                  </a:lnTo>
                  <a:cubicBezTo>
                    <a:pt x="5283" y="6649"/>
                    <a:pt x="5395" y="6369"/>
                    <a:pt x="5367" y="6151"/>
                  </a:cubicBezTo>
                  <a:lnTo>
                    <a:pt x="5135" y="4322"/>
                  </a:lnTo>
                  <a:lnTo>
                    <a:pt x="8435" y="5321"/>
                  </a:lnTo>
                  <a:cubicBezTo>
                    <a:pt x="8435" y="5321"/>
                    <a:pt x="8207" y="5706"/>
                    <a:pt x="7927" y="6179"/>
                  </a:cubicBezTo>
                  <a:lnTo>
                    <a:pt x="4301" y="8895"/>
                  </a:lnTo>
                  <a:cubicBezTo>
                    <a:pt x="4301" y="8895"/>
                    <a:pt x="3670" y="7857"/>
                    <a:pt x="3670" y="7857"/>
                  </a:cubicBezTo>
                  <a:close/>
                  <a:moveTo>
                    <a:pt x="5317" y="9342"/>
                  </a:moveTo>
                  <a:lnTo>
                    <a:pt x="6806" y="8227"/>
                  </a:lnTo>
                  <a:cubicBezTo>
                    <a:pt x="6763" y="8494"/>
                    <a:pt x="6811" y="8776"/>
                    <a:pt x="6952" y="9008"/>
                  </a:cubicBezTo>
                  <a:lnTo>
                    <a:pt x="6951" y="9008"/>
                  </a:lnTo>
                  <a:cubicBezTo>
                    <a:pt x="6951" y="9008"/>
                    <a:pt x="7368" y="9692"/>
                    <a:pt x="7887" y="10542"/>
                  </a:cubicBezTo>
                  <a:cubicBezTo>
                    <a:pt x="7887" y="10542"/>
                    <a:pt x="5317" y="9342"/>
                    <a:pt x="5317" y="9342"/>
                  </a:cubicBezTo>
                  <a:close/>
                  <a:moveTo>
                    <a:pt x="8791" y="8259"/>
                  </a:moveTo>
                  <a:cubicBezTo>
                    <a:pt x="8791" y="8259"/>
                    <a:pt x="10089" y="6315"/>
                    <a:pt x="10706" y="5383"/>
                  </a:cubicBezTo>
                  <a:lnTo>
                    <a:pt x="11903" y="5869"/>
                  </a:lnTo>
                  <a:cubicBezTo>
                    <a:pt x="11641" y="6978"/>
                    <a:pt x="11735" y="8186"/>
                    <a:pt x="12226" y="9262"/>
                  </a:cubicBezTo>
                  <a:lnTo>
                    <a:pt x="10284" y="10718"/>
                  </a:lnTo>
                  <a:cubicBezTo>
                    <a:pt x="10284" y="10718"/>
                    <a:pt x="8791" y="8259"/>
                    <a:pt x="8791" y="8259"/>
                  </a:cubicBezTo>
                  <a:close/>
                  <a:moveTo>
                    <a:pt x="13314" y="9656"/>
                  </a:moveTo>
                  <a:lnTo>
                    <a:pt x="16285" y="7430"/>
                  </a:lnTo>
                  <a:cubicBezTo>
                    <a:pt x="16491" y="7275"/>
                    <a:pt x="16545" y="6964"/>
                    <a:pt x="16406" y="6735"/>
                  </a:cubicBezTo>
                  <a:cubicBezTo>
                    <a:pt x="16343" y="6631"/>
                    <a:pt x="16251" y="6564"/>
                    <a:pt x="16150" y="6533"/>
                  </a:cubicBezTo>
                  <a:lnTo>
                    <a:pt x="16151" y="6531"/>
                  </a:lnTo>
                  <a:lnTo>
                    <a:pt x="12905" y="5212"/>
                  </a:lnTo>
                  <a:cubicBezTo>
                    <a:pt x="13172" y="4652"/>
                    <a:pt x="13562" y="4155"/>
                    <a:pt x="14067" y="3777"/>
                  </a:cubicBezTo>
                  <a:cubicBezTo>
                    <a:pt x="15713" y="2543"/>
                    <a:pt x="17958" y="3030"/>
                    <a:pt x="19071" y="4862"/>
                  </a:cubicBezTo>
                  <a:cubicBezTo>
                    <a:pt x="20183" y="6694"/>
                    <a:pt x="19749" y="9188"/>
                    <a:pt x="18102" y="10422"/>
                  </a:cubicBezTo>
                  <a:cubicBezTo>
                    <a:pt x="16556" y="11580"/>
                    <a:pt x="14482" y="11221"/>
                    <a:pt x="13314" y="9656"/>
                  </a:cubicBezTo>
                  <a:close/>
                  <a:moveTo>
                    <a:pt x="15048" y="7148"/>
                  </a:moveTo>
                  <a:lnTo>
                    <a:pt x="12832" y="8808"/>
                  </a:lnTo>
                  <a:cubicBezTo>
                    <a:pt x="12470" y="7960"/>
                    <a:pt x="12397" y="7021"/>
                    <a:pt x="12588" y="6148"/>
                  </a:cubicBezTo>
                  <a:cubicBezTo>
                    <a:pt x="12588" y="6148"/>
                    <a:pt x="15048" y="7148"/>
                    <a:pt x="15048" y="7148"/>
                  </a:cubicBezTo>
                  <a:close/>
                  <a:moveTo>
                    <a:pt x="742" y="18594"/>
                  </a:moveTo>
                  <a:cubicBezTo>
                    <a:pt x="2079" y="20796"/>
                    <a:pt x="4768" y="21379"/>
                    <a:pt x="6747" y="19896"/>
                  </a:cubicBezTo>
                  <a:cubicBezTo>
                    <a:pt x="8726" y="18413"/>
                    <a:pt x="9246" y="15426"/>
                    <a:pt x="7909" y="13224"/>
                  </a:cubicBezTo>
                  <a:cubicBezTo>
                    <a:pt x="7134" y="11948"/>
                    <a:pt x="5905" y="11216"/>
                    <a:pt x="4623" y="11115"/>
                  </a:cubicBezTo>
                  <a:lnTo>
                    <a:pt x="4619" y="10101"/>
                  </a:lnTo>
                  <a:lnTo>
                    <a:pt x="8815" y="12059"/>
                  </a:lnTo>
                  <a:cubicBezTo>
                    <a:pt x="9382" y="12983"/>
                    <a:pt x="9863" y="13764"/>
                    <a:pt x="9886" y="13787"/>
                  </a:cubicBezTo>
                  <a:cubicBezTo>
                    <a:pt x="10275" y="14180"/>
                    <a:pt x="10877" y="14149"/>
                    <a:pt x="11230" y="13717"/>
                  </a:cubicBezTo>
                  <a:cubicBezTo>
                    <a:pt x="11531" y="13349"/>
                    <a:pt x="11553" y="12810"/>
                    <a:pt x="11313" y="12415"/>
                  </a:cubicBezTo>
                  <a:lnTo>
                    <a:pt x="11314" y="12414"/>
                  </a:lnTo>
                  <a:lnTo>
                    <a:pt x="10788" y="11548"/>
                  </a:lnTo>
                  <a:lnTo>
                    <a:pt x="12715" y="10105"/>
                  </a:lnTo>
                  <a:cubicBezTo>
                    <a:pt x="14109" y="12039"/>
                    <a:pt x="16627" y="12494"/>
                    <a:pt x="18506" y="11086"/>
                  </a:cubicBezTo>
                  <a:cubicBezTo>
                    <a:pt x="20485" y="9603"/>
                    <a:pt x="21005" y="6616"/>
                    <a:pt x="19668" y="4414"/>
                  </a:cubicBezTo>
                  <a:cubicBezTo>
                    <a:pt x="18331" y="2212"/>
                    <a:pt x="15642" y="1629"/>
                    <a:pt x="13663" y="3112"/>
                  </a:cubicBezTo>
                  <a:cubicBezTo>
                    <a:pt x="13027" y="3589"/>
                    <a:pt x="12542" y="4222"/>
                    <a:pt x="12221" y="4933"/>
                  </a:cubicBezTo>
                  <a:lnTo>
                    <a:pt x="11168" y="4506"/>
                  </a:lnTo>
                  <a:cubicBezTo>
                    <a:pt x="11303" y="3945"/>
                    <a:pt x="11158" y="3323"/>
                    <a:pt x="10745" y="2905"/>
                  </a:cubicBezTo>
                  <a:cubicBezTo>
                    <a:pt x="10551" y="2709"/>
                    <a:pt x="10321" y="2584"/>
                    <a:pt x="10082" y="2526"/>
                  </a:cubicBezTo>
                  <a:lnTo>
                    <a:pt x="10082" y="2525"/>
                  </a:lnTo>
                  <a:lnTo>
                    <a:pt x="5355" y="1211"/>
                  </a:lnTo>
                  <a:lnTo>
                    <a:pt x="5355" y="1211"/>
                  </a:lnTo>
                  <a:cubicBezTo>
                    <a:pt x="4823" y="1000"/>
                    <a:pt x="4206" y="1148"/>
                    <a:pt x="3803" y="1641"/>
                  </a:cubicBezTo>
                  <a:cubicBezTo>
                    <a:pt x="3485" y="2031"/>
                    <a:pt x="3373" y="2548"/>
                    <a:pt x="3458" y="3028"/>
                  </a:cubicBezTo>
                  <a:lnTo>
                    <a:pt x="3457" y="3029"/>
                  </a:lnTo>
                  <a:lnTo>
                    <a:pt x="3914" y="5740"/>
                  </a:lnTo>
                  <a:lnTo>
                    <a:pt x="2179" y="7041"/>
                  </a:lnTo>
                  <a:cubicBezTo>
                    <a:pt x="1849" y="7288"/>
                    <a:pt x="1762" y="7786"/>
                    <a:pt x="1985" y="8153"/>
                  </a:cubicBezTo>
                  <a:cubicBezTo>
                    <a:pt x="2193" y="8496"/>
                    <a:pt x="2598" y="8599"/>
                    <a:pt x="2919" y="8409"/>
                  </a:cubicBezTo>
                  <a:lnTo>
                    <a:pt x="3717" y="9723"/>
                  </a:lnTo>
                  <a:lnTo>
                    <a:pt x="3722" y="11148"/>
                  </a:lnTo>
                  <a:cubicBezTo>
                    <a:pt x="3090" y="11245"/>
                    <a:pt x="2469" y="11499"/>
                    <a:pt x="1905" y="11922"/>
                  </a:cubicBezTo>
                  <a:cubicBezTo>
                    <a:pt x="-75" y="13405"/>
                    <a:pt x="-595" y="16392"/>
                    <a:pt x="742" y="18594"/>
                  </a:cubicBezTo>
                  <a:close/>
                  <a:moveTo>
                    <a:pt x="2678" y="707"/>
                  </a:moveTo>
                  <a:cubicBezTo>
                    <a:pt x="2232" y="-27"/>
                    <a:pt x="1336" y="-221"/>
                    <a:pt x="676" y="273"/>
                  </a:cubicBezTo>
                  <a:cubicBezTo>
                    <a:pt x="16" y="767"/>
                    <a:pt x="-157" y="1763"/>
                    <a:pt x="289" y="2497"/>
                  </a:cubicBezTo>
                  <a:cubicBezTo>
                    <a:pt x="734" y="3231"/>
                    <a:pt x="1630" y="3426"/>
                    <a:pt x="2290" y="2931"/>
                  </a:cubicBezTo>
                  <a:cubicBezTo>
                    <a:pt x="2950" y="2437"/>
                    <a:pt x="3123" y="1441"/>
                    <a:pt x="2678" y="707"/>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09" name="Shape 10446">
              <a:extLst>
                <a:ext uri="{FF2B5EF4-FFF2-40B4-BE49-F238E27FC236}">
                  <a16:creationId xmlns:a16="http://schemas.microsoft.com/office/drawing/2014/main" xmlns="" id="{9C7E122B-05F1-49A8-A836-DB2240D9A847}"/>
                </a:ext>
              </a:extLst>
            </p:cNvPr>
            <p:cNvSpPr/>
            <p:nvPr/>
          </p:nvSpPr>
          <p:spPr>
            <a:xfrm>
              <a:off x="15268309" y="8005297"/>
              <a:ext cx="498843" cy="552214"/>
            </a:xfrm>
            <a:custGeom>
              <a:avLst/>
              <a:gdLst/>
              <a:ahLst/>
              <a:cxnLst>
                <a:cxn ang="0">
                  <a:pos x="wd2" y="hd2"/>
                </a:cxn>
                <a:cxn ang="5400000">
                  <a:pos x="wd2" y="hd2"/>
                </a:cxn>
                <a:cxn ang="10800000">
                  <a:pos x="wd2" y="hd2"/>
                </a:cxn>
                <a:cxn ang="16200000">
                  <a:pos x="wd2" y="hd2"/>
                </a:cxn>
              </a:cxnLst>
              <a:rect l="0" t="0" r="r" b="b"/>
              <a:pathLst>
                <a:path w="20678" h="21600" extrusionOk="0">
                  <a:moveTo>
                    <a:pt x="10339" y="0"/>
                  </a:moveTo>
                  <a:cubicBezTo>
                    <a:pt x="8560" y="0"/>
                    <a:pt x="6992" y="1375"/>
                    <a:pt x="5917" y="3576"/>
                  </a:cubicBezTo>
                  <a:cubicBezTo>
                    <a:pt x="5568" y="3546"/>
                    <a:pt x="5234" y="3529"/>
                    <a:pt x="4903" y="3529"/>
                  </a:cubicBezTo>
                  <a:cubicBezTo>
                    <a:pt x="2761" y="3529"/>
                    <a:pt x="1171" y="4188"/>
                    <a:pt x="431" y="5396"/>
                  </a:cubicBezTo>
                  <a:cubicBezTo>
                    <a:pt x="-452" y="6840"/>
                    <a:pt x="119" y="8796"/>
                    <a:pt x="1578" y="10761"/>
                  </a:cubicBezTo>
                  <a:cubicBezTo>
                    <a:pt x="84" y="12747"/>
                    <a:pt x="-461" y="14730"/>
                    <a:pt x="431" y="16188"/>
                  </a:cubicBezTo>
                  <a:cubicBezTo>
                    <a:pt x="1171" y="17397"/>
                    <a:pt x="2760" y="18055"/>
                    <a:pt x="4903" y="18055"/>
                  </a:cubicBezTo>
                  <a:cubicBezTo>
                    <a:pt x="5246" y="18055"/>
                    <a:pt x="5621" y="18010"/>
                    <a:pt x="5983" y="17976"/>
                  </a:cubicBezTo>
                  <a:cubicBezTo>
                    <a:pt x="7057" y="20156"/>
                    <a:pt x="8570" y="21600"/>
                    <a:pt x="10339" y="21600"/>
                  </a:cubicBezTo>
                  <a:cubicBezTo>
                    <a:pt x="12118" y="21600"/>
                    <a:pt x="13685" y="20224"/>
                    <a:pt x="14761" y="18024"/>
                  </a:cubicBezTo>
                  <a:cubicBezTo>
                    <a:pt x="15110" y="18054"/>
                    <a:pt x="15460" y="18071"/>
                    <a:pt x="15791" y="18071"/>
                  </a:cubicBezTo>
                  <a:cubicBezTo>
                    <a:pt x="17934" y="18071"/>
                    <a:pt x="19507" y="17412"/>
                    <a:pt x="20246" y="16204"/>
                  </a:cubicBezTo>
                  <a:cubicBezTo>
                    <a:pt x="21134" y="14753"/>
                    <a:pt x="20576" y="12782"/>
                    <a:pt x="19099" y="10808"/>
                  </a:cubicBezTo>
                  <a:cubicBezTo>
                    <a:pt x="20594" y="8822"/>
                    <a:pt x="21139" y="6839"/>
                    <a:pt x="20246" y="5380"/>
                  </a:cubicBezTo>
                  <a:cubicBezTo>
                    <a:pt x="19508" y="4173"/>
                    <a:pt x="17934" y="3514"/>
                    <a:pt x="15791" y="3514"/>
                  </a:cubicBezTo>
                  <a:cubicBezTo>
                    <a:pt x="15438" y="3514"/>
                    <a:pt x="15052" y="3573"/>
                    <a:pt x="14677" y="3608"/>
                  </a:cubicBezTo>
                  <a:cubicBezTo>
                    <a:pt x="13604" y="1440"/>
                    <a:pt x="12102" y="0"/>
                    <a:pt x="10339" y="0"/>
                  </a:cubicBezTo>
                  <a:close/>
                  <a:moveTo>
                    <a:pt x="10339" y="1004"/>
                  </a:moveTo>
                  <a:cubicBezTo>
                    <a:pt x="11591" y="1004"/>
                    <a:pt x="12710" y="2093"/>
                    <a:pt x="13580" y="3733"/>
                  </a:cubicBezTo>
                  <a:cubicBezTo>
                    <a:pt x="12541" y="3915"/>
                    <a:pt x="11452" y="4238"/>
                    <a:pt x="10355" y="4643"/>
                  </a:cubicBezTo>
                  <a:cubicBezTo>
                    <a:pt x="9226" y="4226"/>
                    <a:pt x="8099" y="3899"/>
                    <a:pt x="7031" y="3718"/>
                  </a:cubicBezTo>
                  <a:cubicBezTo>
                    <a:pt x="7905" y="2046"/>
                    <a:pt x="9073" y="1004"/>
                    <a:pt x="10339" y="1004"/>
                  </a:cubicBezTo>
                  <a:close/>
                  <a:moveTo>
                    <a:pt x="15791" y="4518"/>
                  </a:moveTo>
                  <a:cubicBezTo>
                    <a:pt x="17538" y="4518"/>
                    <a:pt x="18791" y="4998"/>
                    <a:pt x="19332" y="5882"/>
                  </a:cubicBezTo>
                  <a:cubicBezTo>
                    <a:pt x="19959" y="6907"/>
                    <a:pt x="19540" y="8380"/>
                    <a:pt x="18468" y="9914"/>
                  </a:cubicBezTo>
                  <a:cubicBezTo>
                    <a:pt x="17787" y="9159"/>
                    <a:pt x="16951" y="8410"/>
                    <a:pt x="16007" y="7702"/>
                  </a:cubicBezTo>
                  <a:cubicBezTo>
                    <a:pt x="15826" y="6556"/>
                    <a:pt x="15554" y="5511"/>
                    <a:pt x="15193" y="4565"/>
                  </a:cubicBezTo>
                  <a:cubicBezTo>
                    <a:pt x="15389" y="4554"/>
                    <a:pt x="15602" y="4518"/>
                    <a:pt x="15791" y="4518"/>
                  </a:cubicBezTo>
                  <a:close/>
                  <a:moveTo>
                    <a:pt x="4903" y="4533"/>
                  </a:moveTo>
                  <a:cubicBezTo>
                    <a:pt x="5095" y="4533"/>
                    <a:pt x="5302" y="4538"/>
                    <a:pt x="5501" y="4549"/>
                  </a:cubicBezTo>
                  <a:cubicBezTo>
                    <a:pt x="5130" y="5520"/>
                    <a:pt x="4852" y="6633"/>
                    <a:pt x="4670" y="7812"/>
                  </a:cubicBezTo>
                  <a:cubicBezTo>
                    <a:pt x="3730" y="8526"/>
                    <a:pt x="2966" y="9248"/>
                    <a:pt x="2293" y="10008"/>
                  </a:cubicBezTo>
                  <a:cubicBezTo>
                    <a:pt x="1175" y="8445"/>
                    <a:pt x="708" y="6940"/>
                    <a:pt x="1346" y="5898"/>
                  </a:cubicBezTo>
                  <a:cubicBezTo>
                    <a:pt x="1887" y="5014"/>
                    <a:pt x="3156" y="4533"/>
                    <a:pt x="4903" y="4533"/>
                  </a:cubicBezTo>
                  <a:close/>
                  <a:moveTo>
                    <a:pt x="14062" y="4659"/>
                  </a:moveTo>
                  <a:cubicBezTo>
                    <a:pt x="14333" y="5325"/>
                    <a:pt x="14582" y="6051"/>
                    <a:pt x="14761" y="6839"/>
                  </a:cubicBezTo>
                  <a:cubicBezTo>
                    <a:pt x="14294" y="6539"/>
                    <a:pt x="13808" y="6239"/>
                    <a:pt x="13298" y="5961"/>
                  </a:cubicBezTo>
                  <a:cubicBezTo>
                    <a:pt x="12768" y="5672"/>
                    <a:pt x="12225" y="5480"/>
                    <a:pt x="11685" y="5239"/>
                  </a:cubicBezTo>
                  <a:cubicBezTo>
                    <a:pt x="12500" y="4985"/>
                    <a:pt x="13298" y="4775"/>
                    <a:pt x="14062" y="4659"/>
                  </a:cubicBezTo>
                  <a:close/>
                  <a:moveTo>
                    <a:pt x="6599" y="4675"/>
                  </a:moveTo>
                  <a:cubicBezTo>
                    <a:pt x="7326" y="4784"/>
                    <a:pt x="8103" y="5021"/>
                    <a:pt x="8876" y="5255"/>
                  </a:cubicBezTo>
                  <a:cubicBezTo>
                    <a:pt x="8379" y="5481"/>
                    <a:pt x="7868" y="5695"/>
                    <a:pt x="7380" y="5961"/>
                  </a:cubicBezTo>
                  <a:cubicBezTo>
                    <a:pt x="6837" y="6256"/>
                    <a:pt x="6443" y="6613"/>
                    <a:pt x="5950" y="6933"/>
                  </a:cubicBezTo>
                  <a:cubicBezTo>
                    <a:pt x="6128" y="6137"/>
                    <a:pt x="6326" y="5348"/>
                    <a:pt x="6599" y="4675"/>
                  </a:cubicBezTo>
                  <a:close/>
                  <a:moveTo>
                    <a:pt x="10405" y="5788"/>
                  </a:moveTo>
                  <a:cubicBezTo>
                    <a:pt x="11196" y="6102"/>
                    <a:pt x="11987" y="6415"/>
                    <a:pt x="12766" y="6839"/>
                  </a:cubicBezTo>
                  <a:cubicBezTo>
                    <a:pt x="13571" y="7278"/>
                    <a:pt x="14317" y="7751"/>
                    <a:pt x="15010" y="8251"/>
                  </a:cubicBezTo>
                  <a:cubicBezTo>
                    <a:pt x="15123" y="9067"/>
                    <a:pt x="15193" y="9915"/>
                    <a:pt x="15193" y="10792"/>
                  </a:cubicBezTo>
                  <a:cubicBezTo>
                    <a:pt x="15193" y="11657"/>
                    <a:pt x="15070" y="12466"/>
                    <a:pt x="14960" y="13271"/>
                  </a:cubicBezTo>
                  <a:cubicBezTo>
                    <a:pt x="14260" y="13779"/>
                    <a:pt x="13583" y="14300"/>
                    <a:pt x="12766" y="14745"/>
                  </a:cubicBezTo>
                  <a:cubicBezTo>
                    <a:pt x="11937" y="15197"/>
                    <a:pt x="11096" y="15469"/>
                    <a:pt x="10256" y="15796"/>
                  </a:cubicBezTo>
                  <a:cubicBezTo>
                    <a:pt x="9475" y="15485"/>
                    <a:pt x="8681" y="15180"/>
                    <a:pt x="7912" y="14761"/>
                  </a:cubicBezTo>
                  <a:cubicBezTo>
                    <a:pt x="7107" y="14323"/>
                    <a:pt x="6360" y="13849"/>
                    <a:pt x="5668" y="13349"/>
                  </a:cubicBezTo>
                  <a:cubicBezTo>
                    <a:pt x="5554" y="12533"/>
                    <a:pt x="5501" y="11669"/>
                    <a:pt x="5501" y="10792"/>
                  </a:cubicBezTo>
                  <a:cubicBezTo>
                    <a:pt x="5501" y="9918"/>
                    <a:pt x="5605" y="9111"/>
                    <a:pt x="5718" y="8298"/>
                  </a:cubicBezTo>
                  <a:cubicBezTo>
                    <a:pt x="6420" y="7788"/>
                    <a:pt x="7092" y="7270"/>
                    <a:pt x="7912" y="6824"/>
                  </a:cubicBezTo>
                  <a:cubicBezTo>
                    <a:pt x="8731" y="6377"/>
                    <a:pt x="9574" y="6113"/>
                    <a:pt x="10405" y="5788"/>
                  </a:cubicBezTo>
                  <a:close/>
                  <a:moveTo>
                    <a:pt x="10339" y="7984"/>
                  </a:moveTo>
                  <a:cubicBezTo>
                    <a:pt x="8690" y="7984"/>
                    <a:pt x="7363" y="9237"/>
                    <a:pt x="7363" y="10792"/>
                  </a:cubicBezTo>
                  <a:cubicBezTo>
                    <a:pt x="7363" y="12348"/>
                    <a:pt x="8690" y="13616"/>
                    <a:pt x="10339" y="13616"/>
                  </a:cubicBezTo>
                  <a:cubicBezTo>
                    <a:pt x="11987" y="13616"/>
                    <a:pt x="13331" y="12348"/>
                    <a:pt x="13331" y="10792"/>
                  </a:cubicBezTo>
                  <a:cubicBezTo>
                    <a:pt x="13331" y="9237"/>
                    <a:pt x="11987" y="7984"/>
                    <a:pt x="10339" y="7984"/>
                  </a:cubicBezTo>
                  <a:close/>
                  <a:moveTo>
                    <a:pt x="4571" y="9098"/>
                  </a:moveTo>
                  <a:cubicBezTo>
                    <a:pt x="4522" y="9664"/>
                    <a:pt x="4438" y="10197"/>
                    <a:pt x="4438" y="10792"/>
                  </a:cubicBezTo>
                  <a:cubicBezTo>
                    <a:pt x="4438" y="11349"/>
                    <a:pt x="4462" y="11892"/>
                    <a:pt x="4504" y="12424"/>
                  </a:cubicBezTo>
                  <a:cubicBezTo>
                    <a:pt x="3891" y="11902"/>
                    <a:pt x="3374" y="11375"/>
                    <a:pt x="2908" y="10839"/>
                  </a:cubicBezTo>
                  <a:cubicBezTo>
                    <a:pt x="3403" y="10260"/>
                    <a:pt x="3903" y="9661"/>
                    <a:pt x="4571" y="9098"/>
                  </a:cubicBezTo>
                  <a:close/>
                  <a:moveTo>
                    <a:pt x="16190" y="9176"/>
                  </a:moveTo>
                  <a:cubicBezTo>
                    <a:pt x="16796" y="9693"/>
                    <a:pt x="17307" y="10215"/>
                    <a:pt x="17769" y="10745"/>
                  </a:cubicBezTo>
                  <a:cubicBezTo>
                    <a:pt x="17273" y="11325"/>
                    <a:pt x="16776" y="11907"/>
                    <a:pt x="16107" y="12471"/>
                  </a:cubicBezTo>
                  <a:cubicBezTo>
                    <a:pt x="16155" y="11912"/>
                    <a:pt x="16257" y="11379"/>
                    <a:pt x="16257" y="10792"/>
                  </a:cubicBezTo>
                  <a:cubicBezTo>
                    <a:pt x="16257" y="10236"/>
                    <a:pt x="16233" y="9708"/>
                    <a:pt x="16190" y="9176"/>
                  </a:cubicBezTo>
                  <a:close/>
                  <a:moveTo>
                    <a:pt x="18384" y="11576"/>
                  </a:moveTo>
                  <a:cubicBezTo>
                    <a:pt x="19512" y="13146"/>
                    <a:pt x="19972" y="14656"/>
                    <a:pt x="19332" y="15702"/>
                  </a:cubicBezTo>
                  <a:cubicBezTo>
                    <a:pt x="18791" y="16586"/>
                    <a:pt x="17537" y="17067"/>
                    <a:pt x="15791" y="17067"/>
                  </a:cubicBezTo>
                  <a:cubicBezTo>
                    <a:pt x="15599" y="17067"/>
                    <a:pt x="15392" y="17047"/>
                    <a:pt x="15193" y="17035"/>
                  </a:cubicBezTo>
                  <a:cubicBezTo>
                    <a:pt x="15564" y="16065"/>
                    <a:pt x="15826" y="14967"/>
                    <a:pt x="16007" y="13788"/>
                  </a:cubicBezTo>
                  <a:cubicBezTo>
                    <a:pt x="16951" y="13073"/>
                    <a:pt x="17710" y="12337"/>
                    <a:pt x="18384" y="11576"/>
                  </a:cubicBezTo>
                  <a:close/>
                  <a:moveTo>
                    <a:pt x="2210" y="11655"/>
                  </a:moveTo>
                  <a:cubicBezTo>
                    <a:pt x="2896" y="12420"/>
                    <a:pt x="3714" y="13165"/>
                    <a:pt x="4670" y="13882"/>
                  </a:cubicBezTo>
                  <a:cubicBezTo>
                    <a:pt x="4849" y="15014"/>
                    <a:pt x="5113" y="16067"/>
                    <a:pt x="5468" y="17004"/>
                  </a:cubicBezTo>
                  <a:cubicBezTo>
                    <a:pt x="5283" y="17014"/>
                    <a:pt x="5081" y="17051"/>
                    <a:pt x="4903" y="17051"/>
                  </a:cubicBezTo>
                  <a:cubicBezTo>
                    <a:pt x="3156" y="17051"/>
                    <a:pt x="1887" y="16571"/>
                    <a:pt x="1346" y="15686"/>
                  </a:cubicBezTo>
                  <a:cubicBezTo>
                    <a:pt x="717" y="14659"/>
                    <a:pt x="1131" y="13193"/>
                    <a:pt x="2210" y="11655"/>
                  </a:cubicBezTo>
                  <a:close/>
                  <a:moveTo>
                    <a:pt x="14744" y="14651"/>
                  </a:moveTo>
                  <a:cubicBezTo>
                    <a:pt x="14565" y="15455"/>
                    <a:pt x="14370" y="16247"/>
                    <a:pt x="14096" y="16925"/>
                  </a:cubicBezTo>
                  <a:cubicBezTo>
                    <a:pt x="13364" y="16816"/>
                    <a:pt x="12580" y="16581"/>
                    <a:pt x="11802" y="16345"/>
                  </a:cubicBezTo>
                  <a:cubicBezTo>
                    <a:pt x="12304" y="16117"/>
                    <a:pt x="12804" y="15892"/>
                    <a:pt x="13298" y="15624"/>
                  </a:cubicBezTo>
                  <a:cubicBezTo>
                    <a:pt x="13843" y="15326"/>
                    <a:pt x="14249" y="14973"/>
                    <a:pt x="14744" y="14651"/>
                  </a:cubicBezTo>
                  <a:close/>
                  <a:moveTo>
                    <a:pt x="5934" y="14761"/>
                  </a:moveTo>
                  <a:cubicBezTo>
                    <a:pt x="6400" y="15061"/>
                    <a:pt x="6869" y="15346"/>
                    <a:pt x="7380" y="15624"/>
                  </a:cubicBezTo>
                  <a:cubicBezTo>
                    <a:pt x="7902" y="15908"/>
                    <a:pt x="8444" y="16107"/>
                    <a:pt x="8976" y="16345"/>
                  </a:cubicBezTo>
                  <a:cubicBezTo>
                    <a:pt x="8160" y="16598"/>
                    <a:pt x="7364" y="16795"/>
                    <a:pt x="6599" y="16910"/>
                  </a:cubicBezTo>
                  <a:cubicBezTo>
                    <a:pt x="6331" y="16249"/>
                    <a:pt x="6110" y="15542"/>
                    <a:pt x="5934" y="14761"/>
                  </a:cubicBezTo>
                  <a:close/>
                  <a:moveTo>
                    <a:pt x="10322" y="16941"/>
                  </a:moveTo>
                  <a:cubicBezTo>
                    <a:pt x="11458" y="17362"/>
                    <a:pt x="12573" y="17700"/>
                    <a:pt x="13647" y="17882"/>
                  </a:cubicBezTo>
                  <a:cubicBezTo>
                    <a:pt x="12773" y="19553"/>
                    <a:pt x="11605" y="20596"/>
                    <a:pt x="10339" y="20596"/>
                  </a:cubicBezTo>
                  <a:cubicBezTo>
                    <a:pt x="9084" y="20596"/>
                    <a:pt x="7951" y="19498"/>
                    <a:pt x="7081" y="17851"/>
                  </a:cubicBezTo>
                  <a:cubicBezTo>
                    <a:pt x="8127" y="17671"/>
                    <a:pt x="9217" y="17349"/>
                    <a:pt x="10322" y="1694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0" name="Shape 10447">
              <a:extLst>
                <a:ext uri="{FF2B5EF4-FFF2-40B4-BE49-F238E27FC236}">
                  <a16:creationId xmlns:a16="http://schemas.microsoft.com/office/drawing/2014/main" xmlns="" id="{C759809B-AE59-40F2-A514-15E2B67BAE5F}"/>
                </a:ext>
              </a:extLst>
            </p:cNvPr>
            <p:cNvSpPr/>
            <p:nvPr/>
          </p:nvSpPr>
          <p:spPr>
            <a:xfrm>
              <a:off x="15182165" y="7422392"/>
              <a:ext cx="482786" cy="501735"/>
            </a:xfrm>
            <a:custGeom>
              <a:avLst/>
              <a:gdLst/>
              <a:ahLst/>
              <a:cxnLst>
                <a:cxn ang="0">
                  <a:pos x="wd2" y="hd2"/>
                </a:cxn>
                <a:cxn ang="5400000">
                  <a:pos x="wd2" y="hd2"/>
                </a:cxn>
                <a:cxn ang="10800000">
                  <a:pos x="wd2" y="hd2"/>
                </a:cxn>
                <a:cxn ang="16200000">
                  <a:pos x="wd2" y="hd2"/>
                </a:cxn>
              </a:cxnLst>
              <a:rect l="0" t="0" r="r" b="b"/>
              <a:pathLst>
                <a:path w="21367" h="21369" extrusionOk="0">
                  <a:moveTo>
                    <a:pt x="9892" y="341"/>
                  </a:moveTo>
                  <a:cubicBezTo>
                    <a:pt x="10333" y="-98"/>
                    <a:pt x="11063" y="-117"/>
                    <a:pt x="11519" y="307"/>
                  </a:cubicBezTo>
                  <a:lnTo>
                    <a:pt x="21020" y="9136"/>
                  </a:lnTo>
                  <a:cubicBezTo>
                    <a:pt x="21476" y="9561"/>
                    <a:pt x="21482" y="10263"/>
                    <a:pt x="21042" y="10702"/>
                  </a:cubicBezTo>
                  <a:lnTo>
                    <a:pt x="10676" y="21032"/>
                  </a:lnTo>
                  <a:cubicBezTo>
                    <a:pt x="10236" y="21471"/>
                    <a:pt x="9512" y="21483"/>
                    <a:pt x="9056" y="21059"/>
                  </a:cubicBezTo>
                  <a:lnTo>
                    <a:pt x="6577" y="18755"/>
                  </a:lnTo>
                  <a:lnTo>
                    <a:pt x="9366" y="15976"/>
                  </a:lnTo>
                  <a:cubicBezTo>
                    <a:pt x="9806" y="15537"/>
                    <a:pt x="9793" y="14841"/>
                    <a:pt x="9337" y="14417"/>
                  </a:cubicBezTo>
                  <a:lnTo>
                    <a:pt x="7682" y="12879"/>
                  </a:lnTo>
                  <a:cubicBezTo>
                    <a:pt x="7226" y="12455"/>
                    <a:pt x="6503" y="12467"/>
                    <a:pt x="6062" y="12906"/>
                  </a:cubicBezTo>
                  <a:lnTo>
                    <a:pt x="3274" y="15685"/>
                  </a:lnTo>
                  <a:lnTo>
                    <a:pt x="1210" y="13767"/>
                  </a:lnTo>
                  <a:cubicBezTo>
                    <a:pt x="754" y="13343"/>
                    <a:pt x="734" y="12641"/>
                    <a:pt x="1175" y="12202"/>
                  </a:cubicBezTo>
                  <a:lnTo>
                    <a:pt x="351" y="11436"/>
                  </a:lnTo>
                  <a:cubicBezTo>
                    <a:pt x="-105" y="11012"/>
                    <a:pt x="-118" y="10316"/>
                    <a:pt x="322" y="9877"/>
                  </a:cubicBezTo>
                  <a:lnTo>
                    <a:pt x="9892" y="341"/>
                  </a:lnTo>
                  <a:close/>
                  <a:moveTo>
                    <a:pt x="10322" y="1500"/>
                  </a:moveTo>
                  <a:lnTo>
                    <a:pt x="1949" y="9844"/>
                  </a:lnTo>
                  <a:cubicBezTo>
                    <a:pt x="1949" y="9844"/>
                    <a:pt x="1145" y="10641"/>
                    <a:pt x="1971" y="11409"/>
                  </a:cubicBezTo>
                  <a:lnTo>
                    <a:pt x="11146" y="2266"/>
                  </a:lnTo>
                  <a:cubicBezTo>
                    <a:pt x="11366" y="2046"/>
                    <a:pt x="11360" y="1705"/>
                    <a:pt x="11132" y="1492"/>
                  </a:cubicBezTo>
                  <a:cubicBezTo>
                    <a:pt x="10904" y="1281"/>
                    <a:pt x="10542" y="1280"/>
                    <a:pt x="10322" y="1500"/>
                  </a:cubicBezTo>
                  <a:close/>
                  <a:moveTo>
                    <a:pt x="6083" y="13685"/>
                  </a:moveTo>
                  <a:cubicBezTo>
                    <a:pt x="6523" y="13247"/>
                    <a:pt x="7247" y="13234"/>
                    <a:pt x="7703" y="13658"/>
                  </a:cubicBezTo>
                  <a:lnTo>
                    <a:pt x="8527" y="14424"/>
                  </a:lnTo>
                  <a:cubicBezTo>
                    <a:pt x="8983" y="14848"/>
                    <a:pt x="8996" y="15544"/>
                    <a:pt x="8555" y="15983"/>
                  </a:cubicBezTo>
                  <a:lnTo>
                    <a:pt x="6161" y="18369"/>
                  </a:lnTo>
                  <a:cubicBezTo>
                    <a:pt x="5721" y="18808"/>
                    <a:pt x="4991" y="18826"/>
                    <a:pt x="4535" y="18403"/>
                  </a:cubicBezTo>
                  <a:lnTo>
                    <a:pt x="3711" y="17637"/>
                  </a:lnTo>
                  <a:cubicBezTo>
                    <a:pt x="3254" y="17213"/>
                    <a:pt x="3249" y="16510"/>
                    <a:pt x="3689" y="16071"/>
                  </a:cubicBezTo>
                  <a:lnTo>
                    <a:pt x="6083" y="13685"/>
                  </a:lnTo>
                  <a:close/>
                  <a:moveTo>
                    <a:pt x="6506" y="14851"/>
                  </a:moveTo>
                  <a:cubicBezTo>
                    <a:pt x="6286" y="15071"/>
                    <a:pt x="6285" y="15419"/>
                    <a:pt x="6514" y="15631"/>
                  </a:cubicBezTo>
                  <a:cubicBezTo>
                    <a:pt x="6742" y="15843"/>
                    <a:pt x="7110" y="15837"/>
                    <a:pt x="7330" y="15617"/>
                  </a:cubicBezTo>
                  <a:cubicBezTo>
                    <a:pt x="7550" y="15398"/>
                    <a:pt x="7544" y="15043"/>
                    <a:pt x="7316" y="14831"/>
                  </a:cubicBezTo>
                  <a:cubicBezTo>
                    <a:pt x="7088" y="14619"/>
                    <a:pt x="6726" y="14632"/>
                    <a:pt x="6506" y="14851"/>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1" name="Shape 10448">
              <a:extLst>
                <a:ext uri="{FF2B5EF4-FFF2-40B4-BE49-F238E27FC236}">
                  <a16:creationId xmlns:a16="http://schemas.microsoft.com/office/drawing/2014/main" xmlns="" id="{990C8A71-FE47-4F12-AACF-243929F34EF2}"/>
                </a:ext>
              </a:extLst>
            </p:cNvPr>
            <p:cNvSpPr/>
            <p:nvPr/>
          </p:nvSpPr>
          <p:spPr>
            <a:xfrm>
              <a:off x="15128412" y="6820063"/>
              <a:ext cx="371717" cy="598352"/>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53" y="16426"/>
                  </a:lnTo>
                  <a:lnTo>
                    <a:pt x="6939" y="18801"/>
                  </a:lnTo>
                  <a:cubicBezTo>
                    <a:pt x="6939" y="18801"/>
                    <a:pt x="0" y="21600"/>
                    <a:pt x="0" y="21600"/>
                  </a:cubicBezTo>
                  <a:close/>
                  <a:moveTo>
                    <a:pt x="7564" y="18101"/>
                  </a:moveTo>
                  <a:lnTo>
                    <a:pt x="678" y="15726"/>
                  </a:lnTo>
                  <a:lnTo>
                    <a:pt x="11819" y="3241"/>
                  </a:lnTo>
                  <a:lnTo>
                    <a:pt x="18708" y="5613"/>
                  </a:lnTo>
                  <a:cubicBezTo>
                    <a:pt x="18708" y="5613"/>
                    <a:pt x="7564" y="18101"/>
                    <a:pt x="7564" y="18101"/>
                  </a:cubicBezTo>
                  <a:close/>
                  <a:moveTo>
                    <a:pt x="19345" y="4898"/>
                  </a:moveTo>
                  <a:lnTo>
                    <a:pt x="12456" y="2525"/>
                  </a:lnTo>
                  <a:lnTo>
                    <a:pt x="14711" y="0"/>
                  </a:lnTo>
                  <a:lnTo>
                    <a:pt x="21600" y="2372"/>
                  </a:lnTo>
                  <a:cubicBezTo>
                    <a:pt x="21600" y="2372"/>
                    <a:pt x="19345" y="4898"/>
                    <a:pt x="19345" y="4898"/>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2" name="Shape 10449">
              <a:extLst>
                <a:ext uri="{FF2B5EF4-FFF2-40B4-BE49-F238E27FC236}">
                  <a16:creationId xmlns:a16="http://schemas.microsoft.com/office/drawing/2014/main" xmlns="" id="{C63C5821-5DBE-41BB-B80D-8F1732940138}"/>
                </a:ext>
              </a:extLst>
            </p:cNvPr>
            <p:cNvSpPr/>
            <p:nvPr/>
          </p:nvSpPr>
          <p:spPr>
            <a:xfrm>
              <a:off x="19860235" y="12623190"/>
              <a:ext cx="635104" cy="383207"/>
            </a:xfrm>
            <a:custGeom>
              <a:avLst/>
              <a:gdLst/>
              <a:ahLst/>
              <a:cxnLst>
                <a:cxn ang="0">
                  <a:pos x="wd2" y="hd2"/>
                </a:cxn>
                <a:cxn ang="5400000">
                  <a:pos x="wd2" y="hd2"/>
                </a:cxn>
                <a:cxn ang="10800000">
                  <a:pos x="wd2" y="hd2"/>
                </a:cxn>
                <a:cxn ang="16200000">
                  <a:pos x="wd2" y="hd2"/>
                </a:cxn>
              </a:cxnLst>
              <a:rect l="0" t="0" r="r" b="b"/>
              <a:pathLst>
                <a:path w="21411" h="21289" extrusionOk="0">
                  <a:moveTo>
                    <a:pt x="5099" y="1723"/>
                  </a:moveTo>
                  <a:lnTo>
                    <a:pt x="3700" y="16273"/>
                  </a:lnTo>
                  <a:lnTo>
                    <a:pt x="16313" y="19565"/>
                  </a:lnTo>
                  <a:lnTo>
                    <a:pt x="17712" y="5015"/>
                  </a:lnTo>
                  <a:cubicBezTo>
                    <a:pt x="17712" y="5015"/>
                    <a:pt x="5099" y="1723"/>
                    <a:pt x="5099" y="1723"/>
                  </a:cubicBezTo>
                  <a:close/>
                  <a:moveTo>
                    <a:pt x="2757" y="5906"/>
                  </a:moveTo>
                  <a:lnTo>
                    <a:pt x="2258" y="11102"/>
                  </a:lnTo>
                  <a:cubicBezTo>
                    <a:pt x="2230" y="11389"/>
                    <a:pt x="2349" y="11659"/>
                    <a:pt x="2523" y="11704"/>
                  </a:cubicBezTo>
                  <a:cubicBezTo>
                    <a:pt x="2697" y="11750"/>
                    <a:pt x="2861" y="11554"/>
                    <a:pt x="2889" y="11267"/>
                  </a:cubicBezTo>
                  <a:lnTo>
                    <a:pt x="3388" y="6071"/>
                  </a:lnTo>
                  <a:cubicBezTo>
                    <a:pt x="3416" y="5784"/>
                    <a:pt x="3297" y="5514"/>
                    <a:pt x="3123" y="5469"/>
                  </a:cubicBezTo>
                  <a:cubicBezTo>
                    <a:pt x="2949" y="5423"/>
                    <a:pt x="2785" y="5619"/>
                    <a:pt x="2757" y="5906"/>
                  </a:cubicBezTo>
                  <a:close/>
                  <a:moveTo>
                    <a:pt x="19585" y="12429"/>
                  </a:moveTo>
                  <a:cubicBezTo>
                    <a:pt x="19668" y="11568"/>
                    <a:pt x="19311" y="10759"/>
                    <a:pt x="18789" y="10623"/>
                  </a:cubicBezTo>
                  <a:cubicBezTo>
                    <a:pt x="18266" y="10487"/>
                    <a:pt x="17776" y="11074"/>
                    <a:pt x="17693" y="11935"/>
                  </a:cubicBezTo>
                  <a:cubicBezTo>
                    <a:pt x="17610" y="12796"/>
                    <a:pt x="17967" y="13604"/>
                    <a:pt x="18489" y="13741"/>
                  </a:cubicBezTo>
                  <a:cubicBezTo>
                    <a:pt x="19012" y="13877"/>
                    <a:pt x="19502" y="13289"/>
                    <a:pt x="19585" y="12429"/>
                  </a:cubicBezTo>
                  <a:close/>
                  <a:moveTo>
                    <a:pt x="21396" y="7042"/>
                  </a:moveTo>
                  <a:lnTo>
                    <a:pt x="20197" y="19513"/>
                  </a:lnTo>
                  <a:cubicBezTo>
                    <a:pt x="20087" y="20661"/>
                    <a:pt x="19433" y="21444"/>
                    <a:pt x="18736" y="21262"/>
                  </a:cubicBezTo>
                  <a:lnTo>
                    <a:pt x="1078" y="16653"/>
                  </a:lnTo>
                  <a:cubicBezTo>
                    <a:pt x="381" y="16472"/>
                    <a:pt x="-94" y="15394"/>
                    <a:pt x="16" y="14246"/>
                  </a:cubicBezTo>
                  <a:lnTo>
                    <a:pt x="1215" y="1775"/>
                  </a:lnTo>
                  <a:cubicBezTo>
                    <a:pt x="1325" y="627"/>
                    <a:pt x="1979" y="-156"/>
                    <a:pt x="2676" y="26"/>
                  </a:cubicBezTo>
                  <a:lnTo>
                    <a:pt x="20334" y="4635"/>
                  </a:lnTo>
                  <a:cubicBezTo>
                    <a:pt x="21031" y="4816"/>
                    <a:pt x="21506" y="5894"/>
                    <a:pt x="21396" y="7042"/>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3" name="Shape 10450">
              <a:extLst>
                <a:ext uri="{FF2B5EF4-FFF2-40B4-BE49-F238E27FC236}">
                  <a16:creationId xmlns:a16="http://schemas.microsoft.com/office/drawing/2014/main" xmlns="" id="{390AE885-CE3D-469A-B9E0-042E47337652}"/>
                </a:ext>
              </a:extLst>
            </p:cNvPr>
            <p:cNvSpPr/>
            <p:nvPr/>
          </p:nvSpPr>
          <p:spPr>
            <a:xfrm>
              <a:off x="17597371" y="10224894"/>
              <a:ext cx="387029" cy="553397"/>
            </a:xfrm>
            <a:custGeom>
              <a:avLst/>
              <a:gdLst/>
              <a:ahLst/>
              <a:cxnLst>
                <a:cxn ang="0">
                  <a:pos x="wd2" y="hd2"/>
                </a:cxn>
                <a:cxn ang="5400000">
                  <a:pos x="wd2" y="hd2"/>
                </a:cxn>
                <a:cxn ang="10800000">
                  <a:pos x="wd2" y="hd2"/>
                </a:cxn>
                <a:cxn ang="16200000">
                  <a:pos x="wd2" y="hd2"/>
                </a:cxn>
              </a:cxnLst>
              <a:rect l="0" t="0" r="r" b="b"/>
              <a:pathLst>
                <a:path w="21451" h="21511" extrusionOk="0">
                  <a:moveTo>
                    <a:pt x="18683" y="0"/>
                  </a:moveTo>
                  <a:lnTo>
                    <a:pt x="17079" y="1668"/>
                  </a:lnTo>
                  <a:cubicBezTo>
                    <a:pt x="17015" y="1638"/>
                    <a:pt x="16700" y="1488"/>
                    <a:pt x="16700" y="1488"/>
                  </a:cubicBezTo>
                  <a:lnTo>
                    <a:pt x="15441" y="2801"/>
                  </a:lnTo>
                  <a:lnTo>
                    <a:pt x="15820" y="2981"/>
                  </a:lnTo>
                  <a:lnTo>
                    <a:pt x="15441" y="3375"/>
                  </a:lnTo>
                  <a:lnTo>
                    <a:pt x="2730" y="16587"/>
                  </a:lnTo>
                  <a:cubicBezTo>
                    <a:pt x="2279" y="17056"/>
                    <a:pt x="509" y="19614"/>
                    <a:pt x="586" y="20489"/>
                  </a:cubicBezTo>
                  <a:cubicBezTo>
                    <a:pt x="597" y="20614"/>
                    <a:pt x="646" y="20706"/>
                    <a:pt x="742" y="20751"/>
                  </a:cubicBezTo>
                  <a:cubicBezTo>
                    <a:pt x="1508" y="21113"/>
                    <a:pt x="4988" y="18432"/>
                    <a:pt x="5504" y="17895"/>
                  </a:cubicBezTo>
                  <a:lnTo>
                    <a:pt x="18209" y="4684"/>
                  </a:lnTo>
                  <a:lnTo>
                    <a:pt x="18588" y="4289"/>
                  </a:lnTo>
                  <a:lnTo>
                    <a:pt x="18984" y="4477"/>
                  </a:lnTo>
                  <a:lnTo>
                    <a:pt x="14043" y="9610"/>
                  </a:lnTo>
                  <a:lnTo>
                    <a:pt x="14611" y="9879"/>
                  </a:lnTo>
                  <a:lnTo>
                    <a:pt x="20810" y="3434"/>
                  </a:lnTo>
                  <a:cubicBezTo>
                    <a:pt x="20810" y="3434"/>
                    <a:pt x="20191" y="3144"/>
                    <a:pt x="19847" y="2981"/>
                  </a:cubicBezTo>
                  <a:lnTo>
                    <a:pt x="21451" y="1313"/>
                  </a:lnTo>
                  <a:cubicBezTo>
                    <a:pt x="21451" y="1313"/>
                    <a:pt x="18683" y="0"/>
                    <a:pt x="18683" y="0"/>
                  </a:cubicBezTo>
                  <a:close/>
                  <a:moveTo>
                    <a:pt x="586" y="20489"/>
                  </a:moveTo>
                  <a:cubicBezTo>
                    <a:pt x="585" y="20448"/>
                    <a:pt x="574" y="20416"/>
                    <a:pt x="580" y="20368"/>
                  </a:cubicBezTo>
                  <a:lnTo>
                    <a:pt x="319" y="20638"/>
                  </a:lnTo>
                  <a:cubicBezTo>
                    <a:pt x="213" y="20748"/>
                    <a:pt x="-149" y="21394"/>
                    <a:pt x="68" y="21497"/>
                  </a:cubicBezTo>
                  <a:cubicBezTo>
                    <a:pt x="286" y="21600"/>
                    <a:pt x="1004" y="21123"/>
                    <a:pt x="1110" y="21013"/>
                  </a:cubicBezTo>
                  <a:lnTo>
                    <a:pt x="1371" y="20739"/>
                  </a:lnTo>
                  <a:cubicBezTo>
                    <a:pt x="1093" y="20840"/>
                    <a:pt x="868" y="20874"/>
                    <a:pt x="731" y="20810"/>
                  </a:cubicBezTo>
                  <a:cubicBezTo>
                    <a:pt x="624" y="20759"/>
                    <a:pt x="588" y="20638"/>
                    <a:pt x="586" y="2048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4" name="Shape 10451">
              <a:extLst>
                <a:ext uri="{FF2B5EF4-FFF2-40B4-BE49-F238E27FC236}">
                  <a16:creationId xmlns:a16="http://schemas.microsoft.com/office/drawing/2014/main" xmlns="" id="{91945DF3-FC8C-4379-A9EA-17AC11355076}"/>
                </a:ext>
              </a:extLst>
            </p:cNvPr>
            <p:cNvSpPr/>
            <p:nvPr/>
          </p:nvSpPr>
          <p:spPr>
            <a:xfrm>
              <a:off x="16686920" y="10342144"/>
              <a:ext cx="536497" cy="851590"/>
            </a:xfrm>
            <a:custGeom>
              <a:avLst/>
              <a:gdLst/>
              <a:ahLst/>
              <a:cxnLst>
                <a:cxn ang="0">
                  <a:pos x="wd2" y="hd2"/>
                </a:cxn>
                <a:cxn ang="5400000">
                  <a:pos x="wd2" y="hd2"/>
                </a:cxn>
                <a:cxn ang="10800000">
                  <a:pos x="wd2" y="hd2"/>
                </a:cxn>
                <a:cxn ang="16200000">
                  <a:pos x="wd2" y="hd2"/>
                </a:cxn>
              </a:cxnLst>
              <a:rect l="0" t="0" r="r" b="b"/>
              <a:pathLst>
                <a:path w="21015" h="21600" extrusionOk="0">
                  <a:moveTo>
                    <a:pt x="0" y="938"/>
                  </a:moveTo>
                  <a:lnTo>
                    <a:pt x="6284" y="11455"/>
                  </a:lnTo>
                  <a:lnTo>
                    <a:pt x="10032" y="10516"/>
                  </a:lnTo>
                  <a:lnTo>
                    <a:pt x="6771" y="5067"/>
                  </a:lnTo>
                  <a:cubicBezTo>
                    <a:pt x="7276" y="5103"/>
                    <a:pt x="7799" y="5064"/>
                    <a:pt x="8290" y="4918"/>
                  </a:cubicBezTo>
                  <a:cubicBezTo>
                    <a:pt x="9265" y="4628"/>
                    <a:pt x="9902" y="4019"/>
                    <a:pt x="10109" y="3335"/>
                  </a:cubicBezTo>
                  <a:cubicBezTo>
                    <a:pt x="10127" y="3275"/>
                    <a:pt x="10142" y="3214"/>
                    <a:pt x="10154" y="3153"/>
                  </a:cubicBezTo>
                  <a:cubicBezTo>
                    <a:pt x="11859" y="3250"/>
                    <a:pt x="13418" y="3571"/>
                    <a:pt x="14738" y="4133"/>
                  </a:cubicBezTo>
                  <a:cubicBezTo>
                    <a:pt x="16916" y="5061"/>
                    <a:pt x="18325" y="6560"/>
                    <a:pt x="18814" y="8470"/>
                  </a:cubicBezTo>
                  <a:cubicBezTo>
                    <a:pt x="19575" y="11446"/>
                    <a:pt x="17428" y="14404"/>
                    <a:pt x="13562" y="15911"/>
                  </a:cubicBezTo>
                  <a:lnTo>
                    <a:pt x="12515" y="14314"/>
                  </a:lnTo>
                  <a:lnTo>
                    <a:pt x="15137" y="13594"/>
                  </a:lnTo>
                  <a:lnTo>
                    <a:pt x="14615" y="12797"/>
                  </a:lnTo>
                  <a:lnTo>
                    <a:pt x="5054" y="15424"/>
                  </a:lnTo>
                  <a:lnTo>
                    <a:pt x="5577" y="16221"/>
                  </a:lnTo>
                  <a:lnTo>
                    <a:pt x="8203" y="15499"/>
                  </a:lnTo>
                  <a:lnTo>
                    <a:pt x="9904" y="18094"/>
                  </a:lnTo>
                  <a:lnTo>
                    <a:pt x="4408" y="19605"/>
                  </a:lnTo>
                  <a:lnTo>
                    <a:pt x="5716" y="21600"/>
                  </a:lnTo>
                  <a:lnTo>
                    <a:pt x="21015" y="17395"/>
                  </a:lnTo>
                  <a:lnTo>
                    <a:pt x="19707" y="15399"/>
                  </a:lnTo>
                  <a:lnTo>
                    <a:pt x="15876" y="16453"/>
                  </a:lnTo>
                  <a:cubicBezTo>
                    <a:pt x="19603" y="14559"/>
                    <a:pt x="21600" y="11416"/>
                    <a:pt x="20792" y="8258"/>
                  </a:cubicBezTo>
                  <a:cubicBezTo>
                    <a:pt x="20210" y="5981"/>
                    <a:pt x="18497" y="4180"/>
                    <a:pt x="15839" y="3048"/>
                  </a:cubicBezTo>
                  <a:cubicBezTo>
                    <a:pt x="14076" y="2297"/>
                    <a:pt x="11998" y="1893"/>
                    <a:pt x="9725" y="1829"/>
                  </a:cubicBezTo>
                  <a:cubicBezTo>
                    <a:pt x="8880" y="999"/>
                    <a:pt x="7217" y="649"/>
                    <a:pt x="5755" y="1051"/>
                  </a:cubicBezTo>
                  <a:cubicBezTo>
                    <a:pt x="5329" y="1168"/>
                    <a:pt x="4967" y="1337"/>
                    <a:pt x="4668" y="1543"/>
                  </a:cubicBezTo>
                  <a:lnTo>
                    <a:pt x="3742" y="0"/>
                  </a:lnTo>
                  <a:lnTo>
                    <a:pt x="0" y="938"/>
                  </a:lnTo>
                  <a:close/>
                  <a:moveTo>
                    <a:pt x="6539" y="2246"/>
                  </a:moveTo>
                  <a:cubicBezTo>
                    <a:pt x="7096" y="2088"/>
                    <a:pt x="7748" y="2205"/>
                    <a:pt x="8082" y="2533"/>
                  </a:cubicBezTo>
                  <a:cubicBezTo>
                    <a:pt x="8426" y="2872"/>
                    <a:pt x="8318" y="3324"/>
                    <a:pt x="7835" y="3581"/>
                  </a:cubicBezTo>
                  <a:cubicBezTo>
                    <a:pt x="7738" y="3636"/>
                    <a:pt x="7630" y="3685"/>
                    <a:pt x="7504" y="3719"/>
                  </a:cubicBezTo>
                  <a:cubicBezTo>
                    <a:pt x="6877" y="3892"/>
                    <a:pt x="6149" y="3701"/>
                    <a:pt x="5884" y="3295"/>
                  </a:cubicBezTo>
                  <a:cubicBezTo>
                    <a:pt x="5620" y="2890"/>
                    <a:pt x="5916" y="2423"/>
                    <a:pt x="6539" y="2246"/>
                  </a:cubicBezTo>
                  <a:close/>
                </a:path>
              </a:pathLst>
            </a:custGeom>
            <a:solidFill>
              <a:schemeClr val="accent3"/>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5" name="Shape 10452">
              <a:extLst>
                <a:ext uri="{FF2B5EF4-FFF2-40B4-BE49-F238E27FC236}">
                  <a16:creationId xmlns:a16="http://schemas.microsoft.com/office/drawing/2014/main" xmlns="" id="{36060581-A2E5-423E-A34E-4BF8DACFFAF2}"/>
                </a:ext>
              </a:extLst>
            </p:cNvPr>
            <p:cNvSpPr/>
            <p:nvPr/>
          </p:nvSpPr>
          <p:spPr>
            <a:xfrm>
              <a:off x="16291801" y="10573209"/>
              <a:ext cx="326230" cy="303671"/>
            </a:xfrm>
            <a:custGeom>
              <a:avLst/>
              <a:gdLst/>
              <a:ahLst/>
              <a:cxnLst>
                <a:cxn ang="0">
                  <a:pos x="wd2" y="hd2"/>
                </a:cxn>
                <a:cxn ang="5400000">
                  <a:pos x="wd2" y="hd2"/>
                </a:cxn>
                <a:cxn ang="10800000">
                  <a:pos x="wd2" y="hd2"/>
                </a:cxn>
                <a:cxn ang="16200000">
                  <a:pos x="wd2" y="hd2"/>
                </a:cxn>
              </a:cxnLst>
              <a:rect l="0" t="0" r="r" b="b"/>
              <a:pathLst>
                <a:path w="21184" h="21600" extrusionOk="0">
                  <a:moveTo>
                    <a:pt x="0" y="3459"/>
                  </a:moveTo>
                  <a:lnTo>
                    <a:pt x="1422" y="10208"/>
                  </a:lnTo>
                  <a:cubicBezTo>
                    <a:pt x="1422" y="10208"/>
                    <a:pt x="2469" y="10982"/>
                    <a:pt x="3219" y="10113"/>
                  </a:cubicBezTo>
                  <a:cubicBezTo>
                    <a:pt x="4049" y="9149"/>
                    <a:pt x="6494" y="8518"/>
                    <a:pt x="6992" y="11134"/>
                  </a:cubicBezTo>
                  <a:cubicBezTo>
                    <a:pt x="7491" y="13750"/>
                    <a:pt x="5522" y="14362"/>
                    <a:pt x="4296" y="14027"/>
                  </a:cubicBezTo>
                  <a:cubicBezTo>
                    <a:pt x="3187" y="13725"/>
                    <a:pt x="2357" y="14641"/>
                    <a:pt x="2357" y="14641"/>
                  </a:cubicBezTo>
                  <a:lnTo>
                    <a:pt x="3823" y="21600"/>
                  </a:lnTo>
                  <a:lnTo>
                    <a:pt x="9313" y="20212"/>
                  </a:lnTo>
                  <a:cubicBezTo>
                    <a:pt x="9313" y="20212"/>
                    <a:pt x="9635" y="19276"/>
                    <a:pt x="8958" y="18523"/>
                  </a:cubicBezTo>
                  <a:cubicBezTo>
                    <a:pt x="8134" y="17611"/>
                    <a:pt x="7558" y="15210"/>
                    <a:pt x="10150" y="14555"/>
                  </a:cubicBezTo>
                  <a:cubicBezTo>
                    <a:pt x="12743" y="13899"/>
                    <a:pt x="13216" y="16255"/>
                    <a:pt x="12736" y="17679"/>
                  </a:cubicBezTo>
                  <a:cubicBezTo>
                    <a:pt x="12378" y="18747"/>
                    <a:pt x="13070" y="19262"/>
                    <a:pt x="13070" y="19262"/>
                  </a:cubicBezTo>
                  <a:lnTo>
                    <a:pt x="17693" y="18092"/>
                  </a:lnTo>
                  <a:cubicBezTo>
                    <a:pt x="17693" y="18092"/>
                    <a:pt x="16501" y="13146"/>
                    <a:pt x="16426" y="11786"/>
                  </a:cubicBezTo>
                  <a:cubicBezTo>
                    <a:pt x="16346" y="10328"/>
                    <a:pt x="18026" y="10919"/>
                    <a:pt x="18332" y="11000"/>
                  </a:cubicBezTo>
                  <a:cubicBezTo>
                    <a:pt x="20097" y="11473"/>
                    <a:pt x="21600" y="10153"/>
                    <a:pt x="21079" y="7680"/>
                  </a:cubicBezTo>
                  <a:cubicBezTo>
                    <a:pt x="20558" y="5208"/>
                    <a:pt x="18027" y="5192"/>
                    <a:pt x="17063" y="6452"/>
                  </a:cubicBezTo>
                  <a:cubicBezTo>
                    <a:pt x="16347" y="7388"/>
                    <a:pt x="15661" y="7684"/>
                    <a:pt x="15383" y="7029"/>
                  </a:cubicBezTo>
                  <a:cubicBezTo>
                    <a:pt x="14735" y="5498"/>
                    <a:pt x="13677" y="0"/>
                    <a:pt x="13677" y="0"/>
                  </a:cubicBezTo>
                  <a:lnTo>
                    <a:pt x="9343" y="1096"/>
                  </a:lnTo>
                  <a:cubicBezTo>
                    <a:pt x="9343" y="1096"/>
                    <a:pt x="8732" y="2392"/>
                    <a:pt x="9572" y="3149"/>
                  </a:cubicBezTo>
                  <a:cubicBezTo>
                    <a:pt x="10838" y="4289"/>
                    <a:pt x="10727" y="6525"/>
                    <a:pt x="8669" y="7045"/>
                  </a:cubicBezTo>
                  <a:cubicBezTo>
                    <a:pt x="6612" y="7566"/>
                    <a:pt x="5599" y="5828"/>
                    <a:pt x="6228" y="4123"/>
                  </a:cubicBezTo>
                  <a:cubicBezTo>
                    <a:pt x="6581" y="3168"/>
                    <a:pt x="5664" y="2036"/>
                    <a:pt x="5664" y="2036"/>
                  </a:cubicBezTo>
                  <a:cubicBezTo>
                    <a:pt x="5664" y="2036"/>
                    <a:pt x="0" y="3459"/>
                    <a:pt x="0" y="3459"/>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6" name="Shape 10453">
              <a:extLst>
                <a:ext uri="{FF2B5EF4-FFF2-40B4-BE49-F238E27FC236}">
                  <a16:creationId xmlns:a16="http://schemas.microsoft.com/office/drawing/2014/main" xmlns="" id="{019378FE-767D-424C-9626-74451387F0F1}"/>
                </a:ext>
              </a:extLst>
            </p:cNvPr>
            <p:cNvSpPr/>
            <p:nvPr/>
          </p:nvSpPr>
          <p:spPr>
            <a:xfrm>
              <a:off x="16950890" y="11189795"/>
              <a:ext cx="310646" cy="332440"/>
            </a:xfrm>
            <a:custGeom>
              <a:avLst/>
              <a:gdLst/>
              <a:ahLst/>
              <a:cxnLst>
                <a:cxn ang="0">
                  <a:pos x="wd2" y="hd2"/>
                </a:cxn>
                <a:cxn ang="5400000">
                  <a:pos x="wd2" y="hd2"/>
                </a:cxn>
                <a:cxn ang="10800000">
                  <a:pos x="wd2" y="hd2"/>
                </a:cxn>
                <a:cxn ang="16200000">
                  <a:pos x="wd2" y="hd2"/>
                </a:cxn>
              </a:cxnLst>
              <a:rect l="0" t="0" r="r" b="b"/>
              <a:pathLst>
                <a:path w="19372" h="21028" extrusionOk="0">
                  <a:moveTo>
                    <a:pt x="11134" y="0"/>
                  </a:moveTo>
                  <a:cubicBezTo>
                    <a:pt x="10473" y="291"/>
                    <a:pt x="9829" y="670"/>
                    <a:pt x="9218" y="1133"/>
                  </a:cubicBezTo>
                  <a:cubicBezTo>
                    <a:pt x="8205" y="1900"/>
                    <a:pt x="7241" y="3000"/>
                    <a:pt x="7232" y="4263"/>
                  </a:cubicBezTo>
                  <a:cubicBezTo>
                    <a:pt x="7232" y="4376"/>
                    <a:pt x="7251" y="4474"/>
                    <a:pt x="7265" y="4578"/>
                  </a:cubicBezTo>
                  <a:lnTo>
                    <a:pt x="5151" y="2019"/>
                  </a:lnTo>
                  <a:cubicBezTo>
                    <a:pt x="5136" y="2030"/>
                    <a:pt x="5118" y="2041"/>
                    <a:pt x="5102" y="2053"/>
                  </a:cubicBezTo>
                  <a:cubicBezTo>
                    <a:pt x="5027" y="2106"/>
                    <a:pt x="4955" y="2159"/>
                    <a:pt x="4880" y="2213"/>
                  </a:cubicBezTo>
                  <a:lnTo>
                    <a:pt x="7423" y="5900"/>
                  </a:lnTo>
                  <a:cubicBezTo>
                    <a:pt x="4977" y="5414"/>
                    <a:pt x="2486" y="6475"/>
                    <a:pt x="1082" y="8857"/>
                  </a:cubicBezTo>
                  <a:cubicBezTo>
                    <a:pt x="-1074" y="12513"/>
                    <a:pt x="95" y="17729"/>
                    <a:pt x="3688" y="19976"/>
                  </a:cubicBezTo>
                  <a:cubicBezTo>
                    <a:pt x="6286" y="21600"/>
                    <a:pt x="9522" y="21245"/>
                    <a:pt x="12057" y="19586"/>
                  </a:cubicBezTo>
                  <a:cubicBezTo>
                    <a:pt x="14335" y="19918"/>
                    <a:pt x="16643" y="19169"/>
                    <a:pt x="18072" y="17172"/>
                  </a:cubicBezTo>
                  <a:cubicBezTo>
                    <a:pt x="20526" y="13741"/>
                    <a:pt x="19342" y="8581"/>
                    <a:pt x="15911" y="5901"/>
                  </a:cubicBezTo>
                  <a:cubicBezTo>
                    <a:pt x="14980" y="5173"/>
                    <a:pt x="13948" y="4703"/>
                    <a:pt x="12864" y="4562"/>
                  </a:cubicBezTo>
                  <a:cubicBezTo>
                    <a:pt x="12076" y="4459"/>
                    <a:pt x="11291" y="4541"/>
                    <a:pt x="10539" y="4763"/>
                  </a:cubicBezTo>
                  <a:cubicBezTo>
                    <a:pt x="10955" y="4092"/>
                    <a:pt x="11179" y="3259"/>
                    <a:pt x="11250" y="2443"/>
                  </a:cubicBezTo>
                  <a:cubicBezTo>
                    <a:pt x="11324" y="1599"/>
                    <a:pt x="11285" y="776"/>
                    <a:pt x="11134" y="0"/>
                  </a:cubicBez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17" name="Shape 10454">
              <a:extLst>
                <a:ext uri="{FF2B5EF4-FFF2-40B4-BE49-F238E27FC236}">
                  <a16:creationId xmlns:a16="http://schemas.microsoft.com/office/drawing/2014/main" xmlns="" id="{4B33DC0A-198F-42A7-A319-68CAF8E93F4F}"/>
                </a:ext>
              </a:extLst>
            </p:cNvPr>
            <p:cNvSpPr/>
            <p:nvPr/>
          </p:nvSpPr>
          <p:spPr>
            <a:xfrm>
              <a:off x="18327410" y="11333169"/>
              <a:ext cx="410124" cy="290705"/>
            </a:xfrm>
            <a:custGeom>
              <a:avLst/>
              <a:gdLst/>
              <a:ahLst/>
              <a:cxnLst>
                <a:cxn ang="0">
                  <a:pos x="wd2" y="hd2"/>
                </a:cxn>
                <a:cxn ang="5400000">
                  <a:pos x="wd2" y="hd2"/>
                </a:cxn>
                <a:cxn ang="10800000">
                  <a:pos x="wd2" y="hd2"/>
                </a:cxn>
                <a:cxn ang="16200000">
                  <a:pos x="wd2" y="hd2"/>
                </a:cxn>
              </a:cxnLst>
              <a:rect l="0" t="0" r="r" b="b"/>
              <a:pathLst>
                <a:path w="21600" h="21600" extrusionOk="0">
                  <a:moveTo>
                    <a:pt x="7954" y="0"/>
                  </a:moveTo>
                  <a:lnTo>
                    <a:pt x="149" y="12597"/>
                  </a:lnTo>
                  <a:lnTo>
                    <a:pt x="0" y="12646"/>
                  </a:lnTo>
                  <a:lnTo>
                    <a:pt x="0" y="19074"/>
                  </a:lnTo>
                  <a:lnTo>
                    <a:pt x="9044" y="19042"/>
                  </a:lnTo>
                  <a:lnTo>
                    <a:pt x="9044" y="21600"/>
                  </a:lnTo>
                  <a:lnTo>
                    <a:pt x="10685" y="20823"/>
                  </a:lnTo>
                  <a:lnTo>
                    <a:pt x="12315" y="21600"/>
                  </a:lnTo>
                  <a:lnTo>
                    <a:pt x="12315" y="19042"/>
                  </a:lnTo>
                  <a:lnTo>
                    <a:pt x="15483" y="19025"/>
                  </a:lnTo>
                  <a:lnTo>
                    <a:pt x="15827" y="19025"/>
                  </a:lnTo>
                  <a:lnTo>
                    <a:pt x="21600" y="7043"/>
                  </a:lnTo>
                  <a:lnTo>
                    <a:pt x="21589" y="16"/>
                  </a:lnTo>
                  <a:cubicBezTo>
                    <a:pt x="21589" y="16"/>
                    <a:pt x="21589" y="0"/>
                    <a:pt x="21589" y="0"/>
                  </a:cubicBezTo>
                  <a:lnTo>
                    <a:pt x="7954" y="0"/>
                  </a:lnTo>
                  <a:close/>
                  <a:moveTo>
                    <a:pt x="20716" y="1813"/>
                  </a:moveTo>
                  <a:cubicBezTo>
                    <a:pt x="20717" y="2327"/>
                    <a:pt x="20716" y="2838"/>
                    <a:pt x="20716" y="3352"/>
                  </a:cubicBezTo>
                  <a:cubicBezTo>
                    <a:pt x="20718" y="4465"/>
                    <a:pt x="20715" y="5574"/>
                    <a:pt x="20716" y="6687"/>
                  </a:cubicBezTo>
                  <a:lnTo>
                    <a:pt x="15333" y="17779"/>
                  </a:lnTo>
                  <a:lnTo>
                    <a:pt x="12315" y="17795"/>
                  </a:lnTo>
                  <a:lnTo>
                    <a:pt x="12315" y="15220"/>
                  </a:lnTo>
                  <a:cubicBezTo>
                    <a:pt x="12315" y="15220"/>
                    <a:pt x="9044" y="15220"/>
                    <a:pt x="9044" y="15220"/>
                  </a:cubicBezTo>
                  <a:lnTo>
                    <a:pt x="9044" y="17811"/>
                  </a:lnTo>
                  <a:lnTo>
                    <a:pt x="872" y="17843"/>
                  </a:lnTo>
                  <a:lnTo>
                    <a:pt x="872" y="12646"/>
                  </a:lnTo>
                  <a:lnTo>
                    <a:pt x="15448" y="12646"/>
                  </a:lnTo>
                  <a:cubicBezTo>
                    <a:pt x="15448" y="12646"/>
                    <a:pt x="19422" y="4474"/>
                    <a:pt x="20716" y="181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8" name="Shape 10455">
              <a:extLst>
                <a:ext uri="{FF2B5EF4-FFF2-40B4-BE49-F238E27FC236}">
                  <a16:creationId xmlns:a16="http://schemas.microsoft.com/office/drawing/2014/main" xmlns="" id="{2700C23C-525A-4F99-8539-909A80C7B54C}"/>
                </a:ext>
              </a:extLst>
            </p:cNvPr>
            <p:cNvSpPr/>
            <p:nvPr/>
          </p:nvSpPr>
          <p:spPr>
            <a:xfrm>
              <a:off x="15200800" y="9711571"/>
              <a:ext cx="534280" cy="414613"/>
            </a:xfrm>
            <a:custGeom>
              <a:avLst/>
              <a:gdLst/>
              <a:ahLst/>
              <a:cxnLst>
                <a:cxn ang="0">
                  <a:pos x="wd2" y="hd2"/>
                </a:cxn>
                <a:cxn ang="5400000">
                  <a:pos x="wd2" y="hd2"/>
                </a:cxn>
                <a:cxn ang="10800000">
                  <a:pos x="wd2" y="hd2"/>
                </a:cxn>
                <a:cxn ang="16200000">
                  <a:pos x="wd2" y="hd2"/>
                </a:cxn>
              </a:cxnLst>
              <a:rect l="0" t="0" r="r" b="b"/>
              <a:pathLst>
                <a:path w="21504" h="21459" extrusionOk="0">
                  <a:moveTo>
                    <a:pt x="20046" y="0"/>
                  </a:moveTo>
                  <a:lnTo>
                    <a:pt x="18382" y="1612"/>
                  </a:lnTo>
                  <a:cubicBezTo>
                    <a:pt x="18349" y="1555"/>
                    <a:pt x="18183" y="1271"/>
                    <a:pt x="18183" y="1271"/>
                  </a:cubicBezTo>
                  <a:lnTo>
                    <a:pt x="16876" y="2541"/>
                  </a:lnTo>
                  <a:lnTo>
                    <a:pt x="17075" y="2882"/>
                  </a:lnTo>
                  <a:lnTo>
                    <a:pt x="16682" y="3264"/>
                  </a:lnTo>
                  <a:lnTo>
                    <a:pt x="3502" y="16032"/>
                  </a:lnTo>
                  <a:cubicBezTo>
                    <a:pt x="3033" y="16486"/>
                    <a:pt x="956" y="19168"/>
                    <a:pt x="714" y="20293"/>
                  </a:cubicBezTo>
                  <a:cubicBezTo>
                    <a:pt x="679" y="20454"/>
                    <a:pt x="682" y="20584"/>
                    <a:pt x="733" y="20670"/>
                  </a:cubicBezTo>
                  <a:cubicBezTo>
                    <a:pt x="1136" y="21359"/>
                    <a:pt x="4430" y="19041"/>
                    <a:pt x="4965" y="18523"/>
                  </a:cubicBezTo>
                  <a:lnTo>
                    <a:pt x="18142" y="5753"/>
                  </a:lnTo>
                  <a:lnTo>
                    <a:pt x="18535" y="5371"/>
                  </a:lnTo>
                  <a:lnTo>
                    <a:pt x="18743" y="5727"/>
                  </a:lnTo>
                  <a:lnTo>
                    <a:pt x="13621" y="10688"/>
                  </a:lnTo>
                  <a:lnTo>
                    <a:pt x="13920" y="11200"/>
                  </a:lnTo>
                  <a:lnTo>
                    <a:pt x="20349" y="4970"/>
                  </a:lnTo>
                  <a:cubicBezTo>
                    <a:pt x="20349" y="4970"/>
                    <a:pt x="20022" y="4416"/>
                    <a:pt x="19840" y="4106"/>
                  </a:cubicBezTo>
                  <a:lnTo>
                    <a:pt x="21504" y="2494"/>
                  </a:lnTo>
                  <a:cubicBezTo>
                    <a:pt x="21504" y="2494"/>
                    <a:pt x="20046" y="0"/>
                    <a:pt x="20046" y="0"/>
                  </a:cubicBezTo>
                  <a:close/>
                  <a:moveTo>
                    <a:pt x="714" y="20293"/>
                  </a:moveTo>
                  <a:cubicBezTo>
                    <a:pt x="727" y="20240"/>
                    <a:pt x="731" y="20197"/>
                    <a:pt x="751" y="20139"/>
                  </a:cubicBezTo>
                  <a:lnTo>
                    <a:pt x="480" y="20398"/>
                  </a:lnTo>
                  <a:cubicBezTo>
                    <a:pt x="370" y="20505"/>
                    <a:pt x="-96" y="21209"/>
                    <a:pt x="18" y="21404"/>
                  </a:cubicBezTo>
                  <a:cubicBezTo>
                    <a:pt x="133" y="21600"/>
                    <a:pt x="787" y="21217"/>
                    <a:pt x="897" y="21111"/>
                  </a:cubicBezTo>
                  <a:lnTo>
                    <a:pt x="1169" y="20846"/>
                  </a:lnTo>
                  <a:cubicBezTo>
                    <a:pt x="944" y="20888"/>
                    <a:pt x="778" y="20864"/>
                    <a:pt x="705" y="20740"/>
                  </a:cubicBezTo>
                  <a:cubicBezTo>
                    <a:pt x="649" y="20644"/>
                    <a:pt x="665" y="20481"/>
                    <a:pt x="714" y="20293"/>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sp>
          <p:nvSpPr>
            <p:cNvPr id="119" name="Shape 10456">
              <a:extLst>
                <a:ext uri="{FF2B5EF4-FFF2-40B4-BE49-F238E27FC236}">
                  <a16:creationId xmlns:a16="http://schemas.microsoft.com/office/drawing/2014/main" xmlns="" id="{26913B61-412F-4447-A646-13E9FFB3912A}"/>
                </a:ext>
              </a:extLst>
            </p:cNvPr>
            <p:cNvSpPr/>
            <p:nvPr/>
          </p:nvSpPr>
          <p:spPr>
            <a:xfrm>
              <a:off x="15431053" y="9155014"/>
              <a:ext cx="444362" cy="290705"/>
            </a:xfrm>
            <a:custGeom>
              <a:avLst/>
              <a:gdLst/>
              <a:ahLst/>
              <a:cxnLst>
                <a:cxn ang="0">
                  <a:pos x="wd2" y="hd2"/>
                </a:cxn>
                <a:cxn ang="5400000">
                  <a:pos x="wd2" y="hd2"/>
                </a:cxn>
                <a:cxn ang="10800000">
                  <a:pos x="wd2" y="hd2"/>
                </a:cxn>
                <a:cxn ang="16200000">
                  <a:pos x="wd2" y="hd2"/>
                </a:cxn>
              </a:cxnLst>
              <a:rect l="0" t="0" r="r" b="b"/>
              <a:pathLst>
                <a:path w="21600" h="21600" extrusionOk="0">
                  <a:moveTo>
                    <a:pt x="18900" y="15429"/>
                  </a:moveTo>
                  <a:lnTo>
                    <a:pt x="2700" y="15429"/>
                  </a:lnTo>
                  <a:lnTo>
                    <a:pt x="2700" y="2057"/>
                  </a:lnTo>
                  <a:lnTo>
                    <a:pt x="18900" y="2057"/>
                  </a:lnTo>
                  <a:cubicBezTo>
                    <a:pt x="18900" y="2057"/>
                    <a:pt x="18900" y="15429"/>
                    <a:pt x="18900" y="15429"/>
                  </a:cubicBezTo>
                  <a:close/>
                  <a:moveTo>
                    <a:pt x="18900" y="0"/>
                  </a:moveTo>
                  <a:lnTo>
                    <a:pt x="2700" y="0"/>
                  </a:lnTo>
                  <a:cubicBezTo>
                    <a:pt x="1954" y="0"/>
                    <a:pt x="1350" y="922"/>
                    <a:pt x="1350" y="2057"/>
                  </a:cubicBezTo>
                  <a:cubicBezTo>
                    <a:pt x="1350" y="2057"/>
                    <a:pt x="1350" y="17486"/>
                    <a:pt x="1364" y="17486"/>
                  </a:cubicBezTo>
                  <a:lnTo>
                    <a:pt x="20235" y="17486"/>
                  </a:lnTo>
                  <a:cubicBezTo>
                    <a:pt x="20250" y="17486"/>
                    <a:pt x="20250" y="2057"/>
                    <a:pt x="20250" y="2057"/>
                  </a:cubicBezTo>
                  <a:cubicBezTo>
                    <a:pt x="20250" y="922"/>
                    <a:pt x="19646" y="0"/>
                    <a:pt x="18900" y="0"/>
                  </a:cubicBezTo>
                  <a:close/>
                  <a:moveTo>
                    <a:pt x="20250" y="21600"/>
                  </a:moveTo>
                  <a:lnTo>
                    <a:pt x="1350" y="21600"/>
                  </a:lnTo>
                  <a:cubicBezTo>
                    <a:pt x="604" y="21600"/>
                    <a:pt x="0" y="20679"/>
                    <a:pt x="0" y="19543"/>
                  </a:cubicBezTo>
                  <a:lnTo>
                    <a:pt x="0" y="18514"/>
                  </a:lnTo>
                  <a:lnTo>
                    <a:pt x="8775" y="18514"/>
                  </a:lnTo>
                  <a:lnTo>
                    <a:pt x="8775" y="19543"/>
                  </a:lnTo>
                  <a:lnTo>
                    <a:pt x="12825" y="19543"/>
                  </a:lnTo>
                  <a:lnTo>
                    <a:pt x="12825" y="18514"/>
                  </a:lnTo>
                  <a:lnTo>
                    <a:pt x="21600" y="18514"/>
                  </a:lnTo>
                  <a:lnTo>
                    <a:pt x="21600" y="19543"/>
                  </a:lnTo>
                  <a:cubicBezTo>
                    <a:pt x="21600" y="20679"/>
                    <a:pt x="20995" y="21600"/>
                    <a:pt x="20250" y="21600"/>
                  </a:cubicBezTo>
                  <a:cubicBezTo>
                    <a:pt x="20250" y="21600"/>
                    <a:pt x="20250" y="21600"/>
                    <a:pt x="20250" y="21600"/>
                  </a:cubicBezTo>
                  <a:close/>
                </a:path>
              </a:pathLst>
            </a:custGeom>
            <a:solidFill>
              <a:schemeClr val="bg1">
                <a:lumMod val="85000"/>
              </a:schemeClr>
            </a:solidFill>
            <a:ln w="12700" cap="flat">
              <a:noFill/>
              <a:miter lim="400000"/>
            </a:ln>
            <a:effectLst/>
          </p:spPr>
          <p:txBody>
            <a:bodyPr wrap="square" lIns="0" tIns="0" rIns="0" bIns="0" numCol="1" anchor="ctr">
              <a:noAutofit/>
            </a:bodyPr>
            <a:lstStyle/>
            <a:p>
              <a:endParaRPr lang="en-GB" sz="1899" dirty="0">
                <a:latin typeface="Lato Light" panose="020F0502020204030203" pitchFamily="34" charset="0"/>
              </a:endParaRPr>
            </a:p>
          </p:txBody>
        </p:sp>
      </p:grpSp>
    </p:spTree>
    <p:extLst>
      <p:ext uri="{BB962C8B-B14F-4D97-AF65-F5344CB8AC3E}">
        <p14:creationId xmlns:p14="http://schemas.microsoft.com/office/powerpoint/2010/main" val="24458066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669812" y="426898"/>
            <a:ext cx="8852375" cy="697353"/>
          </a:xfrm>
        </p:spPr>
        <p:txBody>
          <a:bodyPr>
            <a:normAutofit/>
          </a:bodyPr>
          <a:lstStyle/>
          <a:p>
            <a:r>
              <a:rPr lang="en-GB" dirty="0"/>
              <a:t>Motivation in Crisis: The Role of Controlling</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82834" y="1854279"/>
            <a:ext cx="3344821" cy="579586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The human being is a visual being.  Language and images are not congruent - we "draw" different images into one term. The problems in matching images are in communication - i.e. we have to match our images (through communication!) to get a consistent image</a:t>
            </a:r>
          </a:p>
          <a:p>
            <a:pPr algn="l">
              <a:lnSpc>
                <a:spcPct val="100000"/>
              </a:lnSpc>
              <a:spcBef>
                <a:spcPts val="600"/>
              </a:spcBef>
            </a:pPr>
            <a:r>
              <a:rPr lang="en-GB" altLang="de-DE" sz="2200" dirty="0">
                <a:solidFill>
                  <a:srgbClr val="245473"/>
                </a:solidFill>
                <a:latin typeface="+mj-lt"/>
              </a:rPr>
              <a:t>Image and values are closely related and form a decisive basis for corporate culture</a:t>
            </a:r>
          </a:p>
          <a:p>
            <a:pPr algn="l">
              <a:lnSpc>
                <a:spcPts val="1500"/>
              </a:lnSpc>
              <a:spcBef>
                <a:spcPts val="600"/>
              </a:spcBef>
            </a:pPr>
            <a:endParaRPr lang="en-GB" altLang="de-DE" sz="2200" dirty="0">
              <a:latin typeface="+mj-lt"/>
            </a:endParaRPr>
          </a:p>
          <a:p>
            <a:pPr algn="l">
              <a:lnSpc>
                <a:spcPts val="1500"/>
              </a:lnSpc>
              <a:spcBef>
                <a:spcPts val="600"/>
              </a:spcBef>
            </a:pPr>
            <a:endParaRPr lang="en-GB" sz="2000" dirty="0">
              <a:latin typeface="+mj-lt"/>
              <a:sym typeface="Wingdings" panose="05000000000000000000" pitchFamily="2" charset="2"/>
            </a:endParaRPr>
          </a:p>
        </p:txBody>
      </p:sp>
      <p:cxnSp>
        <p:nvCxnSpPr>
          <p:cNvPr id="39" name="Gerade Verbindung mit Pfeil 38">
            <a:extLst>
              <a:ext uri="{FF2B5EF4-FFF2-40B4-BE49-F238E27FC236}">
                <a16:creationId xmlns:a16="http://schemas.microsoft.com/office/drawing/2014/main" xmlns="" id="{23D71616-296A-4C54-86F9-18357615BB8B}"/>
              </a:ext>
            </a:extLst>
          </p:cNvPr>
          <p:cNvCxnSpPr>
            <a:cxnSpLocks/>
          </p:cNvCxnSpPr>
          <p:nvPr/>
        </p:nvCxnSpPr>
        <p:spPr>
          <a:xfrm flipV="1">
            <a:off x="3773103" y="2098307"/>
            <a:ext cx="0" cy="3627002"/>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a:extLst>
              <a:ext uri="{FF2B5EF4-FFF2-40B4-BE49-F238E27FC236}">
                <a16:creationId xmlns:a16="http://schemas.microsoft.com/office/drawing/2014/main" xmlns="" id="{B47F72BC-012F-4057-BEF3-EABE5035DDE3}"/>
              </a:ext>
            </a:extLst>
          </p:cNvPr>
          <p:cNvCxnSpPr>
            <a:cxnSpLocks/>
          </p:cNvCxnSpPr>
          <p:nvPr/>
        </p:nvCxnSpPr>
        <p:spPr>
          <a:xfrm>
            <a:off x="3773103" y="5706059"/>
            <a:ext cx="7122695" cy="0"/>
          </a:xfrm>
          <a:prstGeom prst="straightConnector1">
            <a:avLst/>
          </a:prstGeom>
          <a:ln w="34925">
            <a:tailEnd type="triangle"/>
          </a:ln>
        </p:spPr>
        <p:style>
          <a:lnRef idx="1">
            <a:schemeClr val="accent1"/>
          </a:lnRef>
          <a:fillRef idx="0">
            <a:schemeClr val="accent1"/>
          </a:fillRef>
          <a:effectRef idx="0">
            <a:schemeClr val="accent1"/>
          </a:effectRef>
          <a:fontRef idx="minor">
            <a:schemeClr val="tx1"/>
          </a:fontRef>
        </p:style>
      </p:cxnSp>
      <p:sp>
        <p:nvSpPr>
          <p:cNvPr id="41" name="Subtitle 2">
            <a:extLst>
              <a:ext uri="{FF2B5EF4-FFF2-40B4-BE49-F238E27FC236}">
                <a16:creationId xmlns:a16="http://schemas.microsoft.com/office/drawing/2014/main" xmlns="" id="{F1A79FB0-F966-4368-8CFA-2C6934D2E531}"/>
              </a:ext>
            </a:extLst>
          </p:cNvPr>
          <p:cNvSpPr txBox="1">
            <a:spLocks/>
          </p:cNvSpPr>
          <p:nvPr/>
        </p:nvSpPr>
        <p:spPr>
          <a:xfrm>
            <a:off x="7808822" y="5706059"/>
            <a:ext cx="2839455" cy="34241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2000" b="1" dirty="0">
                <a:latin typeface="+mj-lt"/>
                <a:ea typeface="Lato Light" panose="020F0502020204030203" pitchFamily="34" charset="0"/>
                <a:cs typeface="Mukta ExtraLight" panose="020B0000000000000000" pitchFamily="34" charset="77"/>
              </a:rPr>
              <a:t>Time</a:t>
            </a:r>
            <a:endParaRPr lang="en-GB" sz="1600" b="1" dirty="0">
              <a:latin typeface="+mj-lt"/>
              <a:ea typeface="Lato Light" panose="020F0502020204030203" pitchFamily="34" charset="0"/>
              <a:cs typeface="Mukta ExtraLight" panose="020B0000000000000000" pitchFamily="34" charset="77"/>
            </a:endParaRPr>
          </a:p>
        </p:txBody>
      </p:sp>
      <p:sp>
        <p:nvSpPr>
          <p:cNvPr id="42" name="Subtitle 2">
            <a:extLst>
              <a:ext uri="{FF2B5EF4-FFF2-40B4-BE49-F238E27FC236}">
                <a16:creationId xmlns:a16="http://schemas.microsoft.com/office/drawing/2014/main" xmlns="" id="{2DFDA697-9BA4-4665-AC66-B7D5DC53A564}"/>
              </a:ext>
            </a:extLst>
          </p:cNvPr>
          <p:cNvSpPr txBox="1">
            <a:spLocks/>
          </p:cNvSpPr>
          <p:nvPr/>
        </p:nvSpPr>
        <p:spPr>
          <a:xfrm rot="16200000">
            <a:off x="3097278" y="2722396"/>
            <a:ext cx="1070797" cy="34241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2000" b="1" dirty="0">
                <a:latin typeface="+mj-lt"/>
                <a:ea typeface="Lato Light" panose="020F0502020204030203" pitchFamily="34" charset="0"/>
                <a:cs typeface="Mukta ExtraLight" panose="020B0000000000000000" pitchFamily="34" charset="77"/>
              </a:rPr>
              <a:t>Result</a:t>
            </a:r>
            <a:endParaRPr lang="en-GB" sz="1600" b="1" dirty="0">
              <a:latin typeface="+mj-lt"/>
              <a:ea typeface="Lato Light" panose="020F0502020204030203" pitchFamily="34" charset="0"/>
              <a:cs typeface="Mukta ExtraLight" panose="020B0000000000000000" pitchFamily="34" charset="77"/>
            </a:endParaRPr>
          </a:p>
        </p:txBody>
      </p:sp>
      <p:cxnSp>
        <p:nvCxnSpPr>
          <p:cNvPr id="6" name="Gerader Verbinder 5">
            <a:extLst>
              <a:ext uri="{FF2B5EF4-FFF2-40B4-BE49-F238E27FC236}">
                <a16:creationId xmlns:a16="http://schemas.microsoft.com/office/drawing/2014/main" xmlns="" id="{BE1383EF-64B9-40E9-9BFB-AFEE35E70549}"/>
              </a:ext>
            </a:extLst>
          </p:cNvPr>
          <p:cNvCxnSpPr/>
          <p:nvPr/>
        </p:nvCxnSpPr>
        <p:spPr>
          <a:xfrm flipV="1">
            <a:off x="3773103" y="2133782"/>
            <a:ext cx="6555263" cy="3563568"/>
          </a:xfrm>
          <a:prstGeom prst="line">
            <a:avLst/>
          </a:prstGeom>
          <a:ln w="28575">
            <a:solidFill>
              <a:srgbClr val="C01F75"/>
            </a:solidFill>
          </a:ln>
        </p:spPr>
        <p:style>
          <a:lnRef idx="1">
            <a:schemeClr val="accent1"/>
          </a:lnRef>
          <a:fillRef idx="0">
            <a:schemeClr val="accent1"/>
          </a:fillRef>
          <a:effectRef idx="0">
            <a:schemeClr val="accent1"/>
          </a:effectRef>
          <a:fontRef idx="minor">
            <a:schemeClr val="tx1"/>
          </a:fontRef>
        </p:style>
      </p:cxnSp>
      <p:sp>
        <p:nvSpPr>
          <p:cNvPr id="7" name="Freihandform: Form 6">
            <a:extLst>
              <a:ext uri="{FF2B5EF4-FFF2-40B4-BE49-F238E27FC236}">
                <a16:creationId xmlns:a16="http://schemas.microsoft.com/office/drawing/2014/main" xmlns="" id="{577EAD8D-DC5C-4562-8F79-53C7B2F830B9}"/>
              </a:ext>
            </a:extLst>
          </p:cNvPr>
          <p:cNvSpPr/>
          <p:nvPr/>
        </p:nvSpPr>
        <p:spPr>
          <a:xfrm>
            <a:off x="3753394" y="2011680"/>
            <a:ext cx="6235337" cy="3707797"/>
          </a:xfrm>
          <a:custGeom>
            <a:avLst/>
            <a:gdLst>
              <a:gd name="connsiteX0" fmla="*/ 0 w 6235337"/>
              <a:gd name="connsiteY0" fmla="*/ 3683725 h 3707797"/>
              <a:gd name="connsiteX1" fmla="*/ 5042263 w 6235337"/>
              <a:gd name="connsiteY1" fmla="*/ 3161211 h 3707797"/>
              <a:gd name="connsiteX2" fmla="*/ 6235337 w 6235337"/>
              <a:gd name="connsiteY2" fmla="*/ 0 h 3707797"/>
            </a:gdLst>
            <a:ahLst/>
            <a:cxnLst>
              <a:cxn ang="0">
                <a:pos x="connsiteX0" y="connsiteY0"/>
              </a:cxn>
              <a:cxn ang="0">
                <a:pos x="connsiteX1" y="connsiteY1"/>
              </a:cxn>
              <a:cxn ang="0">
                <a:pos x="connsiteX2" y="connsiteY2"/>
              </a:cxn>
            </a:cxnLst>
            <a:rect l="l" t="t" r="r" b="b"/>
            <a:pathLst>
              <a:path w="6235337" h="3707797">
                <a:moveTo>
                  <a:pt x="0" y="3683725"/>
                </a:moveTo>
                <a:cubicBezTo>
                  <a:pt x="2001520" y="3729445"/>
                  <a:pt x="4003040" y="3775165"/>
                  <a:pt x="5042263" y="3161211"/>
                </a:cubicBezTo>
                <a:cubicBezTo>
                  <a:pt x="6081486" y="2547257"/>
                  <a:pt x="6158411" y="1273628"/>
                  <a:pt x="6235337" y="0"/>
                </a:cubicBezTo>
              </a:path>
            </a:pathLst>
          </a:cu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6" name="Subtitle 2">
            <a:extLst>
              <a:ext uri="{FF2B5EF4-FFF2-40B4-BE49-F238E27FC236}">
                <a16:creationId xmlns:a16="http://schemas.microsoft.com/office/drawing/2014/main" xmlns="" id="{759F290D-0948-4A1C-9C45-AB8BDE3394A7}"/>
              </a:ext>
            </a:extLst>
          </p:cNvPr>
          <p:cNvSpPr txBox="1">
            <a:spLocks/>
          </p:cNvSpPr>
          <p:nvPr/>
        </p:nvSpPr>
        <p:spPr>
          <a:xfrm>
            <a:off x="5192002" y="3134685"/>
            <a:ext cx="1807994" cy="65018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spcBef>
                <a:spcPts val="600"/>
              </a:spcBef>
            </a:pPr>
            <a:r>
              <a:rPr lang="en-GB" sz="2000" b="1" dirty="0">
                <a:solidFill>
                  <a:srgbClr val="C01F75"/>
                </a:solidFill>
                <a:latin typeface="+mj-lt"/>
                <a:ea typeface="Lato Light" panose="020F0502020204030203" pitchFamily="34" charset="0"/>
                <a:cs typeface="Mukta ExtraLight" panose="020B0000000000000000" pitchFamily="34" charset="77"/>
              </a:rPr>
              <a:t>Expected Progress</a:t>
            </a:r>
          </a:p>
        </p:txBody>
      </p:sp>
      <p:sp>
        <p:nvSpPr>
          <p:cNvPr id="47" name="Subtitle 2">
            <a:extLst>
              <a:ext uri="{FF2B5EF4-FFF2-40B4-BE49-F238E27FC236}">
                <a16:creationId xmlns:a16="http://schemas.microsoft.com/office/drawing/2014/main" xmlns="" id="{BBC76C7B-B908-4A9F-8971-836105D14B50}"/>
              </a:ext>
            </a:extLst>
          </p:cNvPr>
          <p:cNvSpPr txBox="1">
            <a:spLocks/>
          </p:cNvSpPr>
          <p:nvPr/>
        </p:nvSpPr>
        <p:spPr>
          <a:xfrm>
            <a:off x="10095382" y="3288573"/>
            <a:ext cx="1807994" cy="34241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solidFill>
                  <a:srgbClr val="92D050"/>
                </a:solidFill>
                <a:latin typeface="+mj-lt"/>
                <a:ea typeface="Lato Light" panose="020F0502020204030203" pitchFamily="34" charset="0"/>
                <a:cs typeface="Mukta ExtraLight" panose="020B0000000000000000" pitchFamily="34" charset="77"/>
              </a:rPr>
              <a:t>Actual Progress</a:t>
            </a:r>
          </a:p>
        </p:txBody>
      </p:sp>
      <p:sp>
        <p:nvSpPr>
          <p:cNvPr id="48" name="Subtitle 2">
            <a:extLst>
              <a:ext uri="{FF2B5EF4-FFF2-40B4-BE49-F238E27FC236}">
                <a16:creationId xmlns:a16="http://schemas.microsoft.com/office/drawing/2014/main" xmlns="" id="{7B4C9667-2D82-4FF8-8E37-87BA9C5E6962}"/>
              </a:ext>
            </a:extLst>
          </p:cNvPr>
          <p:cNvSpPr txBox="1">
            <a:spLocks/>
          </p:cNvSpPr>
          <p:nvPr/>
        </p:nvSpPr>
        <p:spPr>
          <a:xfrm>
            <a:off x="7532925" y="3547985"/>
            <a:ext cx="1523975" cy="1573516"/>
          </a:xfrm>
          <a:prstGeom prst="rect">
            <a:avLst/>
          </a:prstGeom>
          <a:solidFill>
            <a:schemeClr val="tx2"/>
          </a:solidFill>
          <a:ln>
            <a:solidFill>
              <a:schemeClr val="tx2"/>
            </a:solidFill>
          </a:ln>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GB" sz="2000" b="1" dirty="0">
                <a:solidFill>
                  <a:schemeClr val="bg1"/>
                </a:solidFill>
                <a:latin typeface="+mj-lt"/>
                <a:ea typeface="Lato Light" panose="020F0502020204030203" pitchFamily="34" charset="0"/>
                <a:cs typeface="Mukta ExtraLight" panose="020B0000000000000000" pitchFamily="34" charset="77"/>
              </a:rPr>
              <a:t>Controlling is important to align expectations with reality</a:t>
            </a:r>
          </a:p>
        </p:txBody>
      </p:sp>
    </p:spTree>
    <p:extLst>
      <p:ext uri="{BB962C8B-B14F-4D97-AF65-F5344CB8AC3E}">
        <p14:creationId xmlns:p14="http://schemas.microsoft.com/office/powerpoint/2010/main" val="311130839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68938" y="453079"/>
            <a:ext cx="8852375" cy="697353"/>
          </a:xfrm>
        </p:spPr>
        <p:txBody>
          <a:bodyPr>
            <a:normAutofit/>
          </a:bodyPr>
          <a:lstStyle/>
          <a:p>
            <a:r>
              <a:rPr lang="en-GB" dirty="0"/>
              <a:t>Motivation in Crisis: Shared images</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41423" y="1954542"/>
            <a:ext cx="3675482" cy="48254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Shared images in the lead: What really matters - "The magically trivial pyramid.</a:t>
            </a:r>
          </a:p>
          <a:p>
            <a:pPr marL="342900" indent="-342900" algn="l">
              <a:lnSpc>
                <a:spcPct val="100000"/>
              </a:lnSpc>
              <a:spcBef>
                <a:spcPts val="600"/>
              </a:spcBef>
              <a:buFont typeface="Arial" panose="020B0604020202020204" pitchFamily="34" charset="0"/>
              <a:buChar char="•"/>
            </a:pPr>
            <a:r>
              <a:rPr lang="en-GB" sz="2200" dirty="0">
                <a:solidFill>
                  <a:srgbClr val="245473"/>
                </a:solidFill>
                <a:latin typeface="+mj-lt"/>
                <a:sym typeface="Wingdings" panose="05000000000000000000" pitchFamily="2" charset="2"/>
              </a:rPr>
              <a:t>Overall entrepreneurial thinking and acting</a:t>
            </a:r>
          </a:p>
          <a:p>
            <a:pPr marL="342900" indent="-342900" algn="l">
              <a:lnSpc>
                <a:spcPct val="100000"/>
              </a:lnSpc>
              <a:spcBef>
                <a:spcPts val="600"/>
              </a:spcBef>
              <a:buFont typeface="Arial" panose="020B0604020202020204" pitchFamily="34" charset="0"/>
              <a:buChar char="•"/>
            </a:pPr>
            <a:r>
              <a:rPr lang="en-GB" sz="2200" dirty="0">
                <a:solidFill>
                  <a:srgbClr val="245473"/>
                </a:solidFill>
                <a:latin typeface="+mj-lt"/>
                <a:sym typeface="Wingdings" panose="05000000000000000000" pitchFamily="2" charset="2"/>
              </a:rPr>
              <a:t>Cooperation</a:t>
            </a:r>
          </a:p>
          <a:p>
            <a:pPr marL="342900" indent="-342900" algn="l">
              <a:lnSpc>
                <a:spcPct val="100000"/>
              </a:lnSpc>
              <a:spcBef>
                <a:spcPts val="600"/>
              </a:spcBef>
              <a:buFont typeface="Arial" panose="020B0604020202020204" pitchFamily="34" charset="0"/>
              <a:buChar char="•"/>
            </a:pPr>
            <a:r>
              <a:rPr lang="en-GB" sz="2200" dirty="0">
                <a:solidFill>
                  <a:srgbClr val="245473"/>
                </a:solidFill>
                <a:latin typeface="+mj-lt"/>
                <a:sym typeface="Wingdings" panose="05000000000000000000" pitchFamily="2" charset="2"/>
              </a:rPr>
              <a:t>Communication / information: horizontal - vertical – diagonal</a:t>
            </a:r>
          </a:p>
          <a:p>
            <a:pPr marL="342900" indent="-342900" algn="l">
              <a:lnSpc>
                <a:spcPct val="100000"/>
              </a:lnSpc>
              <a:spcBef>
                <a:spcPts val="600"/>
              </a:spcBef>
              <a:buFont typeface="Arial" panose="020B0604020202020204" pitchFamily="34" charset="0"/>
              <a:buChar char="•"/>
            </a:pPr>
            <a:r>
              <a:rPr lang="en-GB" sz="2200" dirty="0">
                <a:solidFill>
                  <a:srgbClr val="245473"/>
                </a:solidFill>
                <a:latin typeface="+mj-lt"/>
                <a:sym typeface="Wingdings" panose="05000000000000000000" pitchFamily="2" charset="2"/>
              </a:rPr>
              <a:t>Employee development</a:t>
            </a:r>
          </a:p>
          <a:p>
            <a:pPr marL="342900" indent="-342900" algn="l">
              <a:lnSpc>
                <a:spcPct val="100000"/>
              </a:lnSpc>
              <a:spcBef>
                <a:spcPts val="600"/>
              </a:spcBef>
              <a:buFont typeface="Arial" panose="020B0604020202020204" pitchFamily="34" charset="0"/>
              <a:buChar char="•"/>
            </a:pPr>
            <a:r>
              <a:rPr lang="en-GB" sz="2200" dirty="0">
                <a:solidFill>
                  <a:srgbClr val="245473"/>
                </a:solidFill>
                <a:latin typeface="+mj-lt"/>
                <a:sym typeface="Wingdings" panose="05000000000000000000" pitchFamily="2" charset="2"/>
              </a:rPr>
              <a:t>Delegation of responsibility and competence</a:t>
            </a:r>
          </a:p>
          <a:p>
            <a:pPr algn="l">
              <a:lnSpc>
                <a:spcPts val="1500"/>
              </a:lnSpc>
              <a:spcBef>
                <a:spcPts val="600"/>
              </a:spcBef>
            </a:pPr>
            <a:endParaRPr lang="en-GB" sz="2200" dirty="0">
              <a:latin typeface="+mj-lt"/>
              <a:sym typeface="Wingdings" panose="05000000000000000000" pitchFamily="2" charset="2"/>
            </a:endParaRPr>
          </a:p>
        </p:txBody>
      </p:sp>
      <p:grpSp>
        <p:nvGrpSpPr>
          <p:cNvPr id="14" name="Gruppieren 13">
            <a:extLst>
              <a:ext uri="{FF2B5EF4-FFF2-40B4-BE49-F238E27FC236}">
                <a16:creationId xmlns:a16="http://schemas.microsoft.com/office/drawing/2014/main" xmlns="" id="{832B19D9-61A1-4217-950F-EBF30D4A196B}"/>
              </a:ext>
            </a:extLst>
          </p:cNvPr>
          <p:cNvGrpSpPr/>
          <p:nvPr/>
        </p:nvGrpSpPr>
        <p:grpSpPr>
          <a:xfrm>
            <a:off x="6715676" y="2620935"/>
            <a:ext cx="5413720" cy="2776818"/>
            <a:chOff x="5030350" y="2620935"/>
            <a:chExt cx="5413720" cy="2776818"/>
          </a:xfrm>
        </p:grpSpPr>
        <p:sp>
          <p:nvSpPr>
            <p:cNvPr id="30" name="Subtitle 2">
              <a:extLst>
                <a:ext uri="{FF2B5EF4-FFF2-40B4-BE49-F238E27FC236}">
                  <a16:creationId xmlns:a16="http://schemas.microsoft.com/office/drawing/2014/main" xmlns="" id="{33A103E5-293E-4912-B2B7-14F7DA453357}"/>
                </a:ext>
              </a:extLst>
            </p:cNvPr>
            <p:cNvSpPr txBox="1">
              <a:spLocks/>
            </p:cNvSpPr>
            <p:nvPr/>
          </p:nvSpPr>
          <p:spPr>
            <a:xfrm>
              <a:off x="8609503" y="4159386"/>
              <a:ext cx="1834567"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latin typeface="+mj-lt"/>
                  <a:ea typeface="Lato Light" panose="020F0502020204030203" pitchFamily="34" charset="0"/>
                  <a:cs typeface="Mukta ExtraLight" panose="020B0000000000000000" pitchFamily="34" charset="77"/>
                </a:rPr>
                <a:t>Middle Management</a:t>
              </a:r>
            </a:p>
          </p:txBody>
        </p:sp>
        <p:sp>
          <p:nvSpPr>
            <p:cNvPr id="31" name="Subtitle 2">
              <a:extLst>
                <a:ext uri="{FF2B5EF4-FFF2-40B4-BE49-F238E27FC236}">
                  <a16:creationId xmlns:a16="http://schemas.microsoft.com/office/drawing/2014/main" xmlns="" id="{A358FBB7-9614-4260-B90C-405642DB873F}"/>
                </a:ext>
              </a:extLst>
            </p:cNvPr>
            <p:cNvSpPr txBox="1">
              <a:spLocks/>
            </p:cNvSpPr>
            <p:nvPr/>
          </p:nvSpPr>
          <p:spPr>
            <a:xfrm>
              <a:off x="9115107" y="5086121"/>
              <a:ext cx="1267097" cy="31163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latin typeface="+mj-lt"/>
                  <a:ea typeface="Lato Light" panose="020F0502020204030203" pitchFamily="34" charset="0"/>
                  <a:cs typeface="Mukta ExtraLight" panose="020B0000000000000000" pitchFamily="34" charset="77"/>
                </a:rPr>
                <a:t>Employees</a:t>
              </a:r>
            </a:p>
          </p:txBody>
        </p:sp>
        <p:grpSp>
          <p:nvGrpSpPr>
            <p:cNvPr id="13" name="Gruppieren 12">
              <a:extLst>
                <a:ext uri="{FF2B5EF4-FFF2-40B4-BE49-F238E27FC236}">
                  <a16:creationId xmlns:a16="http://schemas.microsoft.com/office/drawing/2014/main" xmlns="" id="{0B2FCDEB-307E-43E3-9D85-BFB6703C10D9}"/>
                </a:ext>
              </a:extLst>
            </p:cNvPr>
            <p:cNvGrpSpPr/>
            <p:nvPr/>
          </p:nvGrpSpPr>
          <p:grpSpPr>
            <a:xfrm>
              <a:off x="5030350" y="2620935"/>
              <a:ext cx="5093095" cy="2700336"/>
              <a:chOff x="5030350" y="2620935"/>
              <a:chExt cx="5093095" cy="2700336"/>
            </a:xfrm>
          </p:grpSpPr>
          <p:sp>
            <p:nvSpPr>
              <p:cNvPr id="4" name="L-Form 3">
                <a:extLst>
                  <a:ext uri="{FF2B5EF4-FFF2-40B4-BE49-F238E27FC236}">
                    <a16:creationId xmlns:a16="http://schemas.microsoft.com/office/drawing/2014/main" xmlns="" id="{2D58E443-81C9-41E9-862F-40578F23115D}"/>
                  </a:ext>
                </a:extLst>
              </p:cNvPr>
              <p:cNvSpPr/>
              <p:nvPr/>
            </p:nvSpPr>
            <p:spPr>
              <a:xfrm rot="8106606">
                <a:off x="6693786" y="2620935"/>
                <a:ext cx="705394" cy="697353"/>
              </a:xfrm>
              <a:prstGeom prst="corne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Gleichschenkliges Dreieck 4">
                <a:extLst>
                  <a:ext uri="{FF2B5EF4-FFF2-40B4-BE49-F238E27FC236}">
                    <a16:creationId xmlns:a16="http://schemas.microsoft.com/office/drawing/2014/main" xmlns="" id="{987FE59E-BE27-4A83-B5CC-CB848242E834}"/>
                  </a:ext>
                </a:extLst>
              </p:cNvPr>
              <p:cNvSpPr/>
              <p:nvPr/>
            </p:nvSpPr>
            <p:spPr>
              <a:xfrm>
                <a:off x="5151441" y="3071271"/>
                <a:ext cx="3790083" cy="2160000"/>
              </a:xfrm>
              <a:prstGeom prst="triangle">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Gleichschenkliges Dreieck 23">
                <a:extLst>
                  <a:ext uri="{FF2B5EF4-FFF2-40B4-BE49-F238E27FC236}">
                    <a16:creationId xmlns:a16="http://schemas.microsoft.com/office/drawing/2014/main" xmlns="" id="{C895F87F-03E1-4432-9905-B54790550EC4}"/>
                  </a:ext>
                </a:extLst>
              </p:cNvPr>
              <p:cNvSpPr/>
              <p:nvPr/>
            </p:nvSpPr>
            <p:spPr>
              <a:xfrm>
                <a:off x="6418538" y="3071271"/>
                <a:ext cx="1267097" cy="720000"/>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Gleichschenkliges Dreieck 24">
                <a:extLst>
                  <a:ext uri="{FF2B5EF4-FFF2-40B4-BE49-F238E27FC236}">
                    <a16:creationId xmlns:a16="http://schemas.microsoft.com/office/drawing/2014/main" xmlns="" id="{918A9E23-49DA-4A7A-84CD-C29AEE39F89B}"/>
                  </a:ext>
                </a:extLst>
              </p:cNvPr>
              <p:cNvSpPr/>
              <p:nvPr/>
            </p:nvSpPr>
            <p:spPr>
              <a:xfrm>
                <a:off x="7046483" y="3791271"/>
                <a:ext cx="1267097" cy="720000"/>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Gleichschenkliges Dreieck 25">
                <a:extLst>
                  <a:ext uri="{FF2B5EF4-FFF2-40B4-BE49-F238E27FC236}">
                    <a16:creationId xmlns:a16="http://schemas.microsoft.com/office/drawing/2014/main" xmlns="" id="{7BB62E3A-1B54-430B-8CF5-D99187C30AA2}"/>
                  </a:ext>
                </a:extLst>
              </p:cNvPr>
              <p:cNvSpPr/>
              <p:nvPr/>
            </p:nvSpPr>
            <p:spPr>
              <a:xfrm>
                <a:off x="7674427" y="4511271"/>
                <a:ext cx="1267097" cy="720000"/>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Gleichschenkliges Dreieck 26">
                <a:extLst>
                  <a:ext uri="{FF2B5EF4-FFF2-40B4-BE49-F238E27FC236}">
                    <a16:creationId xmlns:a16="http://schemas.microsoft.com/office/drawing/2014/main" xmlns="" id="{85D41FAE-4210-470C-8755-5AC24E066AB4}"/>
                  </a:ext>
                </a:extLst>
              </p:cNvPr>
              <p:cNvSpPr/>
              <p:nvPr/>
            </p:nvSpPr>
            <p:spPr>
              <a:xfrm>
                <a:off x="5151441" y="4511271"/>
                <a:ext cx="1267097" cy="720000"/>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Gleichschenkliges Dreieck 27">
                <a:extLst>
                  <a:ext uri="{FF2B5EF4-FFF2-40B4-BE49-F238E27FC236}">
                    <a16:creationId xmlns:a16="http://schemas.microsoft.com/office/drawing/2014/main" xmlns="" id="{46C85814-A4A0-489E-9219-C1B5BC0B3BEA}"/>
                  </a:ext>
                </a:extLst>
              </p:cNvPr>
              <p:cNvSpPr/>
              <p:nvPr/>
            </p:nvSpPr>
            <p:spPr>
              <a:xfrm>
                <a:off x="5784989" y="3791271"/>
                <a:ext cx="1267097" cy="720000"/>
              </a:xfrm>
              <a:prstGeom prst="triangl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9" name="Subtitle 2">
                <a:extLst>
                  <a:ext uri="{FF2B5EF4-FFF2-40B4-BE49-F238E27FC236}">
                    <a16:creationId xmlns:a16="http://schemas.microsoft.com/office/drawing/2014/main" xmlns="" id="{2B87C5BD-049A-4127-A4C4-6CDDDB74D9C3}"/>
                  </a:ext>
                </a:extLst>
              </p:cNvPr>
              <p:cNvSpPr txBox="1">
                <a:spLocks/>
              </p:cNvSpPr>
              <p:nvPr/>
            </p:nvSpPr>
            <p:spPr>
              <a:xfrm>
                <a:off x="7930742" y="3650844"/>
                <a:ext cx="2192703" cy="31163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latin typeface="+mj-lt"/>
                    <a:ea typeface="Lato Light" panose="020F0502020204030203" pitchFamily="34" charset="0"/>
                    <a:cs typeface="Mukta ExtraLight" panose="020B0000000000000000" pitchFamily="34" charset="77"/>
                  </a:rPr>
                  <a:t>TOP Management</a:t>
                </a:r>
              </a:p>
            </p:txBody>
          </p:sp>
          <p:sp>
            <p:nvSpPr>
              <p:cNvPr id="32" name="Subtitle 2">
                <a:extLst>
                  <a:ext uri="{FF2B5EF4-FFF2-40B4-BE49-F238E27FC236}">
                    <a16:creationId xmlns:a16="http://schemas.microsoft.com/office/drawing/2014/main" xmlns="" id="{6994D27D-6842-4446-9F33-11DC21C3D774}"/>
                  </a:ext>
                </a:extLst>
              </p:cNvPr>
              <p:cNvSpPr txBox="1">
                <a:spLocks/>
              </p:cNvSpPr>
              <p:nvPr/>
            </p:nvSpPr>
            <p:spPr>
              <a:xfrm>
                <a:off x="7674427" y="2632044"/>
                <a:ext cx="2273703" cy="34241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b="1" dirty="0">
                    <a:latin typeface="+mj-lt"/>
                    <a:ea typeface="Lato Light" panose="020F0502020204030203" pitchFamily="34" charset="0"/>
                    <a:cs typeface="Mukta ExtraLight" panose="020B0000000000000000" pitchFamily="34" charset="77"/>
                  </a:rPr>
                  <a:t>CEO / Owner</a:t>
                </a:r>
              </a:p>
            </p:txBody>
          </p:sp>
          <p:sp>
            <p:nvSpPr>
              <p:cNvPr id="11" name="Ellipse 10">
                <a:extLst>
                  <a:ext uri="{FF2B5EF4-FFF2-40B4-BE49-F238E27FC236}">
                    <a16:creationId xmlns:a16="http://schemas.microsoft.com/office/drawing/2014/main" xmlns="" id="{26AA0779-2F6F-4331-A947-36FEDE96099C}"/>
                  </a:ext>
                </a:extLst>
              </p:cNvPr>
              <p:cNvSpPr/>
              <p:nvPr/>
            </p:nvSpPr>
            <p:spPr>
              <a:xfrm>
                <a:off x="6244955" y="3611271"/>
                <a:ext cx="360632"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A</a:t>
                </a:r>
                <a:endParaRPr lang="en-GB" dirty="0"/>
              </a:p>
            </p:txBody>
          </p:sp>
          <p:sp>
            <p:nvSpPr>
              <p:cNvPr id="34" name="Ellipse 33">
                <a:extLst>
                  <a:ext uri="{FF2B5EF4-FFF2-40B4-BE49-F238E27FC236}">
                    <a16:creationId xmlns:a16="http://schemas.microsoft.com/office/drawing/2014/main" xmlns="" id="{F1E252BB-5771-41E9-958B-5F00813C7F43}"/>
                  </a:ext>
                </a:extLst>
              </p:cNvPr>
              <p:cNvSpPr/>
              <p:nvPr/>
            </p:nvSpPr>
            <p:spPr>
              <a:xfrm>
                <a:off x="7494111" y="3615447"/>
                <a:ext cx="360632"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C</a:t>
                </a:r>
                <a:endParaRPr lang="en-GB" dirty="0"/>
              </a:p>
            </p:txBody>
          </p:sp>
          <p:sp>
            <p:nvSpPr>
              <p:cNvPr id="35" name="Ellipse 34">
                <a:extLst>
                  <a:ext uri="{FF2B5EF4-FFF2-40B4-BE49-F238E27FC236}">
                    <a16:creationId xmlns:a16="http://schemas.microsoft.com/office/drawing/2014/main" xmlns="" id="{DF9E5D3D-BB64-4A34-8074-1ABC81083050}"/>
                  </a:ext>
                </a:extLst>
              </p:cNvPr>
              <p:cNvSpPr/>
              <p:nvPr/>
            </p:nvSpPr>
            <p:spPr>
              <a:xfrm>
                <a:off x="6864649" y="3611271"/>
                <a:ext cx="360632" cy="36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B</a:t>
                </a:r>
                <a:endParaRPr lang="en-GB" dirty="0"/>
              </a:p>
            </p:txBody>
          </p:sp>
          <p:sp>
            <p:nvSpPr>
              <p:cNvPr id="36" name="Ellipse 35">
                <a:extLst>
                  <a:ext uri="{FF2B5EF4-FFF2-40B4-BE49-F238E27FC236}">
                    <a16:creationId xmlns:a16="http://schemas.microsoft.com/office/drawing/2014/main" xmlns="" id="{C6630DF9-464B-4072-8EA8-8FA87FF76508}"/>
                  </a:ext>
                </a:extLst>
              </p:cNvPr>
              <p:cNvSpPr/>
              <p:nvPr/>
            </p:nvSpPr>
            <p:spPr>
              <a:xfrm>
                <a:off x="5658989" y="4396131"/>
                <a:ext cx="252000" cy="25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7" name="Ellipse 36">
                <a:extLst>
                  <a:ext uri="{FF2B5EF4-FFF2-40B4-BE49-F238E27FC236}">
                    <a16:creationId xmlns:a16="http://schemas.microsoft.com/office/drawing/2014/main" xmlns="" id="{D231A234-0204-4152-826F-1E92367C80CA}"/>
                  </a:ext>
                </a:extLst>
              </p:cNvPr>
              <p:cNvSpPr/>
              <p:nvPr/>
            </p:nvSpPr>
            <p:spPr>
              <a:xfrm>
                <a:off x="6926086" y="4388871"/>
                <a:ext cx="252000" cy="25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Ellipse 37">
                <a:extLst>
                  <a:ext uri="{FF2B5EF4-FFF2-40B4-BE49-F238E27FC236}">
                    <a16:creationId xmlns:a16="http://schemas.microsoft.com/office/drawing/2014/main" xmlns="" id="{1E17CC86-3E22-43F2-A0ED-05D900442E1D}"/>
                  </a:ext>
                </a:extLst>
              </p:cNvPr>
              <p:cNvSpPr/>
              <p:nvPr/>
            </p:nvSpPr>
            <p:spPr>
              <a:xfrm>
                <a:off x="8161817" y="4401744"/>
                <a:ext cx="252000" cy="25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3" name="Ellipse 42">
                <a:extLst>
                  <a:ext uri="{FF2B5EF4-FFF2-40B4-BE49-F238E27FC236}">
                    <a16:creationId xmlns:a16="http://schemas.microsoft.com/office/drawing/2014/main" xmlns="" id="{14954DCE-26C4-45C6-B3D7-D5550F4F5EFE}"/>
                  </a:ext>
                </a:extLst>
              </p:cNvPr>
              <p:cNvSpPr/>
              <p:nvPr/>
            </p:nvSpPr>
            <p:spPr>
              <a:xfrm>
                <a:off x="7548427" y="4396131"/>
                <a:ext cx="252000" cy="25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4" name="Ellipse 43">
                <a:extLst>
                  <a:ext uri="{FF2B5EF4-FFF2-40B4-BE49-F238E27FC236}">
                    <a16:creationId xmlns:a16="http://schemas.microsoft.com/office/drawing/2014/main" xmlns="" id="{959D7397-4CA1-45FC-8C9C-A86141E94841}"/>
                  </a:ext>
                </a:extLst>
              </p:cNvPr>
              <p:cNvSpPr/>
              <p:nvPr/>
            </p:nvSpPr>
            <p:spPr>
              <a:xfrm>
                <a:off x="6281330" y="4401744"/>
                <a:ext cx="252000" cy="252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5" name="Ellipse 44">
                <a:extLst>
                  <a:ext uri="{FF2B5EF4-FFF2-40B4-BE49-F238E27FC236}">
                    <a16:creationId xmlns:a16="http://schemas.microsoft.com/office/drawing/2014/main" xmlns="" id="{33E68AA9-DE81-496D-BC11-6BB106E8F1B4}"/>
                  </a:ext>
                </a:extLst>
              </p:cNvPr>
              <p:cNvSpPr/>
              <p:nvPr/>
            </p:nvSpPr>
            <p:spPr>
              <a:xfrm>
                <a:off x="5030350" y="5141271"/>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9" name="Ellipse 48">
                <a:extLst>
                  <a:ext uri="{FF2B5EF4-FFF2-40B4-BE49-F238E27FC236}">
                    <a16:creationId xmlns:a16="http://schemas.microsoft.com/office/drawing/2014/main" xmlns="" id="{35C8BF4B-0F89-4ED5-9210-C33C7FFD38C9}"/>
                  </a:ext>
                </a:extLst>
              </p:cNvPr>
              <p:cNvSpPr/>
              <p:nvPr/>
            </p:nvSpPr>
            <p:spPr>
              <a:xfrm>
                <a:off x="6303703" y="5136548"/>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Ellipse 49">
                <a:extLst>
                  <a:ext uri="{FF2B5EF4-FFF2-40B4-BE49-F238E27FC236}">
                    <a16:creationId xmlns:a16="http://schemas.microsoft.com/office/drawing/2014/main" xmlns="" id="{5A9116FB-B769-4555-B661-6670828E73CC}"/>
                  </a:ext>
                </a:extLst>
              </p:cNvPr>
              <p:cNvSpPr/>
              <p:nvPr/>
            </p:nvSpPr>
            <p:spPr>
              <a:xfrm>
                <a:off x="5694989" y="5141271"/>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1" name="Ellipse 50">
                <a:extLst>
                  <a:ext uri="{FF2B5EF4-FFF2-40B4-BE49-F238E27FC236}">
                    <a16:creationId xmlns:a16="http://schemas.microsoft.com/office/drawing/2014/main" xmlns="" id="{B8935E6E-1448-4A46-BDDB-5F7A5351B733}"/>
                  </a:ext>
                </a:extLst>
              </p:cNvPr>
              <p:cNvSpPr/>
              <p:nvPr/>
            </p:nvSpPr>
            <p:spPr>
              <a:xfrm>
                <a:off x="5361989" y="5136548"/>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2" name="Ellipse 51">
                <a:extLst>
                  <a:ext uri="{FF2B5EF4-FFF2-40B4-BE49-F238E27FC236}">
                    <a16:creationId xmlns:a16="http://schemas.microsoft.com/office/drawing/2014/main" xmlns="" id="{EAB98700-7ED0-4BE3-ABA0-2CF60D889838}"/>
                  </a:ext>
                </a:extLst>
              </p:cNvPr>
              <p:cNvSpPr/>
              <p:nvPr/>
            </p:nvSpPr>
            <p:spPr>
              <a:xfrm>
                <a:off x="6002853" y="5141271"/>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Ellipse 52">
                <a:extLst>
                  <a:ext uri="{FF2B5EF4-FFF2-40B4-BE49-F238E27FC236}">
                    <a16:creationId xmlns:a16="http://schemas.microsoft.com/office/drawing/2014/main" xmlns="" id="{00E9DB65-3451-4CF3-B9C5-EA4223FF8274}"/>
                  </a:ext>
                </a:extLst>
              </p:cNvPr>
              <p:cNvSpPr/>
              <p:nvPr/>
            </p:nvSpPr>
            <p:spPr>
              <a:xfrm>
                <a:off x="7547000" y="5136548"/>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4" name="Ellipse 53">
                <a:extLst>
                  <a:ext uri="{FF2B5EF4-FFF2-40B4-BE49-F238E27FC236}">
                    <a16:creationId xmlns:a16="http://schemas.microsoft.com/office/drawing/2014/main" xmlns="" id="{6BECD9F7-31A1-48E9-AFFB-A301DD7B9CA1}"/>
                  </a:ext>
                </a:extLst>
              </p:cNvPr>
              <p:cNvSpPr/>
              <p:nvPr/>
            </p:nvSpPr>
            <p:spPr>
              <a:xfrm>
                <a:off x="8820353" y="5131825"/>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5" name="Ellipse 54">
                <a:extLst>
                  <a:ext uri="{FF2B5EF4-FFF2-40B4-BE49-F238E27FC236}">
                    <a16:creationId xmlns:a16="http://schemas.microsoft.com/office/drawing/2014/main" xmlns="" id="{4EA91DC3-3C71-40CD-A477-418E934A71EB}"/>
                  </a:ext>
                </a:extLst>
              </p:cNvPr>
              <p:cNvSpPr/>
              <p:nvPr/>
            </p:nvSpPr>
            <p:spPr>
              <a:xfrm>
                <a:off x="8211639" y="5136548"/>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6" name="Ellipse 55">
                <a:extLst>
                  <a:ext uri="{FF2B5EF4-FFF2-40B4-BE49-F238E27FC236}">
                    <a16:creationId xmlns:a16="http://schemas.microsoft.com/office/drawing/2014/main" xmlns="" id="{8BE27E6A-50FA-440F-8802-CA7C64A21361}"/>
                  </a:ext>
                </a:extLst>
              </p:cNvPr>
              <p:cNvSpPr/>
              <p:nvPr/>
            </p:nvSpPr>
            <p:spPr>
              <a:xfrm>
                <a:off x="7878639" y="5131825"/>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7" name="Ellipse 56">
                <a:extLst>
                  <a:ext uri="{FF2B5EF4-FFF2-40B4-BE49-F238E27FC236}">
                    <a16:creationId xmlns:a16="http://schemas.microsoft.com/office/drawing/2014/main" xmlns="" id="{DA9E01EF-54A0-429D-BBD3-D24F0414D0CB}"/>
                  </a:ext>
                </a:extLst>
              </p:cNvPr>
              <p:cNvSpPr/>
              <p:nvPr/>
            </p:nvSpPr>
            <p:spPr>
              <a:xfrm>
                <a:off x="8519503" y="5136548"/>
                <a:ext cx="180000" cy="1800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sp>
        <p:nvSpPr>
          <p:cNvPr id="12" name="Rechteck 11">
            <a:extLst>
              <a:ext uri="{FF2B5EF4-FFF2-40B4-BE49-F238E27FC236}">
                <a16:creationId xmlns:a16="http://schemas.microsoft.com/office/drawing/2014/main" xmlns="" id="{D18E6934-73E5-4095-B3D1-F8E5091612EA}"/>
              </a:ext>
            </a:extLst>
          </p:cNvPr>
          <p:cNvSpPr/>
          <p:nvPr/>
        </p:nvSpPr>
        <p:spPr>
          <a:xfrm>
            <a:off x="4139312" y="1964061"/>
            <a:ext cx="2957946" cy="4632037"/>
          </a:xfrm>
          <a:prstGeom prst="rect">
            <a:avLst/>
          </a:prstGeom>
        </p:spPr>
        <p:txBody>
          <a:bodyPr wrap="square">
            <a:spAutoFit/>
          </a:bodyPr>
          <a:lstStyle/>
          <a:p>
            <a:pPr marL="177800" indent="-177800">
              <a:spcBef>
                <a:spcPts val="600"/>
              </a:spcBef>
              <a:buFont typeface="Arial" panose="020B0604020202020204" pitchFamily="34" charset="0"/>
              <a:buChar char="•"/>
            </a:pPr>
            <a:r>
              <a:rPr lang="en-GB" altLang="de-DE" i="1" dirty="0">
                <a:solidFill>
                  <a:srgbClr val="245473"/>
                </a:solidFill>
              </a:rPr>
              <a:t>The collective before the individual</a:t>
            </a:r>
          </a:p>
          <a:p>
            <a:pPr marL="177800" indent="-177800">
              <a:spcBef>
                <a:spcPts val="600"/>
              </a:spcBef>
              <a:buFont typeface="Arial" panose="020B0604020202020204" pitchFamily="34" charset="0"/>
              <a:buChar char="•"/>
            </a:pPr>
            <a:r>
              <a:rPr lang="en-GB" altLang="de-DE" i="1" dirty="0">
                <a:solidFill>
                  <a:srgbClr val="245473"/>
                </a:solidFill>
              </a:rPr>
              <a:t>Communication and images cascade over management levels</a:t>
            </a:r>
          </a:p>
          <a:p>
            <a:pPr marL="177800" indent="-177800">
              <a:spcBef>
                <a:spcPts val="600"/>
              </a:spcBef>
              <a:buFont typeface="Arial" panose="020B0604020202020204" pitchFamily="34" charset="0"/>
              <a:buChar char="•"/>
            </a:pPr>
            <a:r>
              <a:rPr lang="en-GB" altLang="de-DE" i="1" dirty="0">
                <a:solidFill>
                  <a:srgbClr val="245473"/>
                </a:solidFill>
              </a:rPr>
              <a:t>Each Manager plays and important role in conveying consistent images</a:t>
            </a:r>
            <a:br>
              <a:rPr lang="en-GB" altLang="de-DE" i="1" dirty="0">
                <a:solidFill>
                  <a:srgbClr val="245473"/>
                </a:solidFill>
              </a:rPr>
            </a:br>
            <a:endParaRPr lang="en-GB" altLang="de-DE" i="1" dirty="0">
              <a:solidFill>
                <a:srgbClr val="245473"/>
              </a:solidFill>
            </a:endParaRPr>
          </a:p>
          <a:p>
            <a:pPr marL="285750" indent="-285750">
              <a:spcBef>
                <a:spcPts val="600"/>
              </a:spcBef>
              <a:buFont typeface="Wingdings" panose="05000000000000000000" pitchFamily="2" charset="2"/>
              <a:buChar char="à"/>
            </a:pPr>
            <a:r>
              <a:rPr lang="en-GB" altLang="de-DE" i="1" dirty="0">
                <a:solidFill>
                  <a:srgbClr val="245473"/>
                </a:solidFill>
              </a:rPr>
              <a:t>Purpose, goals, objectives, ways, values</a:t>
            </a:r>
          </a:p>
          <a:p>
            <a:pPr marL="285750" indent="-285750">
              <a:spcBef>
                <a:spcPts val="600"/>
              </a:spcBef>
              <a:buFont typeface="Wingdings" panose="05000000000000000000" pitchFamily="2" charset="2"/>
              <a:buChar char="à"/>
            </a:pPr>
            <a:r>
              <a:rPr lang="en-GB" altLang="de-DE" i="1" dirty="0">
                <a:solidFill>
                  <a:srgbClr val="245473"/>
                </a:solidFill>
              </a:rPr>
              <a:t>Role and contributions of managers</a:t>
            </a:r>
          </a:p>
          <a:p>
            <a:pPr marL="285750" indent="-285750">
              <a:spcBef>
                <a:spcPts val="600"/>
              </a:spcBef>
              <a:buFont typeface="Wingdings" panose="05000000000000000000" pitchFamily="2" charset="2"/>
              <a:buChar char="à"/>
            </a:pPr>
            <a:r>
              <a:rPr lang="en-GB" altLang="de-DE" i="1" dirty="0">
                <a:solidFill>
                  <a:srgbClr val="245473"/>
                </a:solidFill>
              </a:rPr>
              <a:t>Process of the company development</a:t>
            </a:r>
          </a:p>
        </p:txBody>
      </p:sp>
    </p:spTree>
    <p:extLst>
      <p:ext uri="{BB962C8B-B14F-4D97-AF65-F5344CB8AC3E}">
        <p14:creationId xmlns:p14="http://schemas.microsoft.com/office/powerpoint/2010/main" val="161053284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27461" y="853210"/>
            <a:ext cx="6539395" cy="697353"/>
          </a:xfrm>
        </p:spPr>
        <p:txBody>
          <a:bodyPr/>
          <a:lstStyle/>
          <a:p>
            <a:r>
              <a:rPr lang="en-GB" dirty="0"/>
              <a:t>NEXT UP      </a:t>
            </a:r>
            <a:r>
              <a:rPr lang="en-GB" sz="5400" i="0" dirty="0">
                <a:solidFill>
                  <a:srgbClr val="E64D92"/>
                </a:solidFill>
              </a:rPr>
              <a:t>Module 7</a:t>
            </a:r>
            <a:r>
              <a:rPr lang="en-GB" dirty="0">
                <a:solidFill>
                  <a:srgbClr val="E64D92"/>
                </a:solidFill>
              </a:rPr>
              <a:t> </a:t>
            </a:r>
          </a:p>
        </p:txBody>
      </p:sp>
      <p:sp>
        <p:nvSpPr>
          <p:cNvPr id="3" name="Text Placeholder 2"/>
          <p:cNvSpPr>
            <a:spLocks noGrp="1"/>
          </p:cNvSpPr>
          <p:nvPr>
            <p:ph type="body" sz="quarter" idx="14"/>
          </p:nvPr>
        </p:nvSpPr>
        <p:spPr>
          <a:xfrm>
            <a:off x="296833" y="3233207"/>
            <a:ext cx="5886252" cy="697353"/>
          </a:xfrm>
        </p:spPr>
        <p:txBody>
          <a:bodyPr/>
          <a:lstStyle/>
          <a:p>
            <a:r>
              <a:rPr lang="en-GB" sz="3200" i="0" dirty="0"/>
              <a:t>Learning from Crisis</a:t>
            </a:r>
            <a:endParaRPr lang="en-GB" sz="3200" dirty="0"/>
          </a:p>
          <a:p>
            <a:pPr algn="ctr"/>
            <a:endParaRPr lang="en-GB" sz="3200" dirty="0">
              <a:solidFill>
                <a:srgbClr val="5B9BD5"/>
              </a:solidFill>
            </a:endParaRPr>
          </a:p>
          <a:p>
            <a:endParaRPr lang="en-GB" dirty="0"/>
          </a:p>
        </p:txBody>
      </p:sp>
      <p:grpSp>
        <p:nvGrpSpPr>
          <p:cNvPr id="10" name="Google Shape;664;p39"/>
          <p:cNvGrpSpPr/>
          <p:nvPr/>
        </p:nvGrpSpPr>
        <p:grpSpPr>
          <a:xfrm>
            <a:off x="7142053" y="4060110"/>
            <a:ext cx="301041" cy="301041"/>
            <a:chOff x="5941025" y="3634400"/>
            <a:chExt cx="467650" cy="467650"/>
          </a:xfrm>
        </p:grpSpPr>
        <p:sp>
          <p:nvSpPr>
            <p:cNvPr id="11" name="Google Shape;665;p39"/>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2" name="Google Shape;666;p39"/>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3" name="Google Shape;667;p39"/>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4" name="Google Shape;668;p39"/>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5" name="Google Shape;669;p39"/>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grpSp>
    </p:spTree>
    <p:extLst>
      <p:ext uri="{BB962C8B-B14F-4D97-AF65-F5344CB8AC3E}">
        <p14:creationId xmlns:p14="http://schemas.microsoft.com/office/powerpoint/2010/main" val="4256129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75285" y="700337"/>
            <a:ext cx="8852375" cy="697353"/>
          </a:xfrm>
        </p:spPr>
        <p:txBody>
          <a:bodyPr>
            <a:normAutofit/>
          </a:bodyPr>
          <a:lstStyle/>
          <a:p>
            <a:r>
              <a:rPr lang="en-GB" altLang="de-DE" dirty="0"/>
              <a:t>Leadership in times of crisis</a:t>
            </a:r>
            <a:endParaRPr lang="en-GB" dirty="0"/>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266451" y="1955215"/>
            <a:ext cx="5176406" cy="423736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Recognizing that a company faces a crisis is the first thing leaders must do. It is a difficult step, especially during the onset of crises that do not arrive suddenly but grow out of familiar circumstances that mask their nature. </a:t>
            </a:r>
          </a:p>
          <a:p>
            <a:pPr algn="l">
              <a:lnSpc>
                <a:spcPct val="100000"/>
              </a:lnSpc>
              <a:spcBef>
                <a:spcPts val="600"/>
              </a:spcBef>
            </a:pPr>
            <a:r>
              <a:rPr lang="en-GB" altLang="de-DE" sz="2000" dirty="0">
                <a:solidFill>
                  <a:srgbClr val="245473"/>
                </a:solidFill>
                <a:latin typeface="+mj-lt"/>
              </a:rPr>
              <a:t>Once leaders recognize a crisis as such, they can begin to mount a response. But they cannot respond as they would in a routine emergency, by following plans that had been drawn up in advance. </a:t>
            </a:r>
          </a:p>
          <a:p>
            <a:pPr algn="l">
              <a:lnSpc>
                <a:spcPct val="100000"/>
              </a:lnSpc>
              <a:spcBef>
                <a:spcPts val="600"/>
              </a:spcBef>
            </a:pPr>
            <a:r>
              <a:rPr lang="en-GB" altLang="de-DE" sz="2000" dirty="0">
                <a:solidFill>
                  <a:srgbClr val="245473"/>
                </a:solidFill>
                <a:latin typeface="+mj-lt"/>
              </a:rPr>
              <a:t>During a crisis, which is ruled by unfamiliarity and uncertainty, effective responses are largely improvised.</a:t>
            </a:r>
          </a:p>
        </p:txBody>
      </p:sp>
      <p:sp>
        <p:nvSpPr>
          <p:cNvPr id="62" name="TextBox 35">
            <a:extLst>
              <a:ext uri="{FF2B5EF4-FFF2-40B4-BE49-F238E27FC236}">
                <a16:creationId xmlns:a16="http://schemas.microsoft.com/office/drawing/2014/main" xmlns="" id="{5E23698F-0622-42F2-B2F8-546ABBACD07F}"/>
              </a:ext>
            </a:extLst>
          </p:cNvPr>
          <p:cNvSpPr txBox="1"/>
          <p:nvPr/>
        </p:nvSpPr>
        <p:spPr>
          <a:xfrm>
            <a:off x="10459113" y="806530"/>
            <a:ext cx="1376281" cy="675441"/>
          </a:xfrm>
          <a:prstGeom prst="rect">
            <a:avLst/>
          </a:prstGeom>
          <a:noFill/>
        </p:spPr>
        <p:txBody>
          <a:bodyPr wrap="square" rtlCol="0">
            <a:spAutoFit/>
          </a:bodyPr>
          <a:lstStyle/>
          <a:p>
            <a:pPr algn="ctr">
              <a:lnSpc>
                <a:spcPts val="1515"/>
              </a:lnSpc>
            </a:pPr>
            <a:r>
              <a:rPr lang="en-GB" sz="1600" dirty="0">
                <a:solidFill>
                  <a:schemeClr val="bg1"/>
                </a:solidFill>
                <a:latin typeface="+mj-lt"/>
                <a:ea typeface="Lato Light" charset="0"/>
                <a:cs typeface="Lato Light" charset="0"/>
              </a:rPr>
              <a:t>Be a closer; get things DONE!</a:t>
            </a:r>
          </a:p>
        </p:txBody>
      </p:sp>
      <p:sp>
        <p:nvSpPr>
          <p:cNvPr id="66" name="TextBox 39">
            <a:extLst>
              <a:ext uri="{FF2B5EF4-FFF2-40B4-BE49-F238E27FC236}">
                <a16:creationId xmlns:a16="http://schemas.microsoft.com/office/drawing/2014/main" xmlns="" id="{DC161A10-D6C9-4037-84AC-0CD2527D1EFD}"/>
              </a:ext>
            </a:extLst>
          </p:cNvPr>
          <p:cNvSpPr txBox="1"/>
          <p:nvPr/>
        </p:nvSpPr>
        <p:spPr>
          <a:xfrm>
            <a:off x="5925960" y="3175426"/>
            <a:ext cx="5667151" cy="2876044"/>
          </a:xfrm>
          <a:prstGeom prst="rect">
            <a:avLst/>
          </a:prstGeom>
          <a:solidFill>
            <a:srgbClr val="DDE3A0"/>
          </a:solidFill>
        </p:spPr>
        <p:txBody>
          <a:bodyPr wrap="square" rtlCol="0">
            <a:spAutoFit/>
          </a:bodyPr>
          <a:lstStyle/>
          <a:p>
            <a:pPr marL="571500" indent="-571500">
              <a:buFont typeface="Arial" panose="020B0604020202020204" pitchFamily="34" charset="0"/>
              <a:buChar char="•"/>
            </a:pPr>
            <a:r>
              <a:rPr lang="en-GB" sz="2800" dirty="0">
                <a:solidFill>
                  <a:srgbClr val="245473"/>
                </a:solidFill>
                <a:latin typeface="+mj-lt"/>
                <a:ea typeface="Lato Light" charset="0"/>
                <a:cs typeface="Lato Light" charset="0"/>
              </a:rPr>
              <a:t>Manage anxiety, don’t create it</a:t>
            </a:r>
          </a:p>
          <a:p>
            <a:pPr marL="571500" indent="-571500">
              <a:buFont typeface="Arial" panose="020B0604020202020204" pitchFamily="34" charset="0"/>
              <a:buChar char="•"/>
            </a:pPr>
            <a:r>
              <a:rPr lang="en-GB" sz="2800" dirty="0">
                <a:solidFill>
                  <a:srgbClr val="245473"/>
                </a:solidFill>
                <a:latin typeface="+mj-lt"/>
                <a:ea typeface="Lato Light" charset="0"/>
                <a:cs typeface="Lato Light" charset="0"/>
              </a:rPr>
              <a:t>Be brutally honest…and confident in a good outcome.</a:t>
            </a:r>
          </a:p>
          <a:p>
            <a:pPr marL="571500" indent="-571500">
              <a:buFont typeface="Arial" panose="020B0604020202020204" pitchFamily="34" charset="0"/>
              <a:buChar char="•"/>
            </a:pPr>
            <a:r>
              <a:rPr lang="en-GB" sz="2800" dirty="0">
                <a:solidFill>
                  <a:srgbClr val="245473"/>
                </a:solidFill>
                <a:latin typeface="+mj-lt"/>
                <a:ea typeface="Lato Light" charset="0"/>
                <a:cs typeface="Lato Light" charset="0"/>
              </a:rPr>
              <a:t>Be a closer; get things DONE!</a:t>
            </a:r>
          </a:p>
          <a:p>
            <a:pPr marL="571500" indent="-571500">
              <a:buFont typeface="Arial" panose="020B0604020202020204" pitchFamily="34" charset="0"/>
              <a:buChar char="•"/>
            </a:pPr>
            <a:r>
              <a:rPr lang="en-GB" sz="2800" dirty="0">
                <a:solidFill>
                  <a:srgbClr val="245473"/>
                </a:solidFill>
                <a:latin typeface="+mj-lt"/>
                <a:ea typeface="Lato Light" charset="0"/>
                <a:cs typeface="Lato Light" charset="0"/>
              </a:rPr>
              <a:t>Do not confuse management with leadership </a:t>
            </a:r>
          </a:p>
          <a:p>
            <a:pPr>
              <a:lnSpc>
                <a:spcPts val="1515"/>
              </a:lnSpc>
            </a:pPr>
            <a:endParaRPr lang="en-GB" sz="1600" dirty="0">
              <a:solidFill>
                <a:srgbClr val="245473"/>
              </a:solidFill>
              <a:latin typeface="+mj-lt"/>
              <a:ea typeface="Lato Light" charset="0"/>
              <a:cs typeface="Lato Light" charset="0"/>
            </a:endParaRPr>
          </a:p>
        </p:txBody>
      </p:sp>
      <p:sp>
        <p:nvSpPr>
          <p:cNvPr id="38" name="TextBox 37">
            <a:extLst>
              <a:ext uri="{FF2B5EF4-FFF2-40B4-BE49-F238E27FC236}">
                <a16:creationId xmlns:a16="http://schemas.microsoft.com/office/drawing/2014/main" xmlns="" id="{6DC49FF3-34EF-467C-8A83-6C9CDFCA76CB}"/>
              </a:ext>
            </a:extLst>
          </p:cNvPr>
          <p:cNvSpPr txBox="1"/>
          <p:nvPr/>
        </p:nvSpPr>
        <p:spPr>
          <a:xfrm>
            <a:off x="5784272" y="1846358"/>
            <a:ext cx="5950528" cy="1200329"/>
          </a:xfrm>
          <a:prstGeom prst="rect">
            <a:avLst/>
          </a:prstGeom>
          <a:noFill/>
        </p:spPr>
        <p:txBody>
          <a:bodyPr wrap="square">
            <a:spAutoFit/>
          </a:bodyPr>
          <a:lstStyle/>
          <a:p>
            <a:pPr algn="l">
              <a:lnSpc>
                <a:spcPct val="100000"/>
              </a:lnSpc>
              <a:spcBef>
                <a:spcPts val="600"/>
              </a:spcBef>
            </a:pPr>
            <a:r>
              <a:rPr lang="en-GB" altLang="de-DE" sz="1800" dirty="0">
                <a:solidFill>
                  <a:srgbClr val="245473"/>
                </a:solidFill>
                <a:latin typeface="+mj-lt"/>
              </a:rPr>
              <a:t>What leaders need during a crisis is not a predefined response plan but behaviours and mindsets that will prevent them from overreacting to yesterday’s developments and help them look ahead.</a:t>
            </a:r>
            <a:endParaRPr lang="en-GB" sz="1800" dirty="0">
              <a:solidFill>
                <a:srgbClr val="245473"/>
              </a:solidFill>
              <a:latin typeface="+mj-lt"/>
              <a:sym typeface="Wingdings" panose="05000000000000000000" pitchFamily="2" charset="2"/>
            </a:endParaRPr>
          </a:p>
        </p:txBody>
      </p:sp>
    </p:spTree>
    <p:extLst>
      <p:ext uri="{BB962C8B-B14F-4D97-AF65-F5344CB8AC3E}">
        <p14:creationId xmlns:p14="http://schemas.microsoft.com/office/powerpoint/2010/main" val="17266180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78258" y="512074"/>
            <a:ext cx="8852375" cy="697353"/>
          </a:xfrm>
        </p:spPr>
        <p:txBody>
          <a:bodyPr>
            <a:normAutofit/>
          </a:bodyPr>
          <a:lstStyle/>
          <a:p>
            <a:r>
              <a:rPr lang="en-GB" dirty="0"/>
              <a:t>Observations about Leadership</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43690" y="1913652"/>
            <a:ext cx="4313120" cy="514183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US" altLang="de-DE" sz="2000" dirty="0">
                <a:solidFill>
                  <a:srgbClr val="245473"/>
                </a:solidFill>
                <a:latin typeface="+mj-lt"/>
              </a:rPr>
              <a:t>The roles and responsibilities of business leaders change dramatically in times of crisis.</a:t>
            </a:r>
          </a:p>
          <a:p>
            <a:pPr algn="l">
              <a:lnSpc>
                <a:spcPct val="100000"/>
              </a:lnSpc>
              <a:spcBef>
                <a:spcPts val="600"/>
              </a:spcBef>
            </a:pPr>
            <a:r>
              <a:rPr lang="en-US" altLang="de-DE" sz="2000" dirty="0">
                <a:solidFill>
                  <a:srgbClr val="245473"/>
                </a:solidFill>
                <a:latin typeface="+mj-lt"/>
              </a:rPr>
              <a:t>In normal times, CEOs and other executives of growth companies focus on fostering innovation, driving revenue, and gaining market share.</a:t>
            </a:r>
          </a:p>
          <a:p>
            <a:pPr algn="l">
              <a:lnSpc>
                <a:spcPct val="100000"/>
              </a:lnSpc>
              <a:spcBef>
                <a:spcPts val="600"/>
              </a:spcBef>
            </a:pPr>
            <a:r>
              <a:rPr lang="en-US" altLang="de-DE" sz="2000" dirty="0">
                <a:solidFill>
                  <a:srgbClr val="245473"/>
                </a:solidFill>
                <a:latin typeface="+mj-lt"/>
              </a:rPr>
              <a:t> In times of crisis, many of those same leaders must make rapid decisions about controlling costs and maintaining liquidity. They may encounter unforeseen roadblocks — supply chain issues, team shortages, and operational challenges — that drastically alter the scope of their roles and priorities. </a:t>
            </a:r>
          </a:p>
          <a:p>
            <a:pPr marL="285750" indent="-285750" algn="l">
              <a:lnSpc>
                <a:spcPts val="1500"/>
              </a:lnSpc>
              <a:spcBef>
                <a:spcPts val="600"/>
              </a:spcBef>
              <a:buFont typeface="Wingdings" panose="05000000000000000000" pitchFamily="2" charset="2"/>
              <a:buChar char="à"/>
            </a:pPr>
            <a:endParaRPr lang="en-GB" sz="2000" dirty="0">
              <a:latin typeface="+mj-lt"/>
              <a:sym typeface="Wingdings" panose="05000000000000000000" pitchFamily="2" charset="2"/>
            </a:endParaRPr>
          </a:p>
        </p:txBody>
      </p:sp>
      <p:sp>
        <p:nvSpPr>
          <p:cNvPr id="120" name="Freeform 130">
            <a:extLst>
              <a:ext uri="{FF2B5EF4-FFF2-40B4-BE49-F238E27FC236}">
                <a16:creationId xmlns:a16="http://schemas.microsoft.com/office/drawing/2014/main" xmlns="" id="{CE018B9E-09BE-49F7-A7F3-47B2FE86B94A}"/>
              </a:ext>
            </a:extLst>
          </p:cNvPr>
          <p:cNvSpPr>
            <a:spLocks/>
          </p:cNvSpPr>
          <p:nvPr/>
        </p:nvSpPr>
        <p:spPr bwMode="auto">
          <a:xfrm>
            <a:off x="4454085" y="4038071"/>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5"/>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121" name="Oval 131">
            <a:extLst>
              <a:ext uri="{FF2B5EF4-FFF2-40B4-BE49-F238E27FC236}">
                <a16:creationId xmlns:a16="http://schemas.microsoft.com/office/drawing/2014/main" xmlns="" id="{8CE3B34E-EB13-495B-AFD1-610546EC7A21}"/>
              </a:ext>
            </a:extLst>
          </p:cNvPr>
          <p:cNvSpPr>
            <a:spLocks noChangeArrowheads="1"/>
          </p:cNvSpPr>
          <p:nvPr/>
        </p:nvSpPr>
        <p:spPr bwMode="auto">
          <a:xfrm>
            <a:off x="4493201" y="4069666"/>
            <a:ext cx="528090" cy="528090"/>
          </a:xfrm>
          <a:prstGeom prst="ellipse">
            <a:avLst/>
          </a:prstGeom>
          <a:solidFill>
            <a:schemeClr val="accent5">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22" name="Freeform 137">
            <a:extLst>
              <a:ext uri="{FF2B5EF4-FFF2-40B4-BE49-F238E27FC236}">
                <a16:creationId xmlns:a16="http://schemas.microsoft.com/office/drawing/2014/main" xmlns="" id="{9A1B3EA7-E0CE-4C64-BEEF-22C5AF1C0E4A}"/>
              </a:ext>
            </a:extLst>
          </p:cNvPr>
          <p:cNvSpPr>
            <a:spLocks/>
          </p:cNvSpPr>
          <p:nvPr/>
        </p:nvSpPr>
        <p:spPr bwMode="auto">
          <a:xfrm>
            <a:off x="8335720" y="4038071"/>
            <a:ext cx="3573253" cy="591280"/>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6"/>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23" name="Oval 138">
            <a:extLst>
              <a:ext uri="{FF2B5EF4-FFF2-40B4-BE49-F238E27FC236}">
                <a16:creationId xmlns:a16="http://schemas.microsoft.com/office/drawing/2014/main" xmlns="" id="{0B00978E-56F5-4742-B0EC-D81A3DCBF886}"/>
              </a:ext>
            </a:extLst>
          </p:cNvPr>
          <p:cNvSpPr>
            <a:spLocks noChangeArrowheads="1"/>
          </p:cNvSpPr>
          <p:nvPr/>
        </p:nvSpPr>
        <p:spPr bwMode="auto">
          <a:xfrm>
            <a:off x="11341765" y="4069667"/>
            <a:ext cx="528090" cy="528090"/>
          </a:xfrm>
          <a:prstGeom prst="ellipse">
            <a:avLst/>
          </a:prstGeom>
          <a:solidFill>
            <a:schemeClr val="accent6">
              <a:lumMod val="50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24" name="Rectangle 39">
            <a:extLst>
              <a:ext uri="{FF2B5EF4-FFF2-40B4-BE49-F238E27FC236}">
                <a16:creationId xmlns:a16="http://schemas.microsoft.com/office/drawing/2014/main" xmlns="" id="{B36848B5-BE75-4D52-BBA1-BE44435E0BCF}"/>
              </a:ext>
            </a:extLst>
          </p:cNvPr>
          <p:cNvSpPr>
            <a:spLocks/>
          </p:cNvSpPr>
          <p:nvPr/>
        </p:nvSpPr>
        <p:spPr bwMode="auto">
          <a:xfrm>
            <a:off x="11432621" y="4143210"/>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6</a:t>
            </a:r>
            <a:endParaRPr lang="en-GB" sz="2476" b="1" spc="113" dirty="0">
              <a:solidFill>
                <a:schemeClr val="bg1"/>
              </a:solidFill>
              <a:latin typeface="+mj-lt"/>
              <a:ea typeface="Roboto" charset="0"/>
              <a:cs typeface="Roboto" charset="0"/>
              <a:sym typeface="Bebas Neue" charset="0"/>
            </a:endParaRPr>
          </a:p>
        </p:txBody>
      </p:sp>
      <p:sp>
        <p:nvSpPr>
          <p:cNvPr id="125" name="TextBox 40">
            <a:extLst>
              <a:ext uri="{FF2B5EF4-FFF2-40B4-BE49-F238E27FC236}">
                <a16:creationId xmlns:a16="http://schemas.microsoft.com/office/drawing/2014/main" xmlns="" id="{5262F43F-CC03-45C1-8DBC-3A8F74FE8190}"/>
              </a:ext>
            </a:extLst>
          </p:cNvPr>
          <p:cNvSpPr txBox="1"/>
          <p:nvPr/>
        </p:nvSpPr>
        <p:spPr>
          <a:xfrm>
            <a:off x="8419187" y="4174231"/>
            <a:ext cx="2861867" cy="310341"/>
          </a:xfrm>
          <a:prstGeom prst="rect">
            <a:avLst/>
          </a:prstGeom>
          <a:noFill/>
        </p:spPr>
        <p:txBody>
          <a:bodyPr wrap="square" rtlCol="0">
            <a:spAutoFit/>
          </a:bodyPr>
          <a:lstStyle/>
          <a:p>
            <a:pPr algn="r">
              <a:lnSpc>
                <a:spcPts val="1665"/>
              </a:lnSpc>
            </a:pPr>
            <a:r>
              <a:rPr lang="en-GB" sz="1600" dirty="0">
                <a:solidFill>
                  <a:schemeClr val="bg1"/>
                </a:solidFill>
                <a:latin typeface="+mj-lt"/>
                <a:ea typeface="Lato Light" charset="0"/>
                <a:cs typeface="Lato Light" charset="0"/>
              </a:rPr>
              <a:t>You never stop learning</a:t>
            </a:r>
          </a:p>
        </p:txBody>
      </p:sp>
      <p:sp>
        <p:nvSpPr>
          <p:cNvPr id="126" name="TextBox 41">
            <a:extLst>
              <a:ext uri="{FF2B5EF4-FFF2-40B4-BE49-F238E27FC236}">
                <a16:creationId xmlns:a16="http://schemas.microsoft.com/office/drawing/2014/main" xmlns="" id="{21C0DF8E-0BC6-4291-A0C6-6242F5651A0E}"/>
              </a:ext>
            </a:extLst>
          </p:cNvPr>
          <p:cNvSpPr txBox="1"/>
          <p:nvPr/>
        </p:nvSpPr>
        <p:spPr>
          <a:xfrm>
            <a:off x="5098046" y="4174231"/>
            <a:ext cx="2861867" cy="310341"/>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It’s either good or bad </a:t>
            </a:r>
          </a:p>
        </p:txBody>
      </p:sp>
      <p:sp>
        <p:nvSpPr>
          <p:cNvPr id="127" name="Rectangle 43">
            <a:extLst>
              <a:ext uri="{FF2B5EF4-FFF2-40B4-BE49-F238E27FC236}">
                <a16:creationId xmlns:a16="http://schemas.microsoft.com/office/drawing/2014/main" xmlns="" id="{BA1EFBE4-80BA-4A95-92ED-578AFB94708E}"/>
              </a:ext>
            </a:extLst>
          </p:cNvPr>
          <p:cNvSpPr>
            <a:spLocks/>
          </p:cNvSpPr>
          <p:nvPr/>
        </p:nvSpPr>
        <p:spPr bwMode="auto">
          <a:xfrm>
            <a:off x="4584058" y="4143210"/>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5</a:t>
            </a:r>
            <a:endParaRPr lang="en-GB" sz="2476" b="1" spc="113" dirty="0">
              <a:solidFill>
                <a:schemeClr val="bg1"/>
              </a:solidFill>
              <a:latin typeface="+mj-lt"/>
              <a:ea typeface="Roboto" charset="0"/>
              <a:cs typeface="Roboto" charset="0"/>
              <a:sym typeface="Bebas Neue" charset="0"/>
            </a:endParaRPr>
          </a:p>
        </p:txBody>
      </p:sp>
      <p:sp>
        <p:nvSpPr>
          <p:cNvPr id="128" name="Freeform 130">
            <a:extLst>
              <a:ext uri="{FF2B5EF4-FFF2-40B4-BE49-F238E27FC236}">
                <a16:creationId xmlns:a16="http://schemas.microsoft.com/office/drawing/2014/main" xmlns="" id="{57C740C5-6929-44F6-A0AB-3391906D753C}"/>
              </a:ext>
            </a:extLst>
          </p:cNvPr>
          <p:cNvSpPr>
            <a:spLocks/>
          </p:cNvSpPr>
          <p:nvPr/>
        </p:nvSpPr>
        <p:spPr bwMode="auto">
          <a:xfrm>
            <a:off x="4454085" y="2214373"/>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129" name="Oval 131">
            <a:extLst>
              <a:ext uri="{FF2B5EF4-FFF2-40B4-BE49-F238E27FC236}">
                <a16:creationId xmlns:a16="http://schemas.microsoft.com/office/drawing/2014/main" xmlns="" id="{79BFBFFE-44A2-44B0-BB89-550DB0697D50}"/>
              </a:ext>
            </a:extLst>
          </p:cNvPr>
          <p:cNvSpPr>
            <a:spLocks noChangeArrowheads="1"/>
          </p:cNvSpPr>
          <p:nvPr/>
        </p:nvSpPr>
        <p:spPr bwMode="auto">
          <a:xfrm>
            <a:off x="4493201" y="2245968"/>
            <a:ext cx="528090" cy="528090"/>
          </a:xfrm>
          <a:prstGeom prst="ellipse">
            <a:avLst/>
          </a:pr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30" name="Freeform 137">
            <a:extLst>
              <a:ext uri="{FF2B5EF4-FFF2-40B4-BE49-F238E27FC236}">
                <a16:creationId xmlns:a16="http://schemas.microsoft.com/office/drawing/2014/main" xmlns="" id="{8A8BACB4-7529-420A-9423-2898A342D41E}"/>
              </a:ext>
            </a:extLst>
          </p:cNvPr>
          <p:cNvSpPr>
            <a:spLocks/>
          </p:cNvSpPr>
          <p:nvPr/>
        </p:nvSpPr>
        <p:spPr bwMode="auto">
          <a:xfrm>
            <a:off x="8335720" y="2214373"/>
            <a:ext cx="3573253" cy="591280"/>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31" name="Oval 138">
            <a:extLst>
              <a:ext uri="{FF2B5EF4-FFF2-40B4-BE49-F238E27FC236}">
                <a16:creationId xmlns:a16="http://schemas.microsoft.com/office/drawing/2014/main" xmlns="" id="{F91A9ECE-FAF6-483F-A7C8-2C1B450E1A46}"/>
              </a:ext>
            </a:extLst>
          </p:cNvPr>
          <p:cNvSpPr>
            <a:spLocks noChangeArrowheads="1"/>
          </p:cNvSpPr>
          <p:nvPr/>
        </p:nvSpPr>
        <p:spPr bwMode="auto">
          <a:xfrm>
            <a:off x="11341765" y="2245968"/>
            <a:ext cx="528090" cy="528090"/>
          </a:xfrm>
          <a:prstGeom prst="ellipse">
            <a:avLst/>
          </a:pr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32" name="Rectangle 53">
            <a:extLst>
              <a:ext uri="{FF2B5EF4-FFF2-40B4-BE49-F238E27FC236}">
                <a16:creationId xmlns:a16="http://schemas.microsoft.com/office/drawing/2014/main" xmlns="" id="{8577CC8D-9406-4182-AC6B-6904F69C9733}"/>
              </a:ext>
            </a:extLst>
          </p:cNvPr>
          <p:cNvSpPr>
            <a:spLocks/>
          </p:cNvSpPr>
          <p:nvPr/>
        </p:nvSpPr>
        <p:spPr bwMode="auto">
          <a:xfrm>
            <a:off x="11432621" y="2319512"/>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2</a:t>
            </a:r>
            <a:endParaRPr lang="en-GB" sz="2476" b="1" spc="113" dirty="0">
              <a:solidFill>
                <a:schemeClr val="bg1"/>
              </a:solidFill>
              <a:latin typeface="+mj-lt"/>
              <a:ea typeface="Roboto" charset="0"/>
              <a:cs typeface="Roboto" charset="0"/>
              <a:sym typeface="Bebas Neue" charset="0"/>
            </a:endParaRPr>
          </a:p>
        </p:txBody>
      </p:sp>
      <p:sp>
        <p:nvSpPr>
          <p:cNvPr id="133" name="TextBox 54">
            <a:extLst>
              <a:ext uri="{FF2B5EF4-FFF2-40B4-BE49-F238E27FC236}">
                <a16:creationId xmlns:a16="http://schemas.microsoft.com/office/drawing/2014/main" xmlns="" id="{55C47719-6B7D-49ED-B06D-9AB0F1D639C3}"/>
              </a:ext>
            </a:extLst>
          </p:cNvPr>
          <p:cNvSpPr txBox="1"/>
          <p:nvPr/>
        </p:nvSpPr>
        <p:spPr>
          <a:xfrm>
            <a:off x="8419187" y="2254735"/>
            <a:ext cx="2861867" cy="528350"/>
          </a:xfrm>
          <a:prstGeom prst="rect">
            <a:avLst/>
          </a:prstGeom>
          <a:noFill/>
        </p:spPr>
        <p:txBody>
          <a:bodyPr wrap="square" rtlCol="0">
            <a:spAutoFit/>
          </a:bodyPr>
          <a:lstStyle/>
          <a:p>
            <a:pPr algn="r">
              <a:lnSpc>
                <a:spcPts val="1665"/>
              </a:lnSpc>
            </a:pPr>
            <a:r>
              <a:rPr lang="en-GB" sz="1600" dirty="0">
                <a:solidFill>
                  <a:schemeClr val="bg1"/>
                </a:solidFill>
                <a:latin typeface="+mj-lt"/>
                <a:ea typeface="Lato Light" charset="0"/>
                <a:cs typeface="Lato Light" charset="0"/>
              </a:rPr>
              <a:t>It’s a (full) contact sport (and you are already in the game!)</a:t>
            </a:r>
          </a:p>
        </p:txBody>
      </p:sp>
      <p:sp>
        <p:nvSpPr>
          <p:cNvPr id="134" name="TextBox 55">
            <a:extLst>
              <a:ext uri="{FF2B5EF4-FFF2-40B4-BE49-F238E27FC236}">
                <a16:creationId xmlns:a16="http://schemas.microsoft.com/office/drawing/2014/main" xmlns="" id="{C863F26A-2EE0-4EC5-B56C-99E8A1C7AE3F}"/>
              </a:ext>
            </a:extLst>
          </p:cNvPr>
          <p:cNvSpPr txBox="1"/>
          <p:nvPr/>
        </p:nvSpPr>
        <p:spPr>
          <a:xfrm>
            <a:off x="5098046" y="2350532"/>
            <a:ext cx="2861867" cy="310341"/>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Leadership is not management</a:t>
            </a:r>
          </a:p>
        </p:txBody>
      </p:sp>
      <p:sp>
        <p:nvSpPr>
          <p:cNvPr id="135" name="Rectangle 56">
            <a:extLst>
              <a:ext uri="{FF2B5EF4-FFF2-40B4-BE49-F238E27FC236}">
                <a16:creationId xmlns:a16="http://schemas.microsoft.com/office/drawing/2014/main" xmlns="" id="{1E96AF54-D1E4-439F-ACBD-33B7C2630ACE}"/>
              </a:ext>
            </a:extLst>
          </p:cNvPr>
          <p:cNvSpPr>
            <a:spLocks/>
          </p:cNvSpPr>
          <p:nvPr/>
        </p:nvSpPr>
        <p:spPr bwMode="auto">
          <a:xfrm>
            <a:off x="4584058" y="2319512"/>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1</a:t>
            </a:r>
            <a:endParaRPr lang="en-GB" sz="2476" b="1" spc="113" dirty="0">
              <a:solidFill>
                <a:schemeClr val="bg1"/>
              </a:solidFill>
              <a:latin typeface="+mj-lt"/>
              <a:ea typeface="Roboto" charset="0"/>
              <a:cs typeface="Roboto" charset="0"/>
              <a:sym typeface="Bebas Neue" charset="0"/>
            </a:endParaRPr>
          </a:p>
        </p:txBody>
      </p:sp>
      <p:sp>
        <p:nvSpPr>
          <p:cNvPr id="136" name="Freeform 130">
            <a:extLst>
              <a:ext uri="{FF2B5EF4-FFF2-40B4-BE49-F238E27FC236}">
                <a16:creationId xmlns:a16="http://schemas.microsoft.com/office/drawing/2014/main" xmlns="" id="{9E269FCF-54D7-4A80-BFC6-FB6E35ED5391}"/>
              </a:ext>
            </a:extLst>
          </p:cNvPr>
          <p:cNvSpPr>
            <a:spLocks/>
          </p:cNvSpPr>
          <p:nvPr/>
        </p:nvSpPr>
        <p:spPr bwMode="auto">
          <a:xfrm>
            <a:off x="4454085" y="3126222"/>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137" name="Oval 131">
            <a:extLst>
              <a:ext uri="{FF2B5EF4-FFF2-40B4-BE49-F238E27FC236}">
                <a16:creationId xmlns:a16="http://schemas.microsoft.com/office/drawing/2014/main" xmlns="" id="{4D9DEAF4-671B-4F45-937C-7723331E429F}"/>
              </a:ext>
            </a:extLst>
          </p:cNvPr>
          <p:cNvSpPr>
            <a:spLocks noChangeArrowheads="1"/>
          </p:cNvSpPr>
          <p:nvPr/>
        </p:nvSpPr>
        <p:spPr bwMode="auto">
          <a:xfrm>
            <a:off x="4493201" y="3157817"/>
            <a:ext cx="528090" cy="528090"/>
          </a:xfrm>
          <a:prstGeom prst="ellipse">
            <a:avLst/>
          </a:prstGeom>
          <a:solidFill>
            <a:schemeClr val="accent3">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38" name="Freeform 137">
            <a:extLst>
              <a:ext uri="{FF2B5EF4-FFF2-40B4-BE49-F238E27FC236}">
                <a16:creationId xmlns:a16="http://schemas.microsoft.com/office/drawing/2014/main" xmlns="" id="{412AF4C9-C29F-41A7-AE89-1F0C4CCBE46C}"/>
              </a:ext>
            </a:extLst>
          </p:cNvPr>
          <p:cNvSpPr>
            <a:spLocks/>
          </p:cNvSpPr>
          <p:nvPr/>
        </p:nvSpPr>
        <p:spPr bwMode="auto">
          <a:xfrm>
            <a:off x="8335720" y="3126222"/>
            <a:ext cx="3573253" cy="591280"/>
          </a:xfrm>
          <a:custGeom>
            <a:avLst/>
            <a:gdLst>
              <a:gd name="T0" fmla="*/ 0 w 2650"/>
              <a:gd name="T1" fmla="*/ 219 h 438"/>
              <a:gd name="T2" fmla="*/ 219 w 2650"/>
              <a:gd name="T3" fmla="*/ 438 h 438"/>
              <a:gd name="T4" fmla="*/ 2431 w 2650"/>
              <a:gd name="T5" fmla="*/ 438 h 438"/>
              <a:gd name="T6" fmla="*/ 2650 w 2650"/>
              <a:gd name="T7" fmla="*/ 219 h 438"/>
              <a:gd name="T8" fmla="*/ 2431 w 2650"/>
              <a:gd name="T9" fmla="*/ 0 h 438"/>
              <a:gd name="T10" fmla="*/ 219 w 2650"/>
              <a:gd name="T11" fmla="*/ 0 h 438"/>
              <a:gd name="T12" fmla="*/ 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0" y="219"/>
                </a:moveTo>
                <a:cubicBezTo>
                  <a:pt x="0" y="340"/>
                  <a:pt x="98" y="438"/>
                  <a:pt x="219" y="438"/>
                </a:cubicBezTo>
                <a:cubicBezTo>
                  <a:pt x="2431" y="438"/>
                  <a:pt x="2431" y="438"/>
                  <a:pt x="2431" y="438"/>
                </a:cubicBezTo>
                <a:cubicBezTo>
                  <a:pt x="2552" y="438"/>
                  <a:pt x="2650" y="340"/>
                  <a:pt x="2650" y="219"/>
                </a:cubicBezTo>
                <a:cubicBezTo>
                  <a:pt x="2650" y="98"/>
                  <a:pt x="2552" y="0"/>
                  <a:pt x="2431" y="0"/>
                </a:cubicBezTo>
                <a:cubicBezTo>
                  <a:pt x="219" y="0"/>
                  <a:pt x="219" y="0"/>
                  <a:pt x="219" y="0"/>
                </a:cubicBezTo>
                <a:cubicBezTo>
                  <a:pt x="98" y="0"/>
                  <a:pt x="0" y="98"/>
                  <a:pt x="0" y="219"/>
                </a:cubicBezTo>
                <a:close/>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39" name="Oval 138">
            <a:extLst>
              <a:ext uri="{FF2B5EF4-FFF2-40B4-BE49-F238E27FC236}">
                <a16:creationId xmlns:a16="http://schemas.microsoft.com/office/drawing/2014/main" xmlns="" id="{1013468F-362F-4394-8ACC-F1F73F20F5C6}"/>
              </a:ext>
            </a:extLst>
          </p:cNvPr>
          <p:cNvSpPr>
            <a:spLocks noChangeArrowheads="1"/>
          </p:cNvSpPr>
          <p:nvPr/>
        </p:nvSpPr>
        <p:spPr bwMode="auto">
          <a:xfrm>
            <a:off x="11341765" y="3157818"/>
            <a:ext cx="528090" cy="528090"/>
          </a:xfrm>
          <a:prstGeom prst="ellipse">
            <a:avLst/>
          </a:prstGeom>
          <a:solidFill>
            <a:schemeClr val="accent4">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40" name="Rectangle 83">
            <a:extLst>
              <a:ext uri="{FF2B5EF4-FFF2-40B4-BE49-F238E27FC236}">
                <a16:creationId xmlns:a16="http://schemas.microsoft.com/office/drawing/2014/main" xmlns="" id="{AECCFF46-50FB-4B89-AD74-60B341535D82}"/>
              </a:ext>
            </a:extLst>
          </p:cNvPr>
          <p:cNvSpPr>
            <a:spLocks/>
          </p:cNvSpPr>
          <p:nvPr/>
        </p:nvSpPr>
        <p:spPr bwMode="auto">
          <a:xfrm>
            <a:off x="11432621" y="3231361"/>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4</a:t>
            </a:r>
            <a:endParaRPr lang="en-GB" sz="2476" b="1" spc="113" dirty="0">
              <a:solidFill>
                <a:schemeClr val="bg1"/>
              </a:solidFill>
              <a:latin typeface="+mj-lt"/>
              <a:ea typeface="Roboto" charset="0"/>
              <a:cs typeface="Roboto" charset="0"/>
              <a:sym typeface="Bebas Neue" charset="0"/>
            </a:endParaRPr>
          </a:p>
        </p:txBody>
      </p:sp>
      <p:sp>
        <p:nvSpPr>
          <p:cNvPr id="141" name="TextBox 84">
            <a:extLst>
              <a:ext uri="{FF2B5EF4-FFF2-40B4-BE49-F238E27FC236}">
                <a16:creationId xmlns:a16="http://schemas.microsoft.com/office/drawing/2014/main" xmlns="" id="{A7FC5A73-C7A1-4DE2-8DC8-010005C2F539}"/>
              </a:ext>
            </a:extLst>
          </p:cNvPr>
          <p:cNvSpPr txBox="1"/>
          <p:nvPr/>
        </p:nvSpPr>
        <p:spPr>
          <a:xfrm>
            <a:off x="8419187" y="3262382"/>
            <a:ext cx="2861867" cy="310341"/>
          </a:xfrm>
          <a:prstGeom prst="rect">
            <a:avLst/>
          </a:prstGeom>
          <a:noFill/>
        </p:spPr>
        <p:txBody>
          <a:bodyPr wrap="square" rtlCol="0">
            <a:spAutoFit/>
          </a:bodyPr>
          <a:lstStyle/>
          <a:p>
            <a:pPr algn="r">
              <a:lnSpc>
                <a:spcPts val="1665"/>
              </a:lnSpc>
            </a:pPr>
            <a:r>
              <a:rPr lang="en-GB" sz="1600" dirty="0">
                <a:solidFill>
                  <a:schemeClr val="bg1"/>
                </a:solidFill>
                <a:latin typeface="+mj-lt"/>
                <a:ea typeface="Lato Light" charset="0"/>
                <a:cs typeface="Lato Light" charset="0"/>
              </a:rPr>
              <a:t>It’s always situational</a:t>
            </a:r>
          </a:p>
        </p:txBody>
      </p:sp>
      <p:sp>
        <p:nvSpPr>
          <p:cNvPr id="142" name="TextBox 85">
            <a:extLst>
              <a:ext uri="{FF2B5EF4-FFF2-40B4-BE49-F238E27FC236}">
                <a16:creationId xmlns:a16="http://schemas.microsoft.com/office/drawing/2014/main" xmlns="" id="{01647D6B-11DC-4ABC-9A0A-08E590A6D7CF}"/>
              </a:ext>
            </a:extLst>
          </p:cNvPr>
          <p:cNvSpPr txBox="1"/>
          <p:nvPr/>
        </p:nvSpPr>
        <p:spPr>
          <a:xfrm>
            <a:off x="5098046" y="3262382"/>
            <a:ext cx="2861867" cy="310341"/>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There is no single style</a:t>
            </a:r>
          </a:p>
        </p:txBody>
      </p:sp>
      <p:sp>
        <p:nvSpPr>
          <p:cNvPr id="143" name="Rectangle 86">
            <a:extLst>
              <a:ext uri="{FF2B5EF4-FFF2-40B4-BE49-F238E27FC236}">
                <a16:creationId xmlns:a16="http://schemas.microsoft.com/office/drawing/2014/main" xmlns="" id="{00F0F407-71CF-41C5-AB67-C48C406C0C1F}"/>
              </a:ext>
            </a:extLst>
          </p:cNvPr>
          <p:cNvSpPr>
            <a:spLocks/>
          </p:cNvSpPr>
          <p:nvPr/>
        </p:nvSpPr>
        <p:spPr bwMode="auto">
          <a:xfrm>
            <a:off x="4584058" y="3231361"/>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3</a:t>
            </a:r>
            <a:endParaRPr lang="en-GB" sz="2476" b="1" spc="113" dirty="0">
              <a:solidFill>
                <a:schemeClr val="bg1"/>
              </a:solidFill>
              <a:latin typeface="+mj-lt"/>
              <a:ea typeface="Roboto" charset="0"/>
              <a:cs typeface="Roboto" charset="0"/>
              <a:sym typeface="Bebas Neue" charset="0"/>
            </a:endParaRPr>
          </a:p>
        </p:txBody>
      </p:sp>
      <p:sp>
        <p:nvSpPr>
          <p:cNvPr id="144" name="Freeform 130">
            <a:extLst>
              <a:ext uri="{FF2B5EF4-FFF2-40B4-BE49-F238E27FC236}">
                <a16:creationId xmlns:a16="http://schemas.microsoft.com/office/drawing/2014/main" xmlns="" id="{5D0ECFE5-9FB3-405B-B37F-8A2B5A8B550D}"/>
              </a:ext>
            </a:extLst>
          </p:cNvPr>
          <p:cNvSpPr>
            <a:spLocks/>
          </p:cNvSpPr>
          <p:nvPr/>
        </p:nvSpPr>
        <p:spPr bwMode="auto">
          <a:xfrm>
            <a:off x="4454085" y="4942860"/>
            <a:ext cx="3573253" cy="591280"/>
          </a:xfrm>
          <a:custGeom>
            <a:avLst/>
            <a:gdLst>
              <a:gd name="T0" fmla="*/ 2650 w 2650"/>
              <a:gd name="T1" fmla="*/ 219 h 438"/>
              <a:gd name="T2" fmla="*/ 2432 w 2650"/>
              <a:gd name="T3" fmla="*/ 438 h 438"/>
              <a:gd name="T4" fmla="*/ 219 w 2650"/>
              <a:gd name="T5" fmla="*/ 438 h 438"/>
              <a:gd name="T6" fmla="*/ 0 w 2650"/>
              <a:gd name="T7" fmla="*/ 219 h 438"/>
              <a:gd name="T8" fmla="*/ 219 w 2650"/>
              <a:gd name="T9" fmla="*/ 0 h 438"/>
              <a:gd name="T10" fmla="*/ 2432 w 2650"/>
              <a:gd name="T11" fmla="*/ 0 h 438"/>
              <a:gd name="T12" fmla="*/ 2650 w 2650"/>
              <a:gd name="T13" fmla="*/ 219 h 438"/>
            </a:gdLst>
            <a:ahLst/>
            <a:cxnLst>
              <a:cxn ang="0">
                <a:pos x="T0" y="T1"/>
              </a:cxn>
              <a:cxn ang="0">
                <a:pos x="T2" y="T3"/>
              </a:cxn>
              <a:cxn ang="0">
                <a:pos x="T4" y="T5"/>
              </a:cxn>
              <a:cxn ang="0">
                <a:pos x="T6" y="T7"/>
              </a:cxn>
              <a:cxn ang="0">
                <a:pos x="T8" y="T9"/>
              </a:cxn>
              <a:cxn ang="0">
                <a:pos x="T10" y="T11"/>
              </a:cxn>
              <a:cxn ang="0">
                <a:pos x="T12" y="T13"/>
              </a:cxn>
            </a:cxnLst>
            <a:rect l="0" t="0" r="r" b="b"/>
            <a:pathLst>
              <a:path w="2650" h="438">
                <a:moveTo>
                  <a:pt x="2650" y="219"/>
                </a:moveTo>
                <a:cubicBezTo>
                  <a:pt x="2650" y="340"/>
                  <a:pt x="2552" y="438"/>
                  <a:pt x="2432" y="438"/>
                </a:cubicBezTo>
                <a:cubicBezTo>
                  <a:pt x="219" y="438"/>
                  <a:pt x="219" y="438"/>
                  <a:pt x="219" y="438"/>
                </a:cubicBezTo>
                <a:cubicBezTo>
                  <a:pt x="98" y="438"/>
                  <a:pt x="0" y="340"/>
                  <a:pt x="0" y="219"/>
                </a:cubicBezTo>
                <a:cubicBezTo>
                  <a:pt x="0" y="98"/>
                  <a:pt x="98" y="0"/>
                  <a:pt x="219" y="0"/>
                </a:cubicBezTo>
                <a:cubicBezTo>
                  <a:pt x="2432" y="0"/>
                  <a:pt x="2432" y="0"/>
                  <a:pt x="2432" y="0"/>
                </a:cubicBezTo>
                <a:cubicBezTo>
                  <a:pt x="2552" y="0"/>
                  <a:pt x="2650" y="98"/>
                  <a:pt x="2650" y="219"/>
                </a:cubicBez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1350" b="1" dirty="0">
              <a:solidFill>
                <a:schemeClr val="accent1"/>
              </a:solidFill>
              <a:latin typeface="+mj-lt"/>
            </a:endParaRPr>
          </a:p>
        </p:txBody>
      </p:sp>
      <p:sp>
        <p:nvSpPr>
          <p:cNvPr id="145" name="Oval 131">
            <a:extLst>
              <a:ext uri="{FF2B5EF4-FFF2-40B4-BE49-F238E27FC236}">
                <a16:creationId xmlns:a16="http://schemas.microsoft.com/office/drawing/2014/main" xmlns="" id="{EAE5233F-CF30-4166-A7AE-8A946A4986F3}"/>
              </a:ext>
            </a:extLst>
          </p:cNvPr>
          <p:cNvSpPr>
            <a:spLocks noChangeArrowheads="1"/>
          </p:cNvSpPr>
          <p:nvPr/>
        </p:nvSpPr>
        <p:spPr bwMode="auto">
          <a:xfrm>
            <a:off x="4493201" y="4974455"/>
            <a:ext cx="528090" cy="528090"/>
          </a:xfrm>
          <a:prstGeom prst="ellipse">
            <a:avLst/>
          </a:prstGeom>
          <a:solidFill>
            <a:schemeClr val="accent2">
              <a:lumMod val="50000"/>
            </a:schemeClr>
          </a:solidFill>
          <a:ln>
            <a:noFill/>
          </a:ln>
        </p:spPr>
        <p:txBody>
          <a:bodyPr vert="horz" wrap="square" lIns="34290" tIns="17145" rIns="34290" bIns="17145" numCol="1" anchor="t" anchorCtr="0" compatLnSpc="1">
            <a:prstTxWarp prst="textNoShape">
              <a:avLst/>
            </a:prstTxWarp>
          </a:bodyPr>
          <a:lstStyle/>
          <a:p>
            <a:endParaRPr lang="en-GB" sz="1350" b="1" dirty="0">
              <a:latin typeface="+mj-lt"/>
            </a:endParaRPr>
          </a:p>
        </p:txBody>
      </p:sp>
      <p:sp>
        <p:nvSpPr>
          <p:cNvPr id="146" name="TextBox 41">
            <a:extLst>
              <a:ext uri="{FF2B5EF4-FFF2-40B4-BE49-F238E27FC236}">
                <a16:creationId xmlns:a16="http://schemas.microsoft.com/office/drawing/2014/main" xmlns="" id="{3E03662B-E39A-4097-81DF-1E8D70BBA4C0}"/>
              </a:ext>
            </a:extLst>
          </p:cNvPr>
          <p:cNvSpPr txBox="1"/>
          <p:nvPr/>
        </p:nvSpPr>
        <p:spPr>
          <a:xfrm>
            <a:off x="5098046" y="5079020"/>
            <a:ext cx="2861867" cy="310341"/>
          </a:xfrm>
          <a:prstGeom prst="rect">
            <a:avLst/>
          </a:prstGeom>
          <a:noFill/>
        </p:spPr>
        <p:txBody>
          <a:bodyPr wrap="square" rtlCol="0">
            <a:spAutoFit/>
          </a:bodyPr>
          <a:lstStyle/>
          <a:p>
            <a:pPr>
              <a:lnSpc>
                <a:spcPts val="1665"/>
              </a:lnSpc>
            </a:pPr>
            <a:r>
              <a:rPr lang="en-GB" sz="1600" dirty="0">
                <a:solidFill>
                  <a:schemeClr val="bg1"/>
                </a:solidFill>
                <a:latin typeface="+mj-lt"/>
                <a:ea typeface="Lato Light" charset="0"/>
                <a:cs typeface="Lato Light" charset="0"/>
              </a:rPr>
              <a:t>You can lead by serving</a:t>
            </a:r>
          </a:p>
        </p:txBody>
      </p:sp>
      <p:sp>
        <p:nvSpPr>
          <p:cNvPr id="147" name="Rectangle 43">
            <a:extLst>
              <a:ext uri="{FF2B5EF4-FFF2-40B4-BE49-F238E27FC236}">
                <a16:creationId xmlns:a16="http://schemas.microsoft.com/office/drawing/2014/main" xmlns="" id="{682190E4-9177-48A3-903D-56CF3746D384}"/>
              </a:ext>
            </a:extLst>
          </p:cNvPr>
          <p:cNvSpPr>
            <a:spLocks/>
          </p:cNvSpPr>
          <p:nvPr/>
        </p:nvSpPr>
        <p:spPr bwMode="auto">
          <a:xfrm>
            <a:off x="4584058" y="5047999"/>
            <a:ext cx="346377" cy="381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none" lIns="0" tIns="0" rIns="0" bIns="0" anchor="ctr">
            <a:spAutoFit/>
          </a:bodyPr>
          <a:lstStyle/>
          <a:p>
            <a:pPr algn="ctr"/>
            <a:r>
              <a:rPr lang="en-GB" sz="2476" b="1" spc="113">
                <a:solidFill>
                  <a:schemeClr val="bg1"/>
                </a:solidFill>
                <a:latin typeface="+mj-lt"/>
                <a:ea typeface="Roboto" charset="0"/>
                <a:cs typeface="Roboto" charset="0"/>
                <a:sym typeface="Bebas Neue" charset="0"/>
              </a:rPr>
              <a:t>07</a:t>
            </a:r>
            <a:endParaRPr lang="en-GB" sz="2476" b="1" spc="113" dirty="0">
              <a:solidFill>
                <a:schemeClr val="bg1"/>
              </a:solidFill>
              <a:latin typeface="+mj-lt"/>
              <a:ea typeface="Roboto" charset="0"/>
              <a:cs typeface="Roboto" charset="0"/>
              <a:sym typeface="Bebas Neue" charset="0"/>
            </a:endParaRPr>
          </a:p>
        </p:txBody>
      </p:sp>
      <p:sp>
        <p:nvSpPr>
          <p:cNvPr id="33" name="Subtitle 2">
            <a:extLst>
              <a:ext uri="{FF2B5EF4-FFF2-40B4-BE49-F238E27FC236}">
                <a16:creationId xmlns:a16="http://schemas.microsoft.com/office/drawing/2014/main" xmlns="" id="{BB18147C-8A73-4AAC-8EBA-D3C094D222B1}"/>
              </a:ext>
            </a:extLst>
          </p:cNvPr>
          <p:cNvSpPr txBox="1">
            <a:spLocks/>
          </p:cNvSpPr>
          <p:nvPr/>
        </p:nvSpPr>
        <p:spPr>
          <a:xfrm>
            <a:off x="8296602" y="4784695"/>
            <a:ext cx="3573253" cy="173667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spcBef>
                <a:spcPts val="600"/>
              </a:spcBef>
            </a:pPr>
            <a:r>
              <a:rPr lang="en-US" sz="1800" dirty="0">
                <a:solidFill>
                  <a:srgbClr val="F95C2C"/>
                </a:solidFill>
                <a:latin typeface="+mj-lt"/>
                <a:sym typeface="Wingdings" panose="05000000000000000000" pitchFamily="2" charset="2"/>
              </a:rPr>
              <a:t>This is not an easy transition. Those in charge will be tested in areas where they have not fully developed their leadership muscles, and the learning curve will be steep.</a:t>
            </a:r>
          </a:p>
          <a:p>
            <a:pPr marL="285750" indent="-285750" algn="l">
              <a:lnSpc>
                <a:spcPts val="1500"/>
              </a:lnSpc>
              <a:spcBef>
                <a:spcPts val="600"/>
              </a:spcBef>
              <a:buFont typeface="Wingdings" panose="05000000000000000000" pitchFamily="2" charset="2"/>
              <a:buChar char="à"/>
            </a:pPr>
            <a:endParaRPr lang="en-GB" sz="1400" dirty="0">
              <a:latin typeface="+mj-lt"/>
              <a:sym typeface="Wingdings" panose="05000000000000000000" pitchFamily="2" charset="2"/>
            </a:endParaRPr>
          </a:p>
        </p:txBody>
      </p:sp>
    </p:spTree>
    <p:extLst>
      <p:ext uri="{BB962C8B-B14F-4D97-AF65-F5344CB8AC3E}">
        <p14:creationId xmlns:p14="http://schemas.microsoft.com/office/powerpoint/2010/main" val="15770812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484154" y="524626"/>
            <a:ext cx="8852375" cy="697353"/>
          </a:xfrm>
        </p:spPr>
        <p:txBody>
          <a:bodyPr>
            <a:normAutofit/>
          </a:bodyPr>
          <a:lstStyle/>
          <a:p>
            <a:r>
              <a:rPr lang="en-GB" dirty="0"/>
              <a:t>Leadership vs. Management</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154569" y="1762167"/>
            <a:ext cx="5144543" cy="19290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Some questions are asked.  Does a manager has to be a leader too? Does a leader have to be a manager as well? It is possible to be a boss in a company without being a leader. Managers are appointed but leaders may be appointed or emerge.</a:t>
            </a:r>
          </a:p>
        </p:txBody>
      </p:sp>
      <p:sp>
        <p:nvSpPr>
          <p:cNvPr id="48" name="Freeform: Shape 7432">
            <a:extLst>
              <a:ext uri="{FF2B5EF4-FFF2-40B4-BE49-F238E27FC236}">
                <a16:creationId xmlns:a16="http://schemas.microsoft.com/office/drawing/2014/main" xmlns="" id="{2E62CB37-3D71-4DC3-BB7D-CC3E9AB39B96}"/>
              </a:ext>
            </a:extLst>
          </p:cNvPr>
          <p:cNvSpPr/>
          <p:nvPr/>
        </p:nvSpPr>
        <p:spPr>
          <a:xfrm>
            <a:off x="8624963" y="2236975"/>
            <a:ext cx="3423133" cy="2557300"/>
          </a:xfrm>
          <a:custGeom>
            <a:avLst/>
            <a:gdLst/>
            <a:ahLst/>
            <a:cxnLst>
              <a:cxn ang="3cd4">
                <a:pos x="hc" y="t"/>
              </a:cxn>
              <a:cxn ang="cd2">
                <a:pos x="l" y="vc"/>
              </a:cxn>
              <a:cxn ang="cd4">
                <a:pos x="hc" y="b"/>
              </a:cxn>
              <a:cxn ang="0">
                <a:pos x="r" y="vc"/>
              </a:cxn>
            </a:cxnLst>
            <a:rect l="l" t="t" r="r" b="b"/>
            <a:pathLst>
              <a:path w="2555" h="1909">
                <a:moveTo>
                  <a:pt x="167" y="1584"/>
                </a:moveTo>
                <a:lnTo>
                  <a:pt x="167" y="457"/>
                </a:lnTo>
                <a:lnTo>
                  <a:pt x="0" y="541"/>
                </a:lnTo>
                <a:lnTo>
                  <a:pt x="0" y="216"/>
                </a:lnTo>
                <a:lnTo>
                  <a:pt x="432" y="0"/>
                </a:lnTo>
                <a:lnTo>
                  <a:pt x="865" y="216"/>
                </a:lnTo>
                <a:lnTo>
                  <a:pt x="864" y="541"/>
                </a:lnTo>
                <a:lnTo>
                  <a:pt x="697" y="457"/>
                </a:lnTo>
                <a:lnTo>
                  <a:pt x="697" y="1380"/>
                </a:lnTo>
                <a:lnTo>
                  <a:pt x="2555" y="1380"/>
                </a:lnTo>
                <a:lnTo>
                  <a:pt x="2555" y="1909"/>
                </a:lnTo>
                <a:lnTo>
                  <a:pt x="492" y="1909"/>
                </a:lnTo>
                <a:close/>
              </a:path>
            </a:pathLst>
          </a:custGeom>
          <a:solidFill>
            <a:schemeClr val="accent2"/>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49" name="Freeform: Shape 7433">
            <a:extLst>
              <a:ext uri="{FF2B5EF4-FFF2-40B4-BE49-F238E27FC236}">
                <a16:creationId xmlns:a16="http://schemas.microsoft.com/office/drawing/2014/main" xmlns="" id="{5270AED3-58F2-44E8-88D0-3B52CE1AFA6F}"/>
              </a:ext>
            </a:extLst>
          </p:cNvPr>
          <p:cNvSpPr/>
          <p:nvPr/>
        </p:nvSpPr>
        <p:spPr>
          <a:xfrm>
            <a:off x="5299113" y="2248233"/>
            <a:ext cx="3424473" cy="2557300"/>
          </a:xfrm>
          <a:custGeom>
            <a:avLst/>
            <a:gdLst/>
            <a:ahLst/>
            <a:cxnLst>
              <a:cxn ang="3cd4">
                <a:pos x="hc" y="t"/>
              </a:cxn>
              <a:cxn ang="cd2">
                <a:pos x="l" y="vc"/>
              </a:cxn>
              <a:cxn ang="cd4">
                <a:pos x="hc" y="b"/>
              </a:cxn>
              <a:cxn ang="0">
                <a:pos x="r" y="vc"/>
              </a:cxn>
            </a:cxnLst>
            <a:rect l="l" t="t" r="r" b="b"/>
            <a:pathLst>
              <a:path w="2556" h="1909">
                <a:moveTo>
                  <a:pt x="2388" y="324"/>
                </a:moveTo>
                <a:lnTo>
                  <a:pt x="2388" y="1451"/>
                </a:lnTo>
                <a:lnTo>
                  <a:pt x="2556" y="1367"/>
                </a:lnTo>
                <a:lnTo>
                  <a:pt x="2556" y="1693"/>
                </a:lnTo>
                <a:lnTo>
                  <a:pt x="2123" y="1909"/>
                </a:lnTo>
                <a:lnTo>
                  <a:pt x="1690" y="1693"/>
                </a:lnTo>
                <a:lnTo>
                  <a:pt x="1691" y="1367"/>
                </a:lnTo>
                <a:lnTo>
                  <a:pt x="1858" y="1451"/>
                </a:lnTo>
                <a:lnTo>
                  <a:pt x="1858" y="529"/>
                </a:lnTo>
                <a:lnTo>
                  <a:pt x="0" y="529"/>
                </a:lnTo>
                <a:lnTo>
                  <a:pt x="0" y="0"/>
                </a:lnTo>
                <a:lnTo>
                  <a:pt x="2063" y="0"/>
                </a:lnTo>
                <a:close/>
              </a:path>
            </a:pathLst>
          </a:custGeom>
          <a:solidFill>
            <a:schemeClr val="accent1"/>
          </a:solidFill>
          <a:ln cap="flat">
            <a:noFill/>
            <a:prstDash val="solid"/>
          </a:ln>
        </p:spPr>
        <p:txBody>
          <a:bodyPr vert="horz" wrap="none" lIns="45000" tIns="22500" rIns="45000" bIns="22500" anchor="ctr" anchorCtr="1" compatLnSpc="0"/>
          <a:lstStyle/>
          <a:p>
            <a:pPr hangingPunct="0"/>
            <a:endParaRPr lang="en-GB" sz="900" dirty="0">
              <a:latin typeface="Arial" pitchFamily="18"/>
              <a:ea typeface="Arial Unicode MS" pitchFamily="2"/>
              <a:cs typeface="Arial Unicode MS" pitchFamily="2"/>
            </a:endParaRPr>
          </a:p>
        </p:txBody>
      </p:sp>
      <p:sp>
        <p:nvSpPr>
          <p:cNvPr id="78" name="Text Placeholder 33">
            <a:extLst>
              <a:ext uri="{FF2B5EF4-FFF2-40B4-BE49-F238E27FC236}">
                <a16:creationId xmlns:a16="http://schemas.microsoft.com/office/drawing/2014/main" xmlns="" id="{1144EDB7-CAE2-49C3-85F1-1EF3217227C4}"/>
              </a:ext>
            </a:extLst>
          </p:cNvPr>
          <p:cNvSpPr txBox="1">
            <a:spLocks/>
          </p:cNvSpPr>
          <p:nvPr/>
        </p:nvSpPr>
        <p:spPr>
          <a:xfrm>
            <a:off x="5575145" y="2398276"/>
            <a:ext cx="2314575" cy="407378"/>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GB" sz="2400" dirty="0">
                <a:solidFill>
                  <a:schemeClr val="bg1"/>
                </a:solidFill>
                <a:latin typeface="+mj-lt"/>
                <a:cs typeface="Roboto Regular"/>
              </a:rPr>
              <a:t>Management</a:t>
            </a:r>
          </a:p>
        </p:txBody>
      </p:sp>
      <p:sp>
        <p:nvSpPr>
          <p:cNvPr id="82" name="Text Placeholder 33">
            <a:extLst>
              <a:ext uri="{FF2B5EF4-FFF2-40B4-BE49-F238E27FC236}">
                <a16:creationId xmlns:a16="http://schemas.microsoft.com/office/drawing/2014/main" xmlns="" id="{C91179E3-95B8-4C7E-9F7F-EC7FC116A5F8}"/>
              </a:ext>
            </a:extLst>
          </p:cNvPr>
          <p:cNvSpPr txBox="1">
            <a:spLocks/>
          </p:cNvSpPr>
          <p:nvPr/>
        </p:nvSpPr>
        <p:spPr>
          <a:xfrm>
            <a:off x="9547355" y="4183209"/>
            <a:ext cx="2409825" cy="407378"/>
          </a:xfrm>
          <a:prstGeom prst="rect">
            <a:avLst/>
          </a:prstGeom>
        </p:spPr>
        <p:txBody>
          <a:bodyPr wrap="square" lIns="0" tIns="0" rIns="0" bIns="0"/>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Neris Thin" panose="00000300000000000000" pitchFamily="50"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Neris Thin" panose="00000300000000000000" pitchFamily="50"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Neris Thin" panose="00000300000000000000" pitchFamily="50"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Neris Thin" panose="00000300000000000000" pitchFamily="50"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a:lnSpc>
                <a:spcPct val="100000"/>
              </a:lnSpc>
              <a:buNone/>
            </a:pPr>
            <a:r>
              <a:rPr lang="en-GB" sz="2400" b="1" dirty="0">
                <a:solidFill>
                  <a:schemeClr val="bg1"/>
                </a:solidFill>
                <a:latin typeface="+mj-lt"/>
                <a:cs typeface="Roboto Regular"/>
              </a:rPr>
              <a:t>Leadership</a:t>
            </a:r>
            <a:endParaRPr lang="en-GB" sz="2400" dirty="0">
              <a:solidFill>
                <a:schemeClr val="bg1"/>
              </a:solidFill>
              <a:latin typeface="+mj-lt"/>
              <a:cs typeface="Roboto Regular"/>
            </a:endParaRPr>
          </a:p>
        </p:txBody>
      </p:sp>
      <p:sp>
        <p:nvSpPr>
          <p:cNvPr id="4" name="Textfeld 3">
            <a:extLst>
              <a:ext uri="{FF2B5EF4-FFF2-40B4-BE49-F238E27FC236}">
                <a16:creationId xmlns:a16="http://schemas.microsoft.com/office/drawing/2014/main" xmlns="" id="{BA5737D9-F6C8-4A57-8BBF-F5B13627D3FB}"/>
              </a:ext>
            </a:extLst>
          </p:cNvPr>
          <p:cNvSpPr txBox="1"/>
          <p:nvPr/>
        </p:nvSpPr>
        <p:spPr>
          <a:xfrm>
            <a:off x="9685171" y="3203718"/>
            <a:ext cx="2397885" cy="707886"/>
          </a:xfrm>
          <a:prstGeom prst="rect">
            <a:avLst/>
          </a:prstGeom>
          <a:noFill/>
        </p:spPr>
        <p:txBody>
          <a:bodyPr wrap="square" rtlCol="0">
            <a:spAutoFit/>
          </a:bodyPr>
          <a:lstStyle/>
          <a:p>
            <a:r>
              <a:rPr lang="en-GB" sz="2000" dirty="0">
                <a:solidFill>
                  <a:srgbClr val="ED7D31"/>
                </a:solidFill>
                <a:latin typeface="+mj-lt"/>
              </a:rPr>
              <a:t>Leadership is about coping with change</a:t>
            </a:r>
          </a:p>
        </p:txBody>
      </p:sp>
      <p:sp>
        <p:nvSpPr>
          <p:cNvPr id="5" name="Textfeld 4">
            <a:extLst>
              <a:ext uri="{FF2B5EF4-FFF2-40B4-BE49-F238E27FC236}">
                <a16:creationId xmlns:a16="http://schemas.microsoft.com/office/drawing/2014/main" xmlns="" id="{0245298D-2C30-4315-BA4E-D66A401FDA67}"/>
              </a:ext>
            </a:extLst>
          </p:cNvPr>
          <p:cNvSpPr txBox="1"/>
          <p:nvPr/>
        </p:nvSpPr>
        <p:spPr>
          <a:xfrm>
            <a:off x="5202855" y="2986990"/>
            <a:ext cx="2590646" cy="984885"/>
          </a:xfrm>
          <a:prstGeom prst="rect">
            <a:avLst/>
          </a:prstGeom>
          <a:noFill/>
        </p:spPr>
        <p:txBody>
          <a:bodyPr wrap="none" rtlCol="0">
            <a:spAutoFit/>
          </a:bodyPr>
          <a:lstStyle/>
          <a:p>
            <a:r>
              <a:rPr lang="en-GB" sz="2000" dirty="0">
                <a:solidFill>
                  <a:srgbClr val="4472C4"/>
                </a:solidFill>
                <a:latin typeface="+mj-lt"/>
              </a:rPr>
              <a:t>Management is about</a:t>
            </a:r>
            <a:br>
              <a:rPr lang="en-GB" sz="2000" dirty="0">
                <a:solidFill>
                  <a:srgbClr val="4472C4"/>
                </a:solidFill>
                <a:latin typeface="+mj-lt"/>
              </a:rPr>
            </a:br>
            <a:r>
              <a:rPr lang="en-GB" sz="2000" dirty="0">
                <a:solidFill>
                  <a:srgbClr val="4472C4"/>
                </a:solidFill>
                <a:latin typeface="+mj-lt"/>
              </a:rPr>
              <a:t>coping with complexity</a:t>
            </a:r>
            <a:r>
              <a:rPr lang="en-GB" dirty="0">
                <a:solidFill>
                  <a:srgbClr val="4472C4"/>
                </a:solidFill>
              </a:rPr>
              <a:t/>
            </a:r>
            <a:br>
              <a:rPr lang="en-GB" dirty="0">
                <a:solidFill>
                  <a:srgbClr val="4472C4"/>
                </a:solidFill>
              </a:rPr>
            </a:br>
            <a:endParaRPr lang="en-GB" dirty="0">
              <a:solidFill>
                <a:srgbClr val="4472C4"/>
              </a:solidFill>
            </a:endParaRPr>
          </a:p>
        </p:txBody>
      </p:sp>
      <p:sp>
        <p:nvSpPr>
          <p:cNvPr id="11" name="Subtitle 2">
            <a:extLst>
              <a:ext uri="{FF2B5EF4-FFF2-40B4-BE49-F238E27FC236}">
                <a16:creationId xmlns:a16="http://schemas.microsoft.com/office/drawing/2014/main" xmlns="" id="{98227070-E5B8-4DDA-B5B8-39FD321EE837}"/>
              </a:ext>
            </a:extLst>
          </p:cNvPr>
          <p:cNvSpPr txBox="1">
            <a:spLocks/>
          </p:cNvSpPr>
          <p:nvPr/>
        </p:nvSpPr>
        <p:spPr>
          <a:xfrm>
            <a:off x="3176" y="3673056"/>
            <a:ext cx="6318480" cy="323708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sym typeface="Wingdings" panose="05000000000000000000" pitchFamily="2" charset="2"/>
              </a:rPr>
              <a:t>Managers depend upon their positional authority to direct subordinates. Leaders are able to influence followers beyond their formal authority. Managers are people who do things right and leaders are people who do the right thing.</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sym typeface="Wingdings" panose="05000000000000000000" pitchFamily="2" charset="2"/>
              </a:rPr>
              <a:t>Leadership and management must go hand in hand. They are not the same thing. But they are necessarily linked, and complementary. Any effort to separate the two is likely to cause more problems than it solves. A good manager must possess leadership qualities.</a:t>
            </a:r>
          </a:p>
        </p:txBody>
      </p:sp>
    </p:spTree>
    <p:extLst>
      <p:ext uri="{BB962C8B-B14F-4D97-AF65-F5344CB8AC3E}">
        <p14:creationId xmlns:p14="http://schemas.microsoft.com/office/powerpoint/2010/main" val="31920290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6" imgW="592" imgH="595" progId="TCLayout.ActiveDocument.1">
                  <p:embed/>
                </p:oleObj>
              </mc:Choice>
              <mc:Fallback>
                <p:oleObj name="think-cell Folie" r:id="rId6"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334210" y="459516"/>
            <a:ext cx="8852375" cy="697353"/>
          </a:xfrm>
        </p:spPr>
        <p:txBody>
          <a:bodyPr>
            <a:normAutofit/>
          </a:bodyPr>
          <a:lstStyle/>
          <a:p>
            <a:r>
              <a:rPr lang="en-GB" sz="3600" b="0" i="0" dirty="0" err="1">
                <a:solidFill>
                  <a:schemeClr val="bg1"/>
                </a:solidFill>
                <a:effectLst/>
                <a:highlight>
                  <a:srgbClr val="E53292"/>
                </a:highlight>
                <a:latin typeface="+mj-lt"/>
              </a:rPr>
              <a:t>WATCH</a:t>
            </a:r>
            <a:r>
              <a:rPr lang="en-GB" dirty="0" err="1">
                <a:solidFill>
                  <a:schemeClr val="bg1"/>
                </a:solidFill>
              </a:rPr>
              <a:t>ader</a:t>
            </a:r>
            <a:r>
              <a:rPr lang="en-GB" dirty="0" err="1"/>
              <a:t>Leadership</a:t>
            </a:r>
            <a:r>
              <a:rPr lang="en-GB" dirty="0"/>
              <a:t> vs. Management</a:t>
            </a:r>
          </a:p>
        </p:txBody>
      </p:sp>
      <p:sp>
        <p:nvSpPr>
          <p:cNvPr id="28" name="Rechteck 27">
            <a:extLst>
              <a:ext uri="{FF2B5EF4-FFF2-40B4-BE49-F238E27FC236}">
                <a16:creationId xmlns:a16="http://schemas.microsoft.com/office/drawing/2014/main" xmlns="" id="{98670D1F-3C08-4A05-AA8F-091E4EC900BD}"/>
              </a:ext>
            </a:extLst>
          </p:cNvPr>
          <p:cNvSpPr/>
          <p:nvPr/>
        </p:nvSpPr>
        <p:spPr>
          <a:xfrm>
            <a:off x="550278" y="6310824"/>
            <a:ext cx="7015179" cy="260502"/>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Source: Dr. John Kotter| </a:t>
            </a:r>
            <a:r>
              <a:rPr lang="en-GB" sz="1000" dirty="0" err="1">
                <a:latin typeface="+mj-lt"/>
              </a:rPr>
              <a:t>Youtube</a:t>
            </a:r>
            <a:r>
              <a:rPr lang="en-GB" sz="1000" dirty="0">
                <a:latin typeface="+mj-lt"/>
              </a:rPr>
              <a:t>: </a:t>
            </a:r>
            <a:r>
              <a:rPr lang="en-GB" sz="1000" dirty="0">
                <a:hlinkClick r:id="rId8"/>
              </a:rPr>
              <a:t>https://www.youtube.com/watch?v=SEfgCqnMl5E&amp;t=198s</a:t>
            </a:r>
            <a:endParaRPr lang="en-GB" sz="1000" dirty="0">
              <a:latin typeface="+mj-lt"/>
            </a:endParaRPr>
          </a:p>
        </p:txBody>
      </p:sp>
      <p:pic>
        <p:nvPicPr>
          <p:cNvPr id="29" name="Picture 22" descr="iMac.png">
            <a:extLst>
              <a:ext uri="{FF2B5EF4-FFF2-40B4-BE49-F238E27FC236}">
                <a16:creationId xmlns:a16="http://schemas.microsoft.com/office/drawing/2014/main" xmlns="" id="{342333D4-743F-4D63-8568-7794FADD8C3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360243" y="1642311"/>
            <a:ext cx="5428649" cy="4802162"/>
          </a:xfrm>
          <a:prstGeom prst="rect">
            <a:avLst/>
          </a:prstGeom>
        </p:spPr>
      </p:pic>
      <p:pic>
        <p:nvPicPr>
          <p:cNvPr id="4" name="Onlinemedien 3" title="The Key Differences Between Leading and Managing">
            <a:hlinkClick r:id="" action="ppaction://media"/>
            <a:extLst>
              <a:ext uri="{FF2B5EF4-FFF2-40B4-BE49-F238E27FC236}">
                <a16:creationId xmlns:a16="http://schemas.microsoft.com/office/drawing/2014/main" xmlns="" id="{6FD220AE-D763-4390-B6DB-0140A5334196}"/>
              </a:ext>
            </a:extLst>
          </p:cNvPr>
          <p:cNvPicPr>
            <a:picLocks noRot="1" noChangeAspect="1"/>
          </p:cNvPicPr>
          <p:nvPr>
            <a:videoFile r:link="rId3"/>
          </p:nvPr>
        </p:nvPicPr>
        <p:blipFill>
          <a:blip r:embed="rId10"/>
          <a:stretch>
            <a:fillRect/>
          </a:stretch>
        </p:blipFill>
        <p:spPr>
          <a:xfrm>
            <a:off x="4993768" y="2319689"/>
            <a:ext cx="4105514" cy="2276573"/>
          </a:xfrm>
          <a:prstGeom prst="rect">
            <a:avLst/>
          </a:prstGeom>
        </p:spPr>
      </p:pic>
      <p:sp>
        <p:nvSpPr>
          <p:cNvPr id="5" name="TextBox 4">
            <a:extLst>
              <a:ext uri="{FF2B5EF4-FFF2-40B4-BE49-F238E27FC236}">
                <a16:creationId xmlns:a16="http://schemas.microsoft.com/office/drawing/2014/main" xmlns="" id="{4BA2EA5A-F519-407D-B405-5D273E8083C7}"/>
              </a:ext>
            </a:extLst>
          </p:cNvPr>
          <p:cNvSpPr txBox="1"/>
          <p:nvPr/>
        </p:nvSpPr>
        <p:spPr>
          <a:xfrm>
            <a:off x="783771" y="2144486"/>
            <a:ext cx="3331029" cy="2677656"/>
          </a:xfrm>
          <a:prstGeom prst="rect">
            <a:avLst/>
          </a:prstGeom>
          <a:noFill/>
        </p:spPr>
        <p:txBody>
          <a:bodyPr wrap="square" rtlCol="0">
            <a:spAutoFit/>
          </a:bodyPr>
          <a:lstStyle/>
          <a:p>
            <a:pPr algn="l"/>
            <a:r>
              <a:rPr lang="en-GB" sz="2800" b="0" i="0" dirty="0">
                <a:solidFill>
                  <a:schemeClr val="bg1"/>
                </a:solidFill>
                <a:effectLst/>
                <a:highlight>
                  <a:srgbClr val="E53292"/>
                </a:highlight>
                <a:latin typeface="+mj-lt"/>
              </a:rPr>
              <a:t>WATCH </a:t>
            </a:r>
          </a:p>
          <a:p>
            <a:pPr algn="l"/>
            <a:r>
              <a:rPr lang="en-GB" sz="2800" b="0" i="0" dirty="0" err="1">
                <a:solidFill>
                  <a:srgbClr val="245473"/>
                </a:solidFill>
                <a:effectLst/>
                <a:latin typeface="+mj-lt"/>
              </a:rPr>
              <a:t>Dr.</a:t>
            </a:r>
            <a:r>
              <a:rPr lang="en-GB" sz="2800" b="0" i="0" dirty="0">
                <a:solidFill>
                  <a:srgbClr val="245473"/>
                </a:solidFill>
                <a:effectLst/>
                <a:latin typeface="+mj-lt"/>
              </a:rPr>
              <a:t> John Kotter’s take on The Key Differences Between Leading and Managing</a:t>
            </a:r>
          </a:p>
        </p:txBody>
      </p:sp>
    </p:spTree>
    <p:extLst>
      <p:ext uri="{BB962C8B-B14F-4D97-AF65-F5344CB8AC3E}">
        <p14:creationId xmlns:p14="http://schemas.microsoft.com/office/powerpoint/2010/main" val="21239794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xmlns="" id="{3177FD17-46F5-4BFB-88B3-733967FA0D8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5" imgW="592" imgH="595" progId="TCLayout.ActiveDocument.1">
                  <p:embed/>
                </p:oleObj>
              </mc:Choice>
              <mc:Fallback>
                <p:oleObj name="think-cell Folie" r:id="rId5" imgW="592" imgH="595" progId="TCLayout.ActiveDocument.1">
                  <p:embed/>
                  <p:pic>
                    <p:nvPicPr>
                      <p:cNvPr id="3" name="Objekt 2" hidden="1">
                        <a:extLst>
                          <a:ext uri="{FF2B5EF4-FFF2-40B4-BE49-F238E27FC236}">
                            <a16:creationId xmlns:a16="http://schemas.microsoft.com/office/drawing/2014/main" xmlns="" id="{3177FD17-46F5-4BFB-88B3-733967FA0D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8" name="Shape 24605">
            <a:extLst>
              <a:ext uri="{FF2B5EF4-FFF2-40B4-BE49-F238E27FC236}">
                <a16:creationId xmlns:a16="http://schemas.microsoft.com/office/drawing/2014/main" xmlns="" id="{7C5208D6-CD96-4C8A-94EE-957EB4A16910}"/>
              </a:ext>
            </a:extLst>
          </p:cNvPr>
          <p:cNvSpPr/>
          <p:nvPr/>
        </p:nvSpPr>
        <p:spPr>
          <a:xfrm>
            <a:off x="4925287" y="5086585"/>
            <a:ext cx="1758043" cy="753885"/>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9" name="Shape 24606">
            <a:extLst>
              <a:ext uri="{FF2B5EF4-FFF2-40B4-BE49-F238E27FC236}">
                <a16:creationId xmlns:a16="http://schemas.microsoft.com/office/drawing/2014/main" xmlns="" id="{1F4AC154-A60E-4557-89D3-CD7E65E8CCD5}"/>
              </a:ext>
            </a:extLst>
          </p:cNvPr>
          <p:cNvSpPr/>
          <p:nvPr/>
        </p:nvSpPr>
        <p:spPr>
          <a:xfrm rot="1560000">
            <a:off x="5026855" y="3642264"/>
            <a:ext cx="527220" cy="2186458"/>
          </a:xfrm>
          <a:prstGeom prst="rect">
            <a:avLst/>
          </a:prstGeom>
          <a:solidFill>
            <a:schemeClr val="accent1"/>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40" name="Shape 24607">
            <a:extLst>
              <a:ext uri="{FF2B5EF4-FFF2-40B4-BE49-F238E27FC236}">
                <a16:creationId xmlns:a16="http://schemas.microsoft.com/office/drawing/2014/main" xmlns="" id="{7B24889A-D42F-4844-921B-EF3FA5A7E6B1}"/>
              </a:ext>
            </a:extLst>
          </p:cNvPr>
          <p:cNvSpPr/>
          <p:nvPr/>
        </p:nvSpPr>
        <p:spPr>
          <a:xfrm rot="1560000">
            <a:off x="5552110" y="3552012"/>
            <a:ext cx="791080"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chemeClr val="accent1">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41" name="Shape 24608">
            <a:extLst>
              <a:ext uri="{FF2B5EF4-FFF2-40B4-BE49-F238E27FC236}">
                <a16:creationId xmlns:a16="http://schemas.microsoft.com/office/drawing/2014/main" xmlns="" id="{B2D400F2-905B-46EF-A01A-7A60BEB5C4E0}"/>
              </a:ext>
            </a:extLst>
          </p:cNvPr>
          <p:cNvSpPr/>
          <p:nvPr/>
        </p:nvSpPr>
        <p:spPr>
          <a:xfrm rot="1560000">
            <a:off x="5574002" y="3555463"/>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chemeClr val="accent1">
              <a:lumMod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4" name="Shape 24605">
            <a:extLst>
              <a:ext uri="{FF2B5EF4-FFF2-40B4-BE49-F238E27FC236}">
                <a16:creationId xmlns:a16="http://schemas.microsoft.com/office/drawing/2014/main" xmlns="" id="{066D9D61-6226-45CE-B033-82D952528D4C}"/>
              </a:ext>
            </a:extLst>
          </p:cNvPr>
          <p:cNvSpPr/>
          <p:nvPr/>
        </p:nvSpPr>
        <p:spPr>
          <a:xfrm>
            <a:off x="5964518" y="5121638"/>
            <a:ext cx="1758043" cy="753885"/>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5" name="Shape 24606">
            <a:extLst>
              <a:ext uri="{FF2B5EF4-FFF2-40B4-BE49-F238E27FC236}">
                <a16:creationId xmlns:a16="http://schemas.microsoft.com/office/drawing/2014/main" xmlns="" id="{0FCD3D49-2EA8-4D02-9DC9-D412D5A1A5E7}"/>
              </a:ext>
            </a:extLst>
          </p:cNvPr>
          <p:cNvSpPr/>
          <p:nvPr/>
        </p:nvSpPr>
        <p:spPr>
          <a:xfrm rot="1560000">
            <a:off x="6066086" y="3677317"/>
            <a:ext cx="527220" cy="2186458"/>
          </a:xfrm>
          <a:prstGeom prst="rect">
            <a:avLst/>
          </a:prstGeom>
          <a:solidFill>
            <a:schemeClr val="accent1"/>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6" name="Shape 24607">
            <a:extLst>
              <a:ext uri="{FF2B5EF4-FFF2-40B4-BE49-F238E27FC236}">
                <a16:creationId xmlns:a16="http://schemas.microsoft.com/office/drawing/2014/main" xmlns="" id="{D4D4AF3E-CD05-4E37-AA8F-2D550BD38A0F}"/>
              </a:ext>
            </a:extLst>
          </p:cNvPr>
          <p:cNvSpPr/>
          <p:nvPr/>
        </p:nvSpPr>
        <p:spPr>
          <a:xfrm rot="1560000">
            <a:off x="6591341" y="3587065"/>
            <a:ext cx="791080"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chemeClr val="accent1">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7" name="Shape 24608">
            <a:extLst>
              <a:ext uri="{FF2B5EF4-FFF2-40B4-BE49-F238E27FC236}">
                <a16:creationId xmlns:a16="http://schemas.microsoft.com/office/drawing/2014/main" xmlns="" id="{FD6B33D9-7B40-4EB5-A276-2AEBFEFB525C}"/>
              </a:ext>
            </a:extLst>
          </p:cNvPr>
          <p:cNvSpPr/>
          <p:nvPr/>
        </p:nvSpPr>
        <p:spPr>
          <a:xfrm rot="1560000">
            <a:off x="6613233" y="3590516"/>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chemeClr val="accent1">
              <a:lumMod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 name="Textplatzhalter 1">
            <a:extLst>
              <a:ext uri="{FF2B5EF4-FFF2-40B4-BE49-F238E27FC236}">
                <a16:creationId xmlns:a16="http://schemas.microsoft.com/office/drawing/2014/main" xmlns="" id="{38B4E260-12F3-4A00-968A-9E9720209DA1}"/>
              </a:ext>
            </a:extLst>
          </p:cNvPr>
          <p:cNvSpPr>
            <a:spLocks noGrp="1"/>
          </p:cNvSpPr>
          <p:nvPr>
            <p:ph type="body" sz="quarter" idx="13"/>
          </p:nvPr>
        </p:nvSpPr>
        <p:spPr>
          <a:xfrm>
            <a:off x="1279619" y="435931"/>
            <a:ext cx="8852375" cy="697353"/>
          </a:xfrm>
        </p:spPr>
        <p:txBody>
          <a:bodyPr>
            <a:normAutofit fontScale="92500"/>
          </a:bodyPr>
          <a:lstStyle/>
          <a:p>
            <a:r>
              <a:rPr lang="en-GB" sz="3200" dirty="0"/>
              <a:t>Leadership in the crisis - resilience instead of efficiency</a:t>
            </a:r>
          </a:p>
        </p:txBody>
      </p:sp>
      <p:sp>
        <p:nvSpPr>
          <p:cNvPr id="16" name="Subtitle 2">
            <a:extLst>
              <a:ext uri="{FF2B5EF4-FFF2-40B4-BE49-F238E27FC236}">
                <a16:creationId xmlns:a16="http://schemas.microsoft.com/office/drawing/2014/main" xmlns="" id="{E83E83C3-E01A-44F1-95FF-6540BC8C3EAB}"/>
              </a:ext>
            </a:extLst>
          </p:cNvPr>
          <p:cNvSpPr txBox="1">
            <a:spLocks/>
          </p:cNvSpPr>
          <p:nvPr/>
        </p:nvSpPr>
        <p:spPr>
          <a:xfrm>
            <a:off x="78929" y="1868223"/>
            <a:ext cx="4727978" cy="514183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rPr>
              <a:t>There is no recipe for success for managing a company in a crisis.  If "the one and only" right decision does not exist, the goal must therefore be to find the solution that is good enough.  </a:t>
            </a:r>
          </a:p>
          <a:p>
            <a:pPr algn="l">
              <a:lnSpc>
                <a:spcPct val="100000"/>
              </a:lnSpc>
              <a:spcBef>
                <a:spcPts val="600"/>
              </a:spcBef>
            </a:pPr>
            <a:r>
              <a:rPr lang="en-GB" altLang="de-DE" sz="2000" dirty="0">
                <a:solidFill>
                  <a:srgbClr val="245473"/>
                </a:solidFill>
                <a:latin typeface="+mj-lt"/>
              </a:rPr>
              <a:t>This inevitably leads to the problem for managers to have to serve on the "front stage" obvious expectations and needs of the company and the employees for security and orientation, which in themselves create enough pressure.</a:t>
            </a:r>
          </a:p>
          <a:p>
            <a:pPr algn="l">
              <a:lnSpc>
                <a:spcPct val="100000"/>
              </a:lnSpc>
              <a:spcBef>
                <a:spcPts val="600"/>
              </a:spcBef>
            </a:pPr>
            <a:r>
              <a:rPr lang="en-GB" altLang="de-DE" sz="2000" dirty="0">
                <a:solidFill>
                  <a:srgbClr val="245473"/>
                </a:solidFill>
                <a:latin typeface="+mj-lt"/>
              </a:rPr>
              <a:t>In addition, the crisis on the "backstage" requires managers to deal with contradictions, uncertainties, dilemmas and personal wishes and fears.</a:t>
            </a:r>
          </a:p>
          <a:p>
            <a:pPr algn="l">
              <a:lnSpc>
                <a:spcPts val="1500"/>
              </a:lnSpc>
              <a:spcBef>
                <a:spcPts val="600"/>
              </a:spcBef>
            </a:pPr>
            <a:endParaRPr lang="en-GB" sz="2000" dirty="0">
              <a:latin typeface="+mj-lt"/>
              <a:sym typeface="Wingdings" panose="05000000000000000000" pitchFamily="2" charset="2"/>
            </a:endParaRPr>
          </a:p>
        </p:txBody>
      </p:sp>
      <p:sp>
        <p:nvSpPr>
          <p:cNvPr id="18" name="Shape 24581">
            <a:extLst>
              <a:ext uri="{FF2B5EF4-FFF2-40B4-BE49-F238E27FC236}">
                <a16:creationId xmlns:a16="http://schemas.microsoft.com/office/drawing/2014/main" xmlns="" id="{16CCAD3D-253E-443C-8886-E232322870D4}"/>
              </a:ext>
            </a:extLst>
          </p:cNvPr>
          <p:cNvSpPr/>
          <p:nvPr/>
        </p:nvSpPr>
        <p:spPr>
          <a:xfrm>
            <a:off x="10041421" y="5104971"/>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19" name="Shape 24582">
            <a:extLst>
              <a:ext uri="{FF2B5EF4-FFF2-40B4-BE49-F238E27FC236}">
                <a16:creationId xmlns:a16="http://schemas.microsoft.com/office/drawing/2014/main" xmlns="" id="{E04F73C9-D847-4640-87CF-F8E839EE9F38}"/>
              </a:ext>
            </a:extLst>
          </p:cNvPr>
          <p:cNvSpPr/>
          <p:nvPr/>
        </p:nvSpPr>
        <p:spPr>
          <a:xfrm>
            <a:off x="10041670" y="3672398"/>
            <a:ext cx="527220" cy="2186458"/>
          </a:xfrm>
          <a:prstGeom prst="rect">
            <a:avLst/>
          </a:prstGeom>
          <a:solidFill>
            <a:schemeClr val="accent3"/>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0" name="Shape 24583">
            <a:extLst>
              <a:ext uri="{FF2B5EF4-FFF2-40B4-BE49-F238E27FC236}">
                <a16:creationId xmlns:a16="http://schemas.microsoft.com/office/drawing/2014/main" xmlns="" id="{1970A4EF-7A94-4C1B-A127-BA5FDF4EADA8}"/>
              </a:ext>
            </a:extLst>
          </p:cNvPr>
          <p:cNvSpPr/>
          <p:nvPr/>
        </p:nvSpPr>
        <p:spPr>
          <a:xfrm>
            <a:off x="10041420" y="3399526"/>
            <a:ext cx="789195" cy="272872"/>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chemeClr val="accent3">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1" name="Shape 24584">
            <a:extLst>
              <a:ext uri="{FF2B5EF4-FFF2-40B4-BE49-F238E27FC236}">
                <a16:creationId xmlns:a16="http://schemas.microsoft.com/office/drawing/2014/main" xmlns="" id="{14769576-1438-4813-B7CA-68FE0966187D}"/>
              </a:ext>
            </a:extLst>
          </p:cNvPr>
          <p:cNvSpPr/>
          <p:nvPr/>
        </p:nvSpPr>
        <p:spPr>
          <a:xfrm>
            <a:off x="10568891" y="3397923"/>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chemeClr val="accent3">
              <a:lumMod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2" name="Shape 24593">
            <a:extLst>
              <a:ext uri="{FF2B5EF4-FFF2-40B4-BE49-F238E27FC236}">
                <a16:creationId xmlns:a16="http://schemas.microsoft.com/office/drawing/2014/main" xmlns="" id="{699443A6-C9CC-4B53-B6C3-7995ADFAF652}"/>
              </a:ext>
            </a:extLst>
          </p:cNvPr>
          <p:cNvSpPr/>
          <p:nvPr/>
        </p:nvSpPr>
        <p:spPr>
          <a:xfrm>
            <a:off x="11138913" y="5104971"/>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3" name="Shape 24594">
            <a:extLst>
              <a:ext uri="{FF2B5EF4-FFF2-40B4-BE49-F238E27FC236}">
                <a16:creationId xmlns:a16="http://schemas.microsoft.com/office/drawing/2014/main" xmlns="" id="{95E74484-ACD4-4A46-B148-F5DB4791A506}"/>
              </a:ext>
            </a:extLst>
          </p:cNvPr>
          <p:cNvSpPr/>
          <p:nvPr/>
        </p:nvSpPr>
        <p:spPr>
          <a:xfrm>
            <a:off x="11139163" y="3671901"/>
            <a:ext cx="527220" cy="2186458"/>
          </a:xfrm>
          <a:prstGeom prst="rect">
            <a:avLst/>
          </a:prstGeom>
          <a:solidFill>
            <a:schemeClr val="accent4"/>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4" name="Shape 24595">
            <a:extLst>
              <a:ext uri="{FF2B5EF4-FFF2-40B4-BE49-F238E27FC236}">
                <a16:creationId xmlns:a16="http://schemas.microsoft.com/office/drawing/2014/main" xmlns="" id="{04B0124A-23E3-4B6B-AFF5-192313701D82}"/>
              </a:ext>
            </a:extLst>
          </p:cNvPr>
          <p:cNvSpPr/>
          <p:nvPr/>
        </p:nvSpPr>
        <p:spPr>
          <a:xfrm>
            <a:off x="11138915" y="3399526"/>
            <a:ext cx="789195" cy="272872"/>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chemeClr val="accent4">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5" name="Shape 24596">
            <a:extLst>
              <a:ext uri="{FF2B5EF4-FFF2-40B4-BE49-F238E27FC236}">
                <a16:creationId xmlns:a16="http://schemas.microsoft.com/office/drawing/2014/main" xmlns="" id="{2E4A711F-5EC2-405A-B493-293FED5BDA4B}"/>
              </a:ext>
            </a:extLst>
          </p:cNvPr>
          <p:cNvSpPr/>
          <p:nvPr/>
        </p:nvSpPr>
        <p:spPr>
          <a:xfrm>
            <a:off x="11666387" y="3397923"/>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chemeClr val="accent4">
              <a:lumMod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6" name="Shape 24605">
            <a:extLst>
              <a:ext uri="{FF2B5EF4-FFF2-40B4-BE49-F238E27FC236}">
                <a16:creationId xmlns:a16="http://schemas.microsoft.com/office/drawing/2014/main" xmlns="" id="{181E89E3-3FF2-4280-BB62-6789460D105E}"/>
              </a:ext>
            </a:extLst>
          </p:cNvPr>
          <p:cNvSpPr/>
          <p:nvPr/>
        </p:nvSpPr>
        <p:spPr>
          <a:xfrm>
            <a:off x="7009598" y="5101717"/>
            <a:ext cx="1758043" cy="753885"/>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27" name="Shape 24606">
            <a:extLst>
              <a:ext uri="{FF2B5EF4-FFF2-40B4-BE49-F238E27FC236}">
                <a16:creationId xmlns:a16="http://schemas.microsoft.com/office/drawing/2014/main" xmlns="" id="{BA5E89AF-787D-41C6-B09B-E51C213A632B}"/>
              </a:ext>
            </a:extLst>
          </p:cNvPr>
          <p:cNvSpPr/>
          <p:nvPr/>
        </p:nvSpPr>
        <p:spPr>
          <a:xfrm rot="1560000">
            <a:off x="7111166" y="3657396"/>
            <a:ext cx="527220" cy="2186458"/>
          </a:xfrm>
          <a:prstGeom prst="rect">
            <a:avLst/>
          </a:prstGeom>
          <a:solidFill>
            <a:schemeClr val="accent1"/>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8" name="Shape 24607">
            <a:extLst>
              <a:ext uri="{FF2B5EF4-FFF2-40B4-BE49-F238E27FC236}">
                <a16:creationId xmlns:a16="http://schemas.microsoft.com/office/drawing/2014/main" xmlns="" id="{1459D9C1-EF3C-4183-AE13-5B06C56CDE9E}"/>
              </a:ext>
            </a:extLst>
          </p:cNvPr>
          <p:cNvSpPr/>
          <p:nvPr/>
        </p:nvSpPr>
        <p:spPr>
          <a:xfrm rot="1560000">
            <a:off x="7636421" y="3567144"/>
            <a:ext cx="791080"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chemeClr val="accent1">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29" name="Shape 24608">
            <a:extLst>
              <a:ext uri="{FF2B5EF4-FFF2-40B4-BE49-F238E27FC236}">
                <a16:creationId xmlns:a16="http://schemas.microsoft.com/office/drawing/2014/main" xmlns="" id="{95F56699-1AF4-4CA5-834E-FADBE8C9E51F}"/>
              </a:ext>
            </a:extLst>
          </p:cNvPr>
          <p:cNvSpPr/>
          <p:nvPr/>
        </p:nvSpPr>
        <p:spPr>
          <a:xfrm rot="1560000">
            <a:off x="7658313" y="3570595"/>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chemeClr val="accent1">
              <a:lumMod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0" name="Shape 24617">
            <a:extLst>
              <a:ext uri="{FF2B5EF4-FFF2-40B4-BE49-F238E27FC236}">
                <a16:creationId xmlns:a16="http://schemas.microsoft.com/office/drawing/2014/main" xmlns="" id="{8FB3E6C1-82E6-4134-BDEC-680F7FE52213}"/>
              </a:ext>
            </a:extLst>
          </p:cNvPr>
          <p:cNvSpPr/>
          <p:nvPr/>
        </p:nvSpPr>
        <p:spPr>
          <a:xfrm>
            <a:off x="8611119" y="5104971"/>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1" name="Shape 24618">
            <a:extLst>
              <a:ext uri="{FF2B5EF4-FFF2-40B4-BE49-F238E27FC236}">
                <a16:creationId xmlns:a16="http://schemas.microsoft.com/office/drawing/2014/main" xmlns="" id="{327F4AE4-64C9-4346-9531-9B5C424A4B6E}"/>
              </a:ext>
            </a:extLst>
          </p:cNvPr>
          <p:cNvSpPr/>
          <p:nvPr/>
        </p:nvSpPr>
        <p:spPr>
          <a:xfrm>
            <a:off x="8611368" y="3671901"/>
            <a:ext cx="527220" cy="2186458"/>
          </a:xfrm>
          <a:prstGeom prst="rect">
            <a:avLst/>
          </a:prstGeom>
          <a:solidFill>
            <a:schemeClr val="accent2"/>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2" name="Shape 24619">
            <a:extLst>
              <a:ext uri="{FF2B5EF4-FFF2-40B4-BE49-F238E27FC236}">
                <a16:creationId xmlns:a16="http://schemas.microsoft.com/office/drawing/2014/main" xmlns="" id="{6AE34B0F-2B23-4B20-87FE-99DF3A5283AF}"/>
              </a:ext>
            </a:extLst>
          </p:cNvPr>
          <p:cNvSpPr/>
          <p:nvPr/>
        </p:nvSpPr>
        <p:spPr>
          <a:xfrm>
            <a:off x="8611119" y="3399526"/>
            <a:ext cx="791079"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chemeClr val="accent2">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sp>
        <p:nvSpPr>
          <p:cNvPr id="33" name="Shape 24620">
            <a:extLst>
              <a:ext uri="{FF2B5EF4-FFF2-40B4-BE49-F238E27FC236}">
                <a16:creationId xmlns:a16="http://schemas.microsoft.com/office/drawing/2014/main" xmlns="" id="{83BA3B4B-70CE-4A27-87E0-FFC59A02D47E}"/>
              </a:ext>
            </a:extLst>
          </p:cNvPr>
          <p:cNvSpPr/>
          <p:nvPr/>
        </p:nvSpPr>
        <p:spPr>
          <a:xfrm>
            <a:off x="9138589" y="3397923"/>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chemeClr val="accent2">
              <a:lumMod val="75000"/>
            </a:schemeClr>
          </a:solidFill>
          <a:ln w="12700" cap="flat">
            <a:noFill/>
            <a:miter lim="400000"/>
          </a:ln>
          <a:effectLst/>
        </p:spPr>
        <p:txBody>
          <a:bodyPr wrap="square" lIns="26796" tIns="26796" rIns="26796" bIns="26796" numCol="1" anchor="ctr">
            <a:noAutofit/>
          </a:bodyPr>
          <a:lstStyle/>
          <a:p>
            <a:endParaRPr lang="en-GB" sz="1899" dirty="0">
              <a:latin typeface="Lato Light" panose="020F0502020204030203" pitchFamily="34" charset="0"/>
            </a:endParaRPr>
          </a:p>
        </p:txBody>
      </p:sp>
      <p:grpSp>
        <p:nvGrpSpPr>
          <p:cNvPr id="42" name="Group 45">
            <a:extLst>
              <a:ext uri="{FF2B5EF4-FFF2-40B4-BE49-F238E27FC236}">
                <a16:creationId xmlns:a16="http://schemas.microsoft.com/office/drawing/2014/main" xmlns="" id="{EEB02746-93E9-40B3-B2F2-9B4A9900BF46}"/>
              </a:ext>
            </a:extLst>
          </p:cNvPr>
          <p:cNvGrpSpPr>
            <a:grpSpLocks noChangeAspect="1"/>
          </p:cNvGrpSpPr>
          <p:nvPr/>
        </p:nvGrpSpPr>
        <p:grpSpPr>
          <a:xfrm>
            <a:off x="8604165" y="2274330"/>
            <a:ext cx="934097" cy="987406"/>
            <a:chOff x="10689077" y="6885187"/>
            <a:chExt cx="2999494" cy="3170675"/>
          </a:xfrm>
          <a:solidFill>
            <a:schemeClr val="accent2"/>
          </a:solidFill>
        </p:grpSpPr>
        <p:sp>
          <p:nvSpPr>
            <p:cNvPr id="43" name="Freeform 62">
              <a:extLst>
                <a:ext uri="{FF2B5EF4-FFF2-40B4-BE49-F238E27FC236}">
                  <a16:creationId xmlns:a16="http://schemas.microsoft.com/office/drawing/2014/main" xmlns="" id="{99335791-1FFB-4BFB-9861-D051EC36A5A6}"/>
                </a:ext>
              </a:extLst>
            </p:cNvPr>
            <p:cNvSpPr>
              <a:spLocks noChangeArrowheads="1"/>
            </p:cNvSpPr>
            <p:nvPr/>
          </p:nvSpPr>
          <p:spPr bwMode="auto">
            <a:xfrm>
              <a:off x="10689077" y="6885187"/>
              <a:ext cx="2999494" cy="2686404"/>
            </a:xfrm>
            <a:custGeom>
              <a:avLst/>
              <a:gdLst>
                <a:gd name="connsiteX0" fmla="*/ 1067711 w 1462540"/>
                <a:gd name="connsiteY0" fmla="*/ 1044625 h 1309880"/>
                <a:gd name="connsiteX1" fmla="*/ 1082050 w 1462540"/>
                <a:gd name="connsiteY1" fmla="*/ 1050491 h 1309880"/>
                <a:gd name="connsiteX2" fmla="*/ 1250217 w 1462540"/>
                <a:gd name="connsiteY2" fmla="*/ 1218658 h 1309880"/>
                <a:gd name="connsiteX3" fmla="*/ 1250217 w 1462540"/>
                <a:gd name="connsiteY3" fmla="*/ 1247338 h 1309880"/>
                <a:gd name="connsiteX4" fmla="*/ 1221538 w 1462540"/>
                <a:gd name="connsiteY4" fmla="*/ 1247338 h 1309880"/>
                <a:gd name="connsiteX5" fmla="*/ 1053371 w 1462540"/>
                <a:gd name="connsiteY5" fmla="*/ 1079171 h 1309880"/>
                <a:gd name="connsiteX6" fmla="*/ 1053371 w 1462540"/>
                <a:gd name="connsiteY6" fmla="*/ 1050491 h 1309880"/>
                <a:gd name="connsiteX7" fmla="*/ 1067711 w 1462540"/>
                <a:gd name="connsiteY7" fmla="*/ 1044625 h 1309880"/>
                <a:gd name="connsiteX8" fmla="*/ 397641 w 1462540"/>
                <a:gd name="connsiteY8" fmla="*/ 1044625 h 1309880"/>
                <a:gd name="connsiteX9" fmla="*/ 412024 w 1462540"/>
                <a:gd name="connsiteY9" fmla="*/ 1050491 h 1309880"/>
                <a:gd name="connsiteX10" fmla="*/ 412024 w 1462540"/>
                <a:gd name="connsiteY10" fmla="*/ 1079171 h 1309880"/>
                <a:gd name="connsiteX11" fmla="*/ 243995 w 1462540"/>
                <a:gd name="connsiteY11" fmla="*/ 1247338 h 1309880"/>
                <a:gd name="connsiteX12" fmla="*/ 215228 w 1462540"/>
                <a:gd name="connsiteY12" fmla="*/ 1247338 h 1309880"/>
                <a:gd name="connsiteX13" fmla="*/ 215228 w 1462540"/>
                <a:gd name="connsiteY13" fmla="*/ 1218658 h 1309880"/>
                <a:gd name="connsiteX14" fmla="*/ 383257 w 1462540"/>
                <a:gd name="connsiteY14" fmla="*/ 1050491 h 1309880"/>
                <a:gd name="connsiteX15" fmla="*/ 397641 w 1462540"/>
                <a:gd name="connsiteY15" fmla="*/ 1044625 h 1309880"/>
                <a:gd name="connsiteX16" fmla="*/ 1204039 w 1462540"/>
                <a:gd name="connsiteY16" fmla="*/ 711433 h 1309880"/>
                <a:gd name="connsiteX17" fmla="*/ 1441651 w 1462540"/>
                <a:gd name="connsiteY17" fmla="*/ 711433 h 1309880"/>
                <a:gd name="connsiteX18" fmla="*/ 1462540 w 1462540"/>
                <a:gd name="connsiteY18" fmla="*/ 731275 h 1309880"/>
                <a:gd name="connsiteX19" fmla="*/ 1441651 w 1462540"/>
                <a:gd name="connsiteY19" fmla="*/ 751117 h 1309880"/>
                <a:gd name="connsiteX20" fmla="*/ 1204039 w 1462540"/>
                <a:gd name="connsiteY20" fmla="*/ 751117 h 1309880"/>
                <a:gd name="connsiteX21" fmla="*/ 1183803 w 1462540"/>
                <a:gd name="connsiteY21" fmla="*/ 731275 h 1309880"/>
                <a:gd name="connsiteX22" fmla="*/ 1204039 w 1462540"/>
                <a:gd name="connsiteY22" fmla="*/ 711433 h 1309880"/>
                <a:gd name="connsiteX23" fmla="*/ 20283 w 1462540"/>
                <a:gd name="connsiteY23" fmla="*/ 711433 h 1309880"/>
                <a:gd name="connsiteX24" fmla="*/ 257796 w 1462540"/>
                <a:gd name="connsiteY24" fmla="*/ 711433 h 1309880"/>
                <a:gd name="connsiteX25" fmla="*/ 278734 w 1462540"/>
                <a:gd name="connsiteY25" fmla="*/ 731275 h 1309880"/>
                <a:gd name="connsiteX26" fmla="*/ 257796 w 1462540"/>
                <a:gd name="connsiteY26" fmla="*/ 751117 h 1309880"/>
                <a:gd name="connsiteX27" fmla="*/ 20283 w 1462540"/>
                <a:gd name="connsiteY27" fmla="*/ 751117 h 1309880"/>
                <a:gd name="connsiteX28" fmla="*/ 0 w 1462540"/>
                <a:gd name="connsiteY28" fmla="*/ 731275 h 1309880"/>
                <a:gd name="connsiteX29" fmla="*/ 20283 w 1462540"/>
                <a:gd name="connsiteY29" fmla="*/ 711433 h 1309880"/>
                <a:gd name="connsiteX30" fmla="*/ 732710 w 1462540"/>
                <a:gd name="connsiteY30" fmla="*/ 377317 h 1309880"/>
                <a:gd name="connsiteX31" fmla="*/ 1108263 w 1462540"/>
                <a:gd name="connsiteY31" fmla="*/ 752870 h 1309880"/>
                <a:gd name="connsiteX32" fmla="*/ 998128 w 1462540"/>
                <a:gd name="connsiteY32" fmla="*/ 1018533 h 1309880"/>
                <a:gd name="connsiteX33" fmla="*/ 972587 w 1462540"/>
                <a:gd name="connsiteY33" fmla="*/ 1039584 h 1309880"/>
                <a:gd name="connsiteX34" fmla="*/ 965852 w 1462540"/>
                <a:gd name="connsiteY34" fmla="*/ 1045759 h 1309880"/>
                <a:gd name="connsiteX35" fmla="*/ 871462 w 1462540"/>
                <a:gd name="connsiteY35" fmla="*/ 1165728 h 1309880"/>
                <a:gd name="connsiteX36" fmla="*/ 823097 w 1462540"/>
                <a:gd name="connsiteY36" fmla="*/ 1309880 h 1309880"/>
                <a:gd name="connsiteX37" fmla="*/ 640095 w 1462540"/>
                <a:gd name="connsiteY37" fmla="*/ 1309880 h 1309880"/>
                <a:gd name="connsiteX38" fmla="*/ 591077 w 1462540"/>
                <a:gd name="connsiteY38" fmla="*/ 1165728 h 1309880"/>
                <a:gd name="connsiteX39" fmla="*/ 483890 w 1462540"/>
                <a:gd name="connsiteY39" fmla="*/ 1034026 h 1309880"/>
                <a:gd name="connsiteX40" fmla="*/ 485832 w 1462540"/>
                <a:gd name="connsiteY40" fmla="*/ 1034026 h 1309880"/>
                <a:gd name="connsiteX41" fmla="*/ 467048 w 1462540"/>
                <a:gd name="connsiteY41" fmla="*/ 1018533 h 1309880"/>
                <a:gd name="connsiteX42" fmla="*/ 357158 w 1462540"/>
                <a:gd name="connsiteY42" fmla="*/ 752870 h 1309880"/>
                <a:gd name="connsiteX43" fmla="*/ 732710 w 1462540"/>
                <a:gd name="connsiteY43" fmla="*/ 377317 h 1309880"/>
                <a:gd name="connsiteX44" fmla="*/ 1235878 w 1462540"/>
                <a:gd name="connsiteY44" fmla="*/ 206612 h 1309880"/>
                <a:gd name="connsiteX45" fmla="*/ 1250217 w 1462540"/>
                <a:gd name="connsiteY45" fmla="*/ 212947 h 1309880"/>
                <a:gd name="connsiteX46" fmla="*/ 1250217 w 1462540"/>
                <a:gd name="connsiteY46" fmla="*/ 241540 h 1309880"/>
                <a:gd name="connsiteX47" fmla="*/ 1082050 w 1462540"/>
                <a:gd name="connsiteY47" fmla="*/ 409194 h 1309880"/>
                <a:gd name="connsiteX48" fmla="*/ 1053371 w 1462540"/>
                <a:gd name="connsiteY48" fmla="*/ 409194 h 1309880"/>
                <a:gd name="connsiteX49" fmla="*/ 1053371 w 1462540"/>
                <a:gd name="connsiteY49" fmla="*/ 380602 h 1309880"/>
                <a:gd name="connsiteX50" fmla="*/ 1221538 w 1462540"/>
                <a:gd name="connsiteY50" fmla="*/ 212947 h 1309880"/>
                <a:gd name="connsiteX51" fmla="*/ 1235878 w 1462540"/>
                <a:gd name="connsiteY51" fmla="*/ 206612 h 1309880"/>
                <a:gd name="connsiteX52" fmla="*/ 229612 w 1462540"/>
                <a:gd name="connsiteY52" fmla="*/ 206612 h 1309880"/>
                <a:gd name="connsiteX53" fmla="*/ 243995 w 1462540"/>
                <a:gd name="connsiteY53" fmla="*/ 212947 h 1309880"/>
                <a:gd name="connsiteX54" fmla="*/ 412024 w 1462540"/>
                <a:gd name="connsiteY54" fmla="*/ 380602 h 1309880"/>
                <a:gd name="connsiteX55" fmla="*/ 412024 w 1462540"/>
                <a:gd name="connsiteY55" fmla="*/ 409194 h 1309880"/>
                <a:gd name="connsiteX56" fmla="*/ 383257 w 1462540"/>
                <a:gd name="connsiteY56" fmla="*/ 409194 h 1309880"/>
                <a:gd name="connsiteX57" fmla="*/ 215228 w 1462540"/>
                <a:gd name="connsiteY57" fmla="*/ 241540 h 1309880"/>
                <a:gd name="connsiteX58" fmla="*/ 215228 w 1462540"/>
                <a:gd name="connsiteY58" fmla="*/ 212947 h 1309880"/>
                <a:gd name="connsiteX59" fmla="*/ 229612 w 1462540"/>
                <a:gd name="connsiteY59" fmla="*/ 206612 h 1309880"/>
                <a:gd name="connsiteX60" fmla="*/ 733037 w 1462540"/>
                <a:gd name="connsiteY60" fmla="*/ 0 h 1309880"/>
                <a:gd name="connsiteX61" fmla="*/ 753964 w 1462540"/>
                <a:gd name="connsiteY61" fmla="*/ 20236 h 1309880"/>
                <a:gd name="connsiteX62" fmla="*/ 753964 w 1462540"/>
                <a:gd name="connsiteY62" fmla="*/ 258499 h 1309880"/>
                <a:gd name="connsiteX63" fmla="*/ 733037 w 1462540"/>
                <a:gd name="connsiteY63" fmla="*/ 278735 h 1309880"/>
                <a:gd name="connsiteX64" fmla="*/ 711434 w 1462540"/>
                <a:gd name="connsiteY64" fmla="*/ 258499 h 1309880"/>
                <a:gd name="connsiteX65" fmla="*/ 711434 w 1462540"/>
                <a:gd name="connsiteY65" fmla="*/ 20236 h 1309880"/>
                <a:gd name="connsiteX66" fmla="*/ 733037 w 1462540"/>
                <a:gd name="connsiteY66" fmla="*/ 0 h 1309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462540" h="1309880">
                  <a:moveTo>
                    <a:pt x="1067711" y="1044625"/>
                  </a:moveTo>
                  <a:cubicBezTo>
                    <a:pt x="1072925" y="1044625"/>
                    <a:pt x="1078140" y="1046580"/>
                    <a:pt x="1082050" y="1050491"/>
                  </a:cubicBezTo>
                  <a:lnTo>
                    <a:pt x="1250217" y="1218658"/>
                  </a:lnTo>
                  <a:cubicBezTo>
                    <a:pt x="1258039" y="1226480"/>
                    <a:pt x="1258039" y="1239516"/>
                    <a:pt x="1250217" y="1247338"/>
                  </a:cubicBezTo>
                  <a:cubicBezTo>
                    <a:pt x="1242396" y="1255159"/>
                    <a:pt x="1229360" y="1255159"/>
                    <a:pt x="1221538" y="1247338"/>
                  </a:cubicBezTo>
                  <a:lnTo>
                    <a:pt x="1053371" y="1079171"/>
                  </a:lnTo>
                  <a:cubicBezTo>
                    <a:pt x="1045549" y="1071349"/>
                    <a:pt x="1045549" y="1058313"/>
                    <a:pt x="1053371" y="1050491"/>
                  </a:cubicBezTo>
                  <a:cubicBezTo>
                    <a:pt x="1057281" y="1046580"/>
                    <a:pt x="1062496" y="1044625"/>
                    <a:pt x="1067711" y="1044625"/>
                  </a:cubicBezTo>
                  <a:close/>
                  <a:moveTo>
                    <a:pt x="397641" y="1044625"/>
                  </a:moveTo>
                  <a:cubicBezTo>
                    <a:pt x="402871" y="1044625"/>
                    <a:pt x="408102" y="1046580"/>
                    <a:pt x="412024" y="1050491"/>
                  </a:cubicBezTo>
                  <a:cubicBezTo>
                    <a:pt x="419870" y="1058313"/>
                    <a:pt x="419870" y="1071349"/>
                    <a:pt x="412024" y="1079171"/>
                  </a:cubicBezTo>
                  <a:lnTo>
                    <a:pt x="243995" y="1247338"/>
                  </a:lnTo>
                  <a:cubicBezTo>
                    <a:pt x="236150" y="1255159"/>
                    <a:pt x="223073" y="1255159"/>
                    <a:pt x="215228" y="1247338"/>
                  </a:cubicBezTo>
                  <a:cubicBezTo>
                    <a:pt x="207382" y="1239516"/>
                    <a:pt x="207382" y="1226480"/>
                    <a:pt x="215228" y="1218658"/>
                  </a:cubicBezTo>
                  <a:lnTo>
                    <a:pt x="383257" y="1050491"/>
                  </a:lnTo>
                  <a:cubicBezTo>
                    <a:pt x="387180" y="1046580"/>
                    <a:pt x="392411" y="1044625"/>
                    <a:pt x="397641" y="1044625"/>
                  </a:cubicBezTo>
                  <a:close/>
                  <a:moveTo>
                    <a:pt x="1204039" y="711433"/>
                  </a:moveTo>
                  <a:lnTo>
                    <a:pt x="1441651" y="711433"/>
                  </a:lnTo>
                  <a:cubicBezTo>
                    <a:pt x="1453401" y="711433"/>
                    <a:pt x="1462540" y="720394"/>
                    <a:pt x="1462540" y="731275"/>
                  </a:cubicBezTo>
                  <a:cubicBezTo>
                    <a:pt x="1462540" y="742156"/>
                    <a:pt x="1453401" y="751117"/>
                    <a:pt x="1441651" y="751117"/>
                  </a:cubicBezTo>
                  <a:lnTo>
                    <a:pt x="1204039" y="751117"/>
                  </a:lnTo>
                  <a:cubicBezTo>
                    <a:pt x="1192942" y="751117"/>
                    <a:pt x="1183803" y="742156"/>
                    <a:pt x="1183803" y="731275"/>
                  </a:cubicBezTo>
                  <a:cubicBezTo>
                    <a:pt x="1183803" y="720394"/>
                    <a:pt x="1192942" y="711433"/>
                    <a:pt x="1204039" y="711433"/>
                  </a:cubicBezTo>
                  <a:close/>
                  <a:moveTo>
                    <a:pt x="20283" y="711433"/>
                  </a:moveTo>
                  <a:lnTo>
                    <a:pt x="257796" y="711433"/>
                  </a:lnTo>
                  <a:cubicBezTo>
                    <a:pt x="269573" y="711433"/>
                    <a:pt x="278734" y="720394"/>
                    <a:pt x="278734" y="731275"/>
                  </a:cubicBezTo>
                  <a:cubicBezTo>
                    <a:pt x="278734" y="742156"/>
                    <a:pt x="269573" y="751117"/>
                    <a:pt x="257796" y="751117"/>
                  </a:cubicBezTo>
                  <a:lnTo>
                    <a:pt x="20283" y="751117"/>
                  </a:lnTo>
                  <a:cubicBezTo>
                    <a:pt x="9160" y="751117"/>
                    <a:pt x="0" y="742156"/>
                    <a:pt x="0" y="731275"/>
                  </a:cubicBezTo>
                  <a:cubicBezTo>
                    <a:pt x="0" y="720394"/>
                    <a:pt x="9160" y="711433"/>
                    <a:pt x="20283" y="711433"/>
                  </a:cubicBezTo>
                  <a:close/>
                  <a:moveTo>
                    <a:pt x="732710" y="377317"/>
                  </a:moveTo>
                  <a:cubicBezTo>
                    <a:pt x="939754" y="377317"/>
                    <a:pt x="1108263" y="545826"/>
                    <a:pt x="1108263" y="752870"/>
                  </a:cubicBezTo>
                  <a:cubicBezTo>
                    <a:pt x="1108263" y="856719"/>
                    <a:pt x="1066136" y="950607"/>
                    <a:pt x="998128" y="1018533"/>
                  </a:cubicBezTo>
                  <a:lnTo>
                    <a:pt x="972587" y="1039584"/>
                  </a:lnTo>
                  <a:lnTo>
                    <a:pt x="965852" y="1045759"/>
                  </a:lnTo>
                  <a:cubicBezTo>
                    <a:pt x="942293" y="1068057"/>
                    <a:pt x="892539" y="1118551"/>
                    <a:pt x="871462" y="1165728"/>
                  </a:cubicBezTo>
                  <a:cubicBezTo>
                    <a:pt x="839436" y="1239115"/>
                    <a:pt x="823097" y="1309880"/>
                    <a:pt x="823097" y="1309880"/>
                  </a:cubicBezTo>
                  <a:lnTo>
                    <a:pt x="640095" y="1309880"/>
                  </a:lnTo>
                  <a:cubicBezTo>
                    <a:pt x="640095" y="1309880"/>
                    <a:pt x="623102" y="1239115"/>
                    <a:pt x="591077" y="1165728"/>
                  </a:cubicBezTo>
                  <a:cubicBezTo>
                    <a:pt x="563626" y="1102826"/>
                    <a:pt x="483890" y="1034026"/>
                    <a:pt x="483890" y="1034026"/>
                  </a:cubicBezTo>
                  <a:lnTo>
                    <a:pt x="485832" y="1034026"/>
                  </a:lnTo>
                  <a:lnTo>
                    <a:pt x="467048" y="1018533"/>
                  </a:lnTo>
                  <a:cubicBezTo>
                    <a:pt x="399122" y="950607"/>
                    <a:pt x="357158" y="856719"/>
                    <a:pt x="357158" y="752870"/>
                  </a:cubicBezTo>
                  <a:cubicBezTo>
                    <a:pt x="357158" y="545826"/>
                    <a:pt x="525014" y="377317"/>
                    <a:pt x="732710" y="377317"/>
                  </a:cubicBezTo>
                  <a:close/>
                  <a:moveTo>
                    <a:pt x="1235878" y="206612"/>
                  </a:moveTo>
                  <a:cubicBezTo>
                    <a:pt x="1241092" y="206612"/>
                    <a:pt x="1246306" y="208724"/>
                    <a:pt x="1250217" y="212947"/>
                  </a:cubicBezTo>
                  <a:cubicBezTo>
                    <a:pt x="1258039" y="220745"/>
                    <a:pt x="1258039" y="233742"/>
                    <a:pt x="1250217" y="241540"/>
                  </a:cubicBezTo>
                  <a:lnTo>
                    <a:pt x="1082050" y="409194"/>
                  </a:lnTo>
                  <a:cubicBezTo>
                    <a:pt x="1074229" y="416992"/>
                    <a:pt x="1061192" y="416992"/>
                    <a:pt x="1053371" y="409194"/>
                  </a:cubicBezTo>
                  <a:cubicBezTo>
                    <a:pt x="1045549" y="401396"/>
                    <a:pt x="1045549" y="388400"/>
                    <a:pt x="1053371" y="380602"/>
                  </a:cubicBezTo>
                  <a:lnTo>
                    <a:pt x="1221538" y="212947"/>
                  </a:lnTo>
                  <a:cubicBezTo>
                    <a:pt x="1225449" y="208724"/>
                    <a:pt x="1230663" y="206612"/>
                    <a:pt x="1235878" y="206612"/>
                  </a:cubicBezTo>
                  <a:close/>
                  <a:moveTo>
                    <a:pt x="229612" y="206612"/>
                  </a:moveTo>
                  <a:cubicBezTo>
                    <a:pt x="234842" y="206612"/>
                    <a:pt x="240073" y="208724"/>
                    <a:pt x="243995" y="212947"/>
                  </a:cubicBezTo>
                  <a:lnTo>
                    <a:pt x="412024" y="380602"/>
                  </a:lnTo>
                  <a:cubicBezTo>
                    <a:pt x="419870" y="388400"/>
                    <a:pt x="419870" y="401396"/>
                    <a:pt x="412024" y="409194"/>
                  </a:cubicBezTo>
                  <a:cubicBezTo>
                    <a:pt x="404179" y="416992"/>
                    <a:pt x="391103" y="416992"/>
                    <a:pt x="383257" y="409194"/>
                  </a:cubicBezTo>
                  <a:lnTo>
                    <a:pt x="215228" y="241540"/>
                  </a:lnTo>
                  <a:cubicBezTo>
                    <a:pt x="207382" y="233742"/>
                    <a:pt x="207382" y="220745"/>
                    <a:pt x="215228" y="212947"/>
                  </a:cubicBezTo>
                  <a:cubicBezTo>
                    <a:pt x="219151" y="208724"/>
                    <a:pt x="224381" y="206612"/>
                    <a:pt x="229612" y="206612"/>
                  </a:cubicBezTo>
                  <a:close/>
                  <a:moveTo>
                    <a:pt x="733037" y="0"/>
                  </a:moveTo>
                  <a:cubicBezTo>
                    <a:pt x="744513" y="0"/>
                    <a:pt x="753964" y="9139"/>
                    <a:pt x="753964" y="20236"/>
                  </a:cubicBezTo>
                  <a:lnTo>
                    <a:pt x="753964" y="258499"/>
                  </a:lnTo>
                  <a:cubicBezTo>
                    <a:pt x="753964" y="269596"/>
                    <a:pt x="744513" y="278735"/>
                    <a:pt x="733037" y="278735"/>
                  </a:cubicBezTo>
                  <a:cubicBezTo>
                    <a:pt x="721560" y="278735"/>
                    <a:pt x="711434" y="269596"/>
                    <a:pt x="711434" y="258499"/>
                  </a:cubicBezTo>
                  <a:lnTo>
                    <a:pt x="711434" y="20236"/>
                  </a:lnTo>
                  <a:cubicBezTo>
                    <a:pt x="711434" y="9139"/>
                    <a:pt x="721560" y="0"/>
                    <a:pt x="733037" y="0"/>
                  </a:cubicBezTo>
                  <a:close/>
                </a:path>
              </a:pathLst>
            </a:custGeom>
            <a:grpFill/>
            <a:ln>
              <a:noFill/>
            </a:ln>
            <a:effectLst/>
          </p:spPr>
          <p:txBody>
            <a:bodyPr wrap="square" anchor="ctr">
              <a:noAutofit/>
            </a:bodyPr>
            <a:lstStyle/>
            <a:p>
              <a:endParaRPr lang="en-GB" sz="2450" dirty="0"/>
            </a:p>
          </p:txBody>
        </p:sp>
        <p:sp>
          <p:nvSpPr>
            <p:cNvPr id="44" name="Rounded Rectangle 63">
              <a:extLst>
                <a:ext uri="{FF2B5EF4-FFF2-40B4-BE49-F238E27FC236}">
                  <a16:creationId xmlns:a16="http://schemas.microsoft.com/office/drawing/2014/main" xmlns="" id="{9F10EF7B-C622-4057-BB5B-A51915E87DE8}"/>
                </a:ext>
              </a:extLst>
            </p:cNvPr>
            <p:cNvSpPr/>
            <p:nvPr/>
          </p:nvSpPr>
          <p:spPr>
            <a:xfrm>
              <a:off x="11997779" y="9741795"/>
              <a:ext cx="387026" cy="81391"/>
            </a:xfrm>
            <a:prstGeom prst="roundRect">
              <a:avLst>
                <a:gd name="adj" fmla="val 2529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5" name="Rounded Rectangle 67">
              <a:extLst>
                <a:ext uri="{FF2B5EF4-FFF2-40B4-BE49-F238E27FC236}">
                  <a16:creationId xmlns:a16="http://schemas.microsoft.com/office/drawing/2014/main" xmlns="" id="{FD112FE3-697D-443D-9DBC-40634DA84F3F}"/>
                </a:ext>
              </a:extLst>
            </p:cNvPr>
            <p:cNvSpPr/>
            <p:nvPr/>
          </p:nvSpPr>
          <p:spPr>
            <a:xfrm>
              <a:off x="12063415" y="9859906"/>
              <a:ext cx="250817" cy="195956"/>
            </a:xfrm>
            <a:prstGeom prst="roundRect">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6" name="Rounded Rectangle 68">
              <a:extLst>
                <a:ext uri="{FF2B5EF4-FFF2-40B4-BE49-F238E27FC236}">
                  <a16:creationId xmlns:a16="http://schemas.microsoft.com/office/drawing/2014/main" xmlns="" id="{8A7CE9FE-B48D-4683-BE83-6AD834946EB8}"/>
                </a:ext>
              </a:extLst>
            </p:cNvPr>
            <p:cNvSpPr/>
            <p:nvPr/>
          </p:nvSpPr>
          <p:spPr>
            <a:xfrm>
              <a:off x="11997779" y="9625964"/>
              <a:ext cx="387026" cy="81391"/>
            </a:xfrm>
            <a:prstGeom prst="roundRect">
              <a:avLst>
                <a:gd name="adj" fmla="val 25295"/>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grpSp>
      <p:sp>
        <p:nvSpPr>
          <p:cNvPr id="47" name="TextBox 60">
            <a:extLst>
              <a:ext uri="{FF2B5EF4-FFF2-40B4-BE49-F238E27FC236}">
                <a16:creationId xmlns:a16="http://schemas.microsoft.com/office/drawing/2014/main" xmlns="" id="{67ED5EBC-97ED-4E97-8D54-F720C726C87C}"/>
              </a:ext>
            </a:extLst>
          </p:cNvPr>
          <p:cNvSpPr txBox="1"/>
          <p:nvPr/>
        </p:nvSpPr>
        <p:spPr>
          <a:xfrm>
            <a:off x="8539274" y="1849819"/>
            <a:ext cx="1063881" cy="338554"/>
          </a:xfrm>
          <a:prstGeom prst="rect">
            <a:avLst/>
          </a:prstGeom>
          <a:noFill/>
        </p:spPr>
        <p:txBody>
          <a:bodyPr wrap="none" rtlCol="0" anchor="b" anchorCtr="0">
            <a:spAutoFit/>
          </a:bodyPr>
          <a:lstStyle/>
          <a:p>
            <a:pPr algn="ctr"/>
            <a:r>
              <a:rPr lang="en-GB" sz="1600" b="1" dirty="0">
                <a:solidFill>
                  <a:schemeClr val="accent2"/>
                </a:solidFill>
                <a:latin typeface="+mj-lt"/>
                <a:ea typeface="League Spartan" charset="0"/>
                <a:cs typeface="Poppins SemiBold" pitchFamily="2" charset="77"/>
              </a:rPr>
              <a:t>Leadership</a:t>
            </a:r>
          </a:p>
        </p:txBody>
      </p:sp>
    </p:spTree>
    <p:extLst>
      <p:ext uri="{BB962C8B-B14F-4D97-AF65-F5344CB8AC3E}">
        <p14:creationId xmlns:p14="http://schemas.microsoft.com/office/powerpoint/2010/main" val="27635880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47</TotalTime>
  <Words>3977</Words>
  <Application>Microsoft Office PowerPoint</Application>
  <PresentationFormat>Custom</PresentationFormat>
  <Paragraphs>512</Paragraphs>
  <Slides>42</Slides>
  <Notes>40</Notes>
  <HiddenSlides>0</HiddenSlides>
  <MMClips>3</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44" baseType="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Carol Daniels</cp:lastModifiedBy>
  <cp:revision>97</cp:revision>
  <cp:lastPrinted>2021-03-15T08:23:15Z</cp:lastPrinted>
  <dcterms:created xsi:type="dcterms:W3CDTF">2020-11-19T10:19:39Z</dcterms:created>
  <dcterms:modified xsi:type="dcterms:W3CDTF">2022-04-21T14:36:23Z</dcterms:modified>
</cp:coreProperties>
</file>